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notesSlides/notesSlide18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9.xml" ContentType="application/vnd.openxmlformats-officedocument.presentationml.notesSlide+xml"/>
  <Override PartName="/ppt/embeddings/oleObject1.bin" ContentType="application/vnd.openxmlformats-officedocument.oleObject"/>
  <Override PartName="/ppt/notesSlides/notesSlide20.xml" ContentType="application/vnd.openxmlformats-officedocument.presentationml.notesSl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charts/chart7.xml" ContentType="application/vnd.openxmlformats-officedocument.drawingml.chart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charts/chart8.xml" ContentType="application/vnd.openxmlformats-officedocument.drawingml.chart+xml"/>
  <Override PartName="/ppt/theme/themeOverride7.xml" ContentType="application/vnd.openxmlformats-officedocument.themeOverride+xml"/>
  <Override PartName="/ppt/notesSlides/notesSlide29.xml" ContentType="application/vnd.openxmlformats-officedocument.presentationml.notesSlide+xml"/>
  <Override PartName="/ppt/charts/chart9.xml" ContentType="application/vnd.openxmlformats-officedocument.drawingml.chart+xml"/>
  <Override PartName="/ppt/theme/themeOverride8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7" r:id="rId1"/>
    <p:sldMasterId id="2147483733" r:id="rId2"/>
    <p:sldMasterId id="2147483750" r:id="rId3"/>
  </p:sldMasterIdLst>
  <p:notesMasterIdLst>
    <p:notesMasterId r:id="rId33"/>
  </p:notesMasterIdLst>
  <p:handoutMasterIdLst>
    <p:handoutMasterId r:id="rId34"/>
  </p:handoutMasterIdLst>
  <p:sldIdLst>
    <p:sldId id="985" r:id="rId4"/>
    <p:sldId id="855" r:id="rId5"/>
    <p:sldId id="850" r:id="rId6"/>
    <p:sldId id="853" r:id="rId7"/>
    <p:sldId id="978" r:id="rId8"/>
    <p:sldId id="859" r:id="rId9"/>
    <p:sldId id="862" r:id="rId10"/>
    <p:sldId id="977" r:id="rId11"/>
    <p:sldId id="922" r:id="rId12"/>
    <p:sldId id="968" r:id="rId13"/>
    <p:sldId id="963" r:id="rId14"/>
    <p:sldId id="956" r:id="rId15"/>
    <p:sldId id="957" r:id="rId16"/>
    <p:sldId id="939" r:id="rId17"/>
    <p:sldId id="995" r:id="rId18"/>
    <p:sldId id="941" r:id="rId19"/>
    <p:sldId id="944" r:id="rId20"/>
    <p:sldId id="1000" r:id="rId21"/>
    <p:sldId id="1001" r:id="rId22"/>
    <p:sldId id="1003" r:id="rId23"/>
    <p:sldId id="973" r:id="rId24"/>
    <p:sldId id="955" r:id="rId25"/>
    <p:sldId id="950" r:id="rId26"/>
    <p:sldId id="951" r:id="rId27"/>
    <p:sldId id="1004" r:id="rId28"/>
    <p:sldId id="990" r:id="rId29"/>
    <p:sldId id="983" r:id="rId30"/>
    <p:sldId id="993" r:id="rId31"/>
    <p:sldId id="994" r:id="rId32"/>
  </p:sldIdLst>
  <p:sldSz cx="9144000" cy="6858000" type="screen4x3"/>
  <p:notesSz cx="6794500" cy="9931400"/>
  <p:custDataLst>
    <p:tags r:id="rId3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ヒラギノ角ゴ ProN W3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ヒラギノ角ゴ ProN W3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ヒラギノ角ゴ ProN W3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ヒラギノ角ゴ ProN W3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ヒラギノ角ゴ ProN W3"/>
        <a:cs typeface="Arial" pitchFamily="34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ヒラギノ角ゴ ProN W3"/>
        <a:cs typeface="Arial" pitchFamily="34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ヒラギノ角ゴ ProN W3"/>
        <a:cs typeface="Arial" pitchFamily="34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ヒラギノ角ゴ ProN W3"/>
        <a:cs typeface="Arial" pitchFamily="34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ヒラギノ角ゴ ProN W3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65">
          <p15:clr>
            <a:srgbClr val="A4A3A4"/>
          </p15:clr>
        </p15:guide>
        <p15:guide id="2" orient="horz" pos="4306">
          <p15:clr>
            <a:srgbClr val="A4A3A4"/>
          </p15:clr>
        </p15:guide>
        <p15:guide id="3" pos="5489">
          <p15:clr>
            <a:srgbClr val="A4A3A4"/>
          </p15:clr>
        </p15:guide>
        <p15:guide id="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om Thai" initials="" lastIdx="1" clrIdx="0"/>
  <p:cmAuthor id="1" name="Heidi Spector" initials="" lastIdx="1" clrIdx="1"/>
  <p:cmAuthor id="2" name="Astrid Pierre-Louis" initials="" lastIdx="3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3C3C"/>
    <a:srgbClr val="3369E8"/>
    <a:srgbClr val="D50F25"/>
    <a:srgbClr val="009925"/>
    <a:srgbClr val="AAAAAA"/>
    <a:srgbClr val="F434EB"/>
    <a:srgbClr val="FFF56D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86" autoAdjust="0"/>
    <p:restoredTop sz="84358" autoAdjust="0"/>
  </p:normalViewPr>
  <p:slideViewPr>
    <p:cSldViewPr snapToGrid="0">
      <p:cViewPr varScale="1">
        <p:scale>
          <a:sx n="87" d="100"/>
          <a:sy n="87" d="100"/>
        </p:scale>
        <p:origin x="-1704" y="-96"/>
      </p:cViewPr>
      <p:guideLst>
        <p:guide orient="horz" pos="65"/>
        <p:guide orient="horz" pos="4306"/>
        <p:guide pos="5489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496"/>
    </p:cViewPr>
  </p:sorterViewPr>
  <p:notesViewPr>
    <p:cSldViewPr snapToGrid="0">
      <p:cViewPr varScale="1">
        <p:scale>
          <a:sx n="46" d="100"/>
          <a:sy n="46" d="100"/>
        </p:scale>
        <p:origin x="-1962" y="-108"/>
      </p:cViewPr>
      <p:guideLst>
        <p:guide orient="horz" pos="3128"/>
        <p:guide pos="214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30" Type="http://schemas.openxmlformats.org/officeDocument/2006/relationships/slide" Target="slides/slide27.xml"/><Relationship Id="rId31" Type="http://schemas.openxmlformats.org/officeDocument/2006/relationships/slide" Target="slides/slide28.xml"/><Relationship Id="rId32" Type="http://schemas.openxmlformats.org/officeDocument/2006/relationships/slide" Target="slides/slide29.xml"/><Relationship Id="rId9" Type="http://schemas.openxmlformats.org/officeDocument/2006/relationships/slide" Target="slides/slide6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33" Type="http://schemas.openxmlformats.org/officeDocument/2006/relationships/notesMaster" Target="notesMasters/notesMaster1.xml"/><Relationship Id="rId34" Type="http://schemas.openxmlformats.org/officeDocument/2006/relationships/handoutMaster" Target="handoutMasters/handoutMaster1.xml"/><Relationship Id="rId35" Type="http://schemas.openxmlformats.org/officeDocument/2006/relationships/printerSettings" Target="printerSettings/printerSettings1.bin"/><Relationship Id="rId36" Type="http://schemas.openxmlformats.org/officeDocument/2006/relationships/tags" Target="tags/tag1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37" Type="http://schemas.openxmlformats.org/officeDocument/2006/relationships/commentAuthors" Target="commentAuthors.xml"/><Relationship Id="rId38" Type="http://schemas.openxmlformats.org/officeDocument/2006/relationships/presProps" Target="presProps.xml"/><Relationship Id="rId39" Type="http://schemas.openxmlformats.org/officeDocument/2006/relationships/viewProps" Target="viewProps.xml"/><Relationship Id="rId40" Type="http://schemas.openxmlformats.org/officeDocument/2006/relationships/theme" Target="theme/theme1.xml"/><Relationship Id="rId41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Microsoft_Excel_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.xml"/><Relationship Id="rId2" Type="http://schemas.openxmlformats.org/officeDocument/2006/relationships/package" Target="../embeddings/Microsoft_Excel_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3.xml"/><Relationship Id="rId2" Type="http://schemas.openxmlformats.org/officeDocument/2006/relationships/oleObject" Target="NULL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4.xml"/><Relationship Id="rId2" Type="http://schemas.openxmlformats.org/officeDocument/2006/relationships/package" Target="../embeddings/Microsoft_Excel_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5.xml"/><Relationship Id="rId2" Type="http://schemas.openxmlformats.org/officeDocument/2006/relationships/package" Target="../embeddings/Microsoft_Excel_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6.xml"/><Relationship Id="rId2" Type="http://schemas.openxmlformats.org/officeDocument/2006/relationships/package" Target="../embeddings/Microsoft_Excel_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7.xml"/><Relationship Id="rId2" Type="http://schemas.openxmlformats.org/officeDocument/2006/relationships/package" Target="../embeddings/Microsoft_Excel_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8.xml"/><Relationship Id="rId2" Type="http://schemas.openxmlformats.org/officeDocument/2006/relationships/package" Target="../embeddings/Microsoft_Excel_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39824088900399"/>
          <c:y val="0.0282050770880269"/>
          <c:w val="0.408087352590675"/>
          <c:h val="0.94358974358974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spPr>
            <a:solidFill>
              <a:srgbClr val="3369E8"/>
            </a:solidFill>
            <a:scene3d>
              <a:camera prst="orthographicFront"/>
              <a:lightRig rig="threePt" dir="t"/>
            </a:scene3d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009925">
                  <a:lumMod val="75000"/>
                </a:srgbClr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1"/>
            <c:invertIfNegative val="0"/>
            <c:bubble3D val="0"/>
            <c:spPr>
              <a:solidFill>
                <a:srgbClr val="009925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2"/>
            <c:invertIfNegative val="0"/>
            <c:bubble3D val="0"/>
            <c:spPr>
              <a:solidFill>
                <a:srgbClr val="009925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3"/>
            <c:invertIfNegative val="0"/>
            <c:bubble3D val="0"/>
            <c:spPr>
              <a:solidFill>
                <a:srgbClr val="AAAAAA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4"/>
            <c:invertIfNegative val="0"/>
            <c:bubble3D val="0"/>
            <c:spPr>
              <a:solidFill>
                <a:srgbClr val="AAAAAA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5"/>
            <c:invertIfNegative val="0"/>
            <c:bubble3D val="0"/>
            <c:spPr>
              <a:solidFill>
                <a:srgbClr val="AAAAAA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6"/>
            <c:invertIfNegative val="0"/>
            <c:bubble3D val="0"/>
            <c:spPr>
              <a:solidFill>
                <a:srgbClr val="AAAAAA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7"/>
            <c:invertIfNegative val="0"/>
            <c:bubble3D val="0"/>
            <c:spPr>
              <a:solidFill>
                <a:srgbClr val="AAAAAA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8"/>
            <c:invertIfNegative val="0"/>
            <c:bubble3D val="0"/>
            <c:spPr>
              <a:solidFill>
                <a:srgbClr val="AAAAAA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9"/>
            <c:invertIfNegative val="0"/>
            <c:bubble3D val="0"/>
            <c:spPr>
              <a:solidFill>
                <a:srgbClr val="AAAAAA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/>
            </c:spPr>
          </c:dPt>
          <c:dPt>
            <c:idx val="10"/>
            <c:invertIfNegative val="0"/>
            <c:bubble3D val="0"/>
            <c:spPr>
              <a:solidFill>
                <a:srgbClr val="AAAAAA"/>
              </a:solidFill>
              <a:scene3d>
                <a:camera prst="orthographicFront"/>
                <a:lightRig rig="threePt" dir="t"/>
              </a:scene3d>
              <a:sp3d/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Otthon</c:v>
                </c:pt>
                <c:pt idx="1">
                  <c:v>Menet közben</c:v>
                </c:pt>
                <c:pt idx="2">
                  <c:v>Munkahelyen</c:v>
                </c:pt>
                <c:pt idx="3">
                  <c:v>Tömegközlekedési eszközön</c:v>
                </c:pt>
                <c:pt idx="4">
                  <c:v>Kávézóban, kávéházban</c:v>
                </c:pt>
                <c:pt idx="5">
                  <c:v>Boltban</c:v>
                </c:pt>
                <c:pt idx="6">
                  <c:v>Étteremben</c:v>
                </c:pt>
                <c:pt idx="7">
                  <c:v>Orvosi rendelőben</c:v>
                </c:pt>
                <c:pt idx="8">
                  <c:v>Iskolában</c:v>
                </c:pt>
                <c:pt idx="9">
                  <c:v>Társasági összejövetelen/gyűlésen/eseményen</c:v>
                </c:pt>
                <c:pt idx="10">
                  <c:v>Repülőtéren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0.93</c:v>
                </c:pt>
                <c:pt idx="1">
                  <c:v>0.74</c:v>
                </c:pt>
                <c:pt idx="2">
                  <c:v>0.650000000000001</c:v>
                </c:pt>
                <c:pt idx="3">
                  <c:v>0.59</c:v>
                </c:pt>
                <c:pt idx="4">
                  <c:v>0.43</c:v>
                </c:pt>
                <c:pt idx="5">
                  <c:v>0.4</c:v>
                </c:pt>
                <c:pt idx="6">
                  <c:v>0.34</c:v>
                </c:pt>
                <c:pt idx="7">
                  <c:v>0.33</c:v>
                </c:pt>
                <c:pt idx="8">
                  <c:v>0.32</c:v>
                </c:pt>
                <c:pt idx="9">
                  <c:v>0.26</c:v>
                </c:pt>
                <c:pt idx="10">
                  <c:v>0.1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-2042134952"/>
        <c:axId val="-2042131880"/>
      </c:barChart>
      <c:catAx>
        <c:axId val="-204213495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 algn="r">
              <a:defRPr lang="en-US" sz="1050"/>
            </a:pPr>
            <a:endParaRPr lang="en-US"/>
          </a:p>
        </c:txPr>
        <c:crossAx val="-2042131880"/>
        <c:crosses val="autoZero"/>
        <c:auto val="1"/>
        <c:lblAlgn val="ctr"/>
        <c:lblOffset val="100"/>
        <c:tickLblSkip val="1"/>
        <c:noMultiLvlLbl val="0"/>
      </c:catAx>
      <c:valAx>
        <c:axId val="-2042131880"/>
        <c:scaling>
          <c:orientation val="minMax"/>
          <c:max val="1.0"/>
        </c:scaling>
        <c:delete val="1"/>
        <c:axPos val="t"/>
        <c:numFmt formatCode="0%" sourceLinked="1"/>
        <c:majorTickMark val="out"/>
        <c:minorTickMark val="none"/>
        <c:tickLblPos val="none"/>
        <c:crossAx val="-2042134952"/>
        <c:crosses val="autoZero"/>
        <c:crossBetween val="between"/>
      </c:valAx>
      <c:spPr>
        <a:ln cap="sq"/>
      </c:spPr>
    </c:plotArea>
    <c:plotVisOnly val="1"/>
    <c:dispBlanksAs val="gap"/>
    <c:showDLblsOverMax val="0"/>
  </c:chart>
  <c:txPr>
    <a:bodyPr/>
    <a:lstStyle/>
    <a:p>
      <a:pPr>
        <a:defRPr sz="1100">
          <a:latin typeface="Arial" pitchFamily="34" charset="0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55273376321787"/>
          <c:y val="0.0282051282051282"/>
          <c:w val="0.444726623678213"/>
          <c:h val="0.94358974358974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ave 3</c:v>
                </c:pt>
              </c:strCache>
            </c:strRef>
          </c:tx>
          <c:spPr>
            <a:solidFill>
              <a:srgbClr val="AAAAAA"/>
            </a:solidFill>
            <a:scene3d>
              <a:camera prst="orthographicFront"/>
              <a:lightRig rig="threePt" dir="t"/>
            </a:scene3d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EEB211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3"/>
            <c:invertIfNegative val="0"/>
            <c:bubble3D val="0"/>
            <c:spPr>
              <a:solidFill>
                <a:srgbClr val="009925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6"/>
            <c:invertIfNegative val="0"/>
            <c:bubble3D val="0"/>
            <c:spPr>
              <a:solidFill>
                <a:srgbClr val="3369E8"/>
              </a:solidFill>
              <a:scene3d>
                <a:camera prst="orthographicFront"/>
                <a:lightRig rig="threePt" dir="t"/>
              </a:scene3d>
              <a:sp3d/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Levelezést folytatott (küldött vagy olvasott)</c:v>
                </c:pt>
                <c:pt idx="1">
                  <c:v>Kapcsolódott valamelyik közösségi hálózathoz (pl. frissítette állapotát, megnézte az üzeneteit vagy a barátok profiljait)</c:v>
                </c:pt>
                <c:pt idx="3">
                  <c:v>Elolvasta a híreket az újságok vagy magazinok portáljain</c:v>
                </c:pt>
                <c:pt idx="4">
                  <c:v>Átnézte a webhelyek blogjait vagy üzenőfalait</c:v>
                </c:pt>
                <c:pt idx="6">
                  <c:v>Böngészett az interneten</c:v>
                </c:pt>
                <c:pt idx="7">
                  <c:v>Zenét hallgatott</c:v>
                </c:pt>
                <c:pt idx="8">
                  <c:v>Játékokkal játszott</c:v>
                </c:pt>
                <c:pt idx="9">
                  <c:v>Videókat nézett egy videomegosztó webhelyen (pl. YouTube.com)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650000000000001</c:v>
                </c:pt>
                <c:pt idx="1">
                  <c:v>0.63</c:v>
                </c:pt>
                <c:pt idx="3">
                  <c:v>0.56</c:v>
                </c:pt>
                <c:pt idx="4">
                  <c:v>0.49</c:v>
                </c:pt>
                <c:pt idx="6">
                  <c:v>0.73</c:v>
                </c:pt>
                <c:pt idx="7">
                  <c:v>0.59</c:v>
                </c:pt>
                <c:pt idx="8">
                  <c:v>0.49</c:v>
                </c:pt>
                <c:pt idx="9">
                  <c:v>0.4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-2013345320"/>
        <c:axId val="-2013342248"/>
      </c:barChart>
      <c:catAx>
        <c:axId val="-20133453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 algn="r">
              <a:defRPr lang="en-US" sz="1000"/>
            </a:pPr>
            <a:endParaRPr lang="en-US"/>
          </a:p>
        </c:txPr>
        <c:crossAx val="-2013342248"/>
        <c:crosses val="autoZero"/>
        <c:auto val="1"/>
        <c:lblAlgn val="ctr"/>
        <c:lblOffset val="100"/>
        <c:tickLblSkip val="1"/>
        <c:noMultiLvlLbl val="0"/>
      </c:catAx>
      <c:valAx>
        <c:axId val="-2013342248"/>
        <c:scaling>
          <c:orientation val="minMax"/>
          <c:max val="1.0"/>
        </c:scaling>
        <c:delete val="1"/>
        <c:axPos val="t"/>
        <c:numFmt formatCode="0%" sourceLinked="1"/>
        <c:majorTickMark val="out"/>
        <c:minorTickMark val="none"/>
        <c:tickLblPos val="none"/>
        <c:crossAx val="-2013345320"/>
        <c:crosses val="autoZero"/>
        <c:crossBetween val="between"/>
      </c:valAx>
      <c:spPr>
        <a:ln cap="sq"/>
      </c:spPr>
    </c:plotArea>
    <c:plotVisOnly val="1"/>
    <c:dispBlanksAs val="gap"/>
    <c:showDLblsOverMax val="0"/>
  </c:chart>
  <c:txPr>
    <a:bodyPr/>
    <a:lstStyle/>
    <a:p>
      <a:pPr>
        <a:defRPr sz="1100">
          <a:latin typeface="Arial" pitchFamily="34" charset="0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91912647409325"/>
          <c:y val="0.0282051282051282"/>
          <c:w val="0.408087352590675"/>
          <c:h val="0.94358974358974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spPr>
            <a:solidFill>
              <a:srgbClr val="3369E8"/>
            </a:solidFill>
            <a:scene3d>
              <a:camera prst="orthographicFront"/>
              <a:lightRig rig="threePt" dir="t"/>
            </a:scene3d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009925">
                  <a:lumMod val="75000"/>
                </a:srgbClr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1"/>
            <c:invertIfNegative val="0"/>
            <c:bubble3D val="0"/>
            <c:spPr>
              <a:solidFill>
                <a:srgbClr val="009925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2"/>
            <c:invertIfNegative val="0"/>
            <c:bubble3D val="0"/>
            <c:spPr>
              <a:solidFill>
                <a:srgbClr val="009925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3"/>
            <c:invertIfNegative val="0"/>
            <c:bubble3D val="0"/>
            <c:spPr>
              <a:solidFill>
                <a:srgbClr val="AAAAAA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4"/>
            <c:invertIfNegative val="0"/>
            <c:bubble3D val="0"/>
            <c:spPr>
              <a:solidFill>
                <a:srgbClr val="AAAAAA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5"/>
            <c:invertIfNegative val="0"/>
            <c:bubble3D val="0"/>
            <c:spPr>
              <a:solidFill>
                <a:srgbClr val="AAAAAA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6"/>
            <c:invertIfNegative val="0"/>
            <c:bubble3D val="0"/>
            <c:spPr>
              <a:solidFill>
                <a:srgbClr val="AAAAAA"/>
              </a:solidFill>
              <a:scene3d>
                <a:camera prst="orthographicFront"/>
                <a:lightRig rig="threePt" dir="t"/>
              </a:scene3d>
              <a:sp3d/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Otthon</c:v>
                </c:pt>
                <c:pt idx="1">
                  <c:v>Menet közben</c:v>
                </c:pt>
                <c:pt idx="2">
                  <c:v>Munkahelyen</c:v>
                </c:pt>
                <c:pt idx="3">
                  <c:v>Tömegközlekedési eszközön</c:v>
                </c:pt>
                <c:pt idx="4">
                  <c:v>Kávézóban, kávéházban</c:v>
                </c:pt>
                <c:pt idx="5">
                  <c:v>Boltban</c:v>
                </c:pt>
                <c:pt idx="6">
                  <c:v>Étteremben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54</c:v>
                </c:pt>
                <c:pt idx="1">
                  <c:v>0.26</c:v>
                </c:pt>
                <c:pt idx="2">
                  <c:v>0.24</c:v>
                </c:pt>
                <c:pt idx="3">
                  <c:v>0.18</c:v>
                </c:pt>
                <c:pt idx="4">
                  <c:v>0.11</c:v>
                </c:pt>
                <c:pt idx="5">
                  <c:v>0.09</c:v>
                </c:pt>
                <c:pt idx="6">
                  <c:v>0.0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-2013035208"/>
        <c:axId val="-2013038776"/>
      </c:barChart>
      <c:catAx>
        <c:axId val="-20130352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 algn="r">
              <a:defRPr lang="en-US" sz="1050"/>
            </a:pPr>
            <a:endParaRPr lang="en-US"/>
          </a:p>
        </c:txPr>
        <c:crossAx val="-2013038776"/>
        <c:crosses val="autoZero"/>
        <c:auto val="1"/>
        <c:lblAlgn val="ctr"/>
        <c:lblOffset val="100"/>
        <c:tickLblSkip val="1"/>
        <c:noMultiLvlLbl val="0"/>
      </c:catAx>
      <c:valAx>
        <c:axId val="-2013038776"/>
        <c:scaling>
          <c:orientation val="minMax"/>
          <c:max val="1.0"/>
        </c:scaling>
        <c:delete val="1"/>
        <c:axPos val="t"/>
        <c:numFmt formatCode="0%" sourceLinked="1"/>
        <c:majorTickMark val="out"/>
        <c:minorTickMark val="none"/>
        <c:tickLblPos val="none"/>
        <c:crossAx val="-2013035208"/>
        <c:crosses val="autoZero"/>
        <c:crossBetween val="between"/>
      </c:valAx>
      <c:spPr>
        <a:ln cap="sq"/>
      </c:spPr>
    </c:plotArea>
    <c:plotVisOnly val="1"/>
    <c:dispBlanksAs val="gap"/>
    <c:showDLblsOverMax val="0"/>
  </c:chart>
  <c:txPr>
    <a:bodyPr/>
    <a:lstStyle/>
    <a:p>
      <a:pPr>
        <a:defRPr sz="1100">
          <a:latin typeface="Arial" pitchFamily="34" charset="0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808917531302"/>
          <c:y val="0.0309809068664683"/>
          <c:w val="0.408087352590675"/>
          <c:h val="0.94358974358974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spPr>
            <a:solidFill>
              <a:srgbClr val="3369E8"/>
            </a:solidFill>
            <a:scene3d>
              <a:camera prst="orthographicFront"/>
              <a:lightRig rig="threePt" dir="t"/>
            </a:scene3d>
            <a:sp3d/>
          </c:spPr>
          <c:invertIfNegative val="0"/>
          <c:dPt>
            <c:idx val="1"/>
            <c:invertIfNegative val="0"/>
            <c:bubble3D val="0"/>
            <c:spPr>
              <a:solidFill>
                <a:srgbClr val="AAAAAA"/>
              </a:solidFill>
              <a:scene3d>
                <a:camera prst="orthographicFront"/>
                <a:lightRig rig="threePt" dir="t"/>
              </a:scene3d>
              <a:sp3d/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I have changed my mind about purchasing a product or service in store as of a result of information I gathered using my smartphone.</c:v>
                </c:pt>
                <c:pt idx="1">
                  <c:v>I have changed my mind about purchasing a product or service online as of a result of information I gathered using my smartphone. Attitude mobile advertising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7</c:v>
                </c:pt>
                <c:pt idx="1">
                  <c:v>0.1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-2013178120"/>
        <c:axId val="-2013181592"/>
      </c:barChart>
      <c:catAx>
        <c:axId val="-201317812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one"/>
        <c:crossAx val="-2013181592"/>
        <c:crosses val="autoZero"/>
        <c:auto val="1"/>
        <c:lblAlgn val="ctr"/>
        <c:lblOffset val="100"/>
        <c:tickLblSkip val="1"/>
        <c:noMultiLvlLbl val="0"/>
      </c:catAx>
      <c:valAx>
        <c:axId val="-2013181592"/>
        <c:scaling>
          <c:orientation val="minMax"/>
          <c:max val="0.5"/>
        </c:scaling>
        <c:delete val="1"/>
        <c:axPos val="t"/>
        <c:numFmt formatCode="0%" sourceLinked="1"/>
        <c:majorTickMark val="out"/>
        <c:minorTickMark val="none"/>
        <c:tickLblPos val="none"/>
        <c:crossAx val="-2013178120"/>
        <c:crosses val="autoZero"/>
        <c:crossBetween val="between"/>
      </c:valAx>
      <c:spPr>
        <a:ln cap="sq"/>
      </c:spPr>
    </c:plotArea>
    <c:plotVisOnly val="1"/>
    <c:dispBlanksAs val="gap"/>
    <c:showDLblsOverMax val="0"/>
  </c:chart>
  <c:txPr>
    <a:bodyPr/>
    <a:lstStyle/>
    <a:p>
      <a:pPr>
        <a:defRPr sz="1600">
          <a:latin typeface="Arial" pitchFamily="34" charset="0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07431437847543"/>
          <c:y val="0.0282051282051282"/>
          <c:w val="0.492568562152458"/>
          <c:h val="0.94358974358974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ave 3</c:v>
                </c:pt>
              </c:strCache>
            </c:strRef>
          </c:tx>
          <c:spPr>
            <a:solidFill>
              <a:srgbClr val="AAAAAA"/>
            </a:solidFill>
            <a:scene3d>
              <a:camera prst="orthographicFront"/>
              <a:lightRig rig="threePt" dir="t"/>
            </a:scene3d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D50F25"/>
              </a:solidFill>
              <a:scene3d>
                <a:camera prst="orthographicFront"/>
                <a:lightRig rig="threePt" dir="t"/>
              </a:scene3d>
              <a:sp3d/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Nem lehet megbízni a mobileszközök hitelkártya-biztonságában</c:v>
                </c:pt>
                <c:pt idx="1">
                  <c:v>Túl kicsi képernyőméret</c:v>
                </c:pt>
                <c:pt idx="2">
                  <c:v>Nehéz szöveget beírni</c:v>
                </c:pt>
                <c:pt idx="3">
                  <c:v>Sokáig tart megnyitni egy weboldalt</c:v>
                </c:pt>
                <c:pt idx="4">
                  <c:v>Nehéz árakat és lehetőségeket összehasonlítani</c:v>
                </c:pt>
                <c:pt idx="5">
                  <c:v>A mobil internetkapcsolat gyakran megszakad</c:v>
                </c:pt>
                <c:pt idx="6">
                  <c:v>A tartalmak nem eléggé gazdagok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38</c:v>
                </c:pt>
                <c:pt idx="1">
                  <c:v>0.35</c:v>
                </c:pt>
                <c:pt idx="2">
                  <c:v>0.21</c:v>
                </c:pt>
                <c:pt idx="3">
                  <c:v>0.2</c:v>
                </c:pt>
                <c:pt idx="4">
                  <c:v>0.18</c:v>
                </c:pt>
                <c:pt idx="5">
                  <c:v>0.13</c:v>
                </c:pt>
                <c:pt idx="6">
                  <c:v>0.1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-2007778008"/>
        <c:axId val="2065592232"/>
      </c:barChart>
      <c:catAx>
        <c:axId val="-20077780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 algn="r">
              <a:defRPr lang="en-US" sz="1400" baseline="0">
                <a:solidFill>
                  <a:srgbClr val="3C3C3C"/>
                </a:solidFill>
              </a:defRPr>
            </a:pPr>
            <a:endParaRPr lang="en-US"/>
          </a:p>
        </c:txPr>
        <c:crossAx val="2065592232"/>
        <c:crosses val="autoZero"/>
        <c:auto val="1"/>
        <c:lblAlgn val="ctr"/>
        <c:lblOffset val="100"/>
        <c:tickLblSkip val="1"/>
        <c:noMultiLvlLbl val="0"/>
      </c:catAx>
      <c:valAx>
        <c:axId val="2065592232"/>
        <c:scaling>
          <c:orientation val="minMax"/>
          <c:max val="1.0"/>
        </c:scaling>
        <c:delete val="1"/>
        <c:axPos val="t"/>
        <c:numFmt formatCode="0%" sourceLinked="1"/>
        <c:majorTickMark val="out"/>
        <c:minorTickMark val="none"/>
        <c:tickLblPos val="none"/>
        <c:crossAx val="-20077780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>
          <a:latin typeface="Arial" pitchFamily="34" charset="0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80970722262172"/>
          <c:y val="0.0282051282051282"/>
          <c:w val="0.51902927773783"/>
          <c:h val="0.94358974358974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ave 3</c:v>
                </c:pt>
              </c:strCache>
            </c:strRef>
          </c:tx>
          <c:spPr>
            <a:solidFill>
              <a:srgbClr val="AAAAAA"/>
            </a:solidFill>
            <a:scene3d>
              <a:camera prst="orthographicFront"/>
              <a:lightRig rig="threePt" dir="t"/>
            </a:scene3d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EEB211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1"/>
            <c:invertIfNegative val="0"/>
            <c:bubble3D val="0"/>
            <c:spPr>
              <a:solidFill>
                <a:srgbClr val="EEB211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3"/>
            <c:invertIfNegative val="0"/>
            <c:bubble3D val="0"/>
            <c:spPr>
              <a:solidFill>
                <a:srgbClr val="009925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4"/>
            <c:invertIfNegative val="0"/>
            <c:bubble3D val="0"/>
            <c:spPr>
              <a:solidFill>
                <a:srgbClr val="009925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6"/>
            <c:invertIfNegative val="0"/>
            <c:bubble3D val="0"/>
            <c:spPr>
              <a:solidFill>
                <a:srgbClr val="3369E8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7"/>
            <c:invertIfNegative val="0"/>
            <c:bubble3D val="0"/>
            <c:spPr>
              <a:solidFill>
                <a:srgbClr val="3369E8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9"/>
            <c:invertIfNegative val="0"/>
            <c:bubble3D val="0"/>
            <c:spPr>
              <a:solidFill>
                <a:srgbClr val="D50F25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10"/>
            <c:invertIfNegative val="0"/>
            <c:bubble3D val="0"/>
            <c:spPr>
              <a:solidFill>
                <a:srgbClr val="D50F25"/>
              </a:solidFill>
              <a:scene3d>
                <a:camera prst="orthographicFront"/>
                <a:lightRig rig="threePt" dir="t"/>
              </a:scene3d>
              <a:sp3d/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Megkereste a vállalkozást a térképen, vagy útvonaltervet készíttetett a vállalkozáshoz vagy szolgáltatáshoz</c:v>
                </c:pt>
                <c:pt idx="1">
                  <c:v>Felhívta a vállalkozást vagy a szolgáltatót</c:v>
                </c:pt>
                <c:pt idx="3">
                  <c:v>Meglátogatta a vállalkozás vagy szolgáltatás webhelyét</c:v>
                </c:pt>
                <c:pt idx="4">
                  <c:v>Felkereste a vállalkozást (pl. az üzletet vagy az éttermet)</c:v>
                </c:pt>
                <c:pt idx="6">
                  <c:v>Javasolta valaki másnak is a vállalkozást vagy szolgáltatást</c:v>
                </c:pt>
                <c:pt idx="7">
                  <c:v>Véleményt olvasott vagy írt a vállalkozásról vagy szolgáltatásról</c:v>
                </c:pt>
                <c:pt idx="9">
                  <c:v>Üzletben vásárolt egy vállalkozástól</c:v>
                </c:pt>
                <c:pt idx="10">
                  <c:v>Online vásárolt egy vállalkozástól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0.32</c:v>
                </c:pt>
                <c:pt idx="1">
                  <c:v>0.26</c:v>
                </c:pt>
                <c:pt idx="3">
                  <c:v>0.49</c:v>
                </c:pt>
                <c:pt idx="4">
                  <c:v>0.31</c:v>
                </c:pt>
                <c:pt idx="6">
                  <c:v>0.12</c:v>
                </c:pt>
                <c:pt idx="7">
                  <c:v>0.03</c:v>
                </c:pt>
                <c:pt idx="9">
                  <c:v>0.2</c:v>
                </c:pt>
                <c:pt idx="10">
                  <c:v>0.1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-1995379208"/>
        <c:axId val="2069654552"/>
      </c:barChart>
      <c:catAx>
        <c:axId val="-19953792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 algn="r">
              <a:defRPr lang="en-US" sz="1000"/>
            </a:pPr>
            <a:endParaRPr lang="en-US"/>
          </a:p>
        </c:txPr>
        <c:crossAx val="2069654552"/>
        <c:crosses val="autoZero"/>
        <c:auto val="1"/>
        <c:lblAlgn val="ctr"/>
        <c:lblOffset val="100"/>
        <c:tickLblSkip val="1"/>
        <c:noMultiLvlLbl val="0"/>
      </c:catAx>
      <c:valAx>
        <c:axId val="2069654552"/>
        <c:scaling>
          <c:orientation val="minMax"/>
          <c:max val="1.0"/>
        </c:scaling>
        <c:delete val="1"/>
        <c:axPos val="t"/>
        <c:numFmt formatCode="0%" sourceLinked="1"/>
        <c:majorTickMark val="out"/>
        <c:minorTickMark val="none"/>
        <c:tickLblPos val="none"/>
        <c:crossAx val="-1995379208"/>
        <c:crosses val="autoZero"/>
        <c:crossBetween val="between"/>
      </c:valAx>
      <c:spPr>
        <a:ln cap="sq"/>
      </c:spPr>
    </c:plotArea>
    <c:plotVisOnly val="1"/>
    <c:dispBlanksAs val="gap"/>
    <c:showDLblsOverMax val="0"/>
  </c:chart>
  <c:txPr>
    <a:bodyPr/>
    <a:lstStyle/>
    <a:p>
      <a:pPr>
        <a:defRPr sz="1100">
          <a:latin typeface="Arial" pitchFamily="34" charset="0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7661624047459"/>
          <c:y val="0.0322580645161297"/>
          <c:w val="0.612338375952542"/>
          <c:h val="0.940860215053764"/>
        </c:manualLayout>
      </c:layout>
      <c:barChart>
        <c:barDir val="bar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Used This Source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2"/>
            <c:invertIfNegative val="0"/>
            <c:bubble3D val="0"/>
            <c:spPr>
              <a:solidFill>
                <a:schemeClr val="accent1"/>
              </a:solidFill>
            </c:spPr>
          </c:dPt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>
                    <a:latin typeface="+mn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Webhelyen töltött idő alatt</c:v>
                </c:pt>
                <c:pt idx="1">
                  <c:v>Alkalmazás használata közben</c:v>
                </c:pt>
                <c:pt idx="2">
                  <c:v>Videó megtekintése közben</c:v>
                </c:pt>
                <c:pt idx="3">
                  <c:v>Keresőmotor használata közben</c:v>
                </c:pt>
                <c:pt idx="4">
                  <c:v>Videomegosztó webhelyen töltött idő alatt</c:v>
                </c:pt>
                <c:pt idx="5">
                  <c:v>Egy kereskedő webhelyén eltöltött idő alatt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53</c:v>
                </c:pt>
                <c:pt idx="1">
                  <c:v>0.44</c:v>
                </c:pt>
                <c:pt idx="2">
                  <c:v>0.3</c:v>
                </c:pt>
                <c:pt idx="3">
                  <c:v>0.21</c:v>
                </c:pt>
                <c:pt idx="4">
                  <c:v>0.18</c:v>
                </c:pt>
                <c:pt idx="5">
                  <c:v>0.1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-2011146376"/>
        <c:axId val="-2011149912"/>
      </c:barChart>
      <c:catAx>
        <c:axId val="-201114637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 algn="r">
              <a:defRPr lang="en-US" sz="1200">
                <a:latin typeface="+mn-lt"/>
              </a:defRPr>
            </a:pPr>
            <a:endParaRPr lang="en-US"/>
          </a:p>
        </c:txPr>
        <c:crossAx val="-2011149912"/>
        <c:crosses val="autoZero"/>
        <c:auto val="1"/>
        <c:lblAlgn val="ctr"/>
        <c:lblOffset val="100"/>
        <c:tickLblSkip val="1"/>
        <c:noMultiLvlLbl val="0"/>
      </c:catAx>
      <c:valAx>
        <c:axId val="-2011149912"/>
        <c:scaling>
          <c:orientation val="minMax"/>
          <c:max val="1.0"/>
        </c:scaling>
        <c:delete val="1"/>
        <c:axPos val="t"/>
        <c:numFmt formatCode="0%" sourceLinked="1"/>
        <c:majorTickMark val="out"/>
        <c:minorTickMark val="none"/>
        <c:tickLblPos val="none"/>
        <c:crossAx val="-2011146376"/>
        <c:crosses val="autoZero"/>
        <c:crossBetween val="between"/>
      </c:valAx>
      <c:spPr>
        <a:ln cap="sq"/>
      </c:spPr>
    </c:plotArea>
    <c:plotVisOnly val="1"/>
    <c:dispBlanksAs val="gap"/>
    <c:showDLblsOverMax val="0"/>
  </c:chart>
  <c:txPr>
    <a:bodyPr/>
    <a:lstStyle/>
    <a:p>
      <a:pPr>
        <a:defRPr sz="1400" i="0">
          <a:latin typeface="Arial" pitchFamily="34" charset="0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66635973486853"/>
          <c:y val="0.0282051282051282"/>
          <c:w val="0.733364026513149"/>
          <c:h val="0.94358974358974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ave 3</c:v>
                </c:pt>
              </c:strCache>
            </c:strRef>
          </c:tx>
          <c:spPr>
            <a:solidFill>
              <a:srgbClr val="AAAAAA"/>
            </a:solidFill>
            <a:scene3d>
              <a:camera prst="orthographicFront"/>
              <a:lightRig rig="threePt" dir="t"/>
            </a:scene3d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1"/>
            <c:invertIfNegative val="0"/>
            <c:bubble3D val="0"/>
            <c:spPr>
              <a:solidFill>
                <a:srgbClr val="EEB211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3"/>
            <c:invertIfNegative val="0"/>
            <c:bubble3D val="0"/>
            <c:spPr>
              <a:solidFill>
                <a:srgbClr val="009925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9"/>
            <c:invertIfNegative val="0"/>
            <c:bubble3D val="0"/>
            <c:spPr>
              <a:solidFill>
                <a:srgbClr val="D50F25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13"/>
            <c:invertIfNegative val="0"/>
            <c:bubble3D val="0"/>
            <c:spPr>
              <a:solidFill>
                <a:srgbClr val="3369E8"/>
              </a:solidFill>
              <a:scene3d>
                <a:camera prst="orthographicFront"/>
                <a:lightRig rig="threePt" dir="t"/>
              </a:scene3d>
              <a:sp3d/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9</c:f>
              <c:strCache>
                <c:ptCount val="18"/>
                <c:pt idx="0">
                  <c:v>Nő</c:v>
                </c:pt>
                <c:pt idx="1">
                  <c:v>Férfi</c:v>
                </c:pt>
                <c:pt idx="3">
                  <c:v>18–24 év közötti</c:v>
                </c:pt>
                <c:pt idx="4">
                  <c:v>25–34 év közötti</c:v>
                </c:pt>
                <c:pt idx="5">
                  <c:v>35–44 év közötti</c:v>
                </c:pt>
                <c:pt idx="6">
                  <c:v>45–54 év közötti</c:v>
                </c:pt>
                <c:pt idx="7">
                  <c:v>55 év feletti</c:v>
                </c:pt>
                <c:pt idx="9">
                  <c:v>Városi</c:v>
                </c:pt>
                <c:pt idx="10">
                  <c:v>Külvárosi</c:v>
                </c:pt>
                <c:pt idx="11">
                  <c:v>Vidéki</c:v>
                </c:pt>
                <c:pt idx="13">
                  <c:v>Egyedülálló</c:v>
                </c:pt>
                <c:pt idx="14">
                  <c:v>Élettársi kapcsolatban él</c:v>
                </c:pt>
                <c:pt idx="15">
                  <c:v>Házas</c:v>
                </c:pt>
                <c:pt idx="16">
                  <c:v>Özvegy</c:v>
                </c:pt>
                <c:pt idx="17">
                  <c:v>Elvált/külön él</c:v>
                </c:pt>
              </c:strCache>
            </c:strRef>
          </c:cat>
          <c:val>
            <c:numRef>
              <c:f>Sheet1!$B$2:$B$19</c:f>
              <c:numCache>
                <c:formatCode>0%</c:formatCode>
                <c:ptCount val="18"/>
                <c:pt idx="0">
                  <c:v>0.37</c:v>
                </c:pt>
                <c:pt idx="1">
                  <c:v>0.63</c:v>
                </c:pt>
                <c:pt idx="3">
                  <c:v>0.33</c:v>
                </c:pt>
                <c:pt idx="4">
                  <c:v>0.32</c:v>
                </c:pt>
                <c:pt idx="5">
                  <c:v>0.24</c:v>
                </c:pt>
                <c:pt idx="6">
                  <c:v>0.07</c:v>
                </c:pt>
                <c:pt idx="7">
                  <c:v>0.05</c:v>
                </c:pt>
                <c:pt idx="9">
                  <c:v>0.71</c:v>
                </c:pt>
                <c:pt idx="10">
                  <c:v>0.05</c:v>
                </c:pt>
                <c:pt idx="11">
                  <c:v>0.24</c:v>
                </c:pt>
                <c:pt idx="13">
                  <c:v>0.4</c:v>
                </c:pt>
                <c:pt idx="14">
                  <c:v>0.15</c:v>
                </c:pt>
                <c:pt idx="15">
                  <c:v>0.39</c:v>
                </c:pt>
                <c:pt idx="16">
                  <c:v>0.01</c:v>
                </c:pt>
                <c:pt idx="17">
                  <c:v>0.0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-2045116568"/>
        <c:axId val="-2040388760"/>
      </c:barChart>
      <c:catAx>
        <c:axId val="-204511656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 algn="r">
              <a:defRPr lang="en-US" sz="1000">
                <a:solidFill>
                  <a:srgbClr val="3C3C3C"/>
                </a:solidFill>
              </a:defRPr>
            </a:pPr>
            <a:endParaRPr lang="en-US"/>
          </a:p>
        </c:txPr>
        <c:crossAx val="-2040388760"/>
        <c:crosses val="autoZero"/>
        <c:auto val="1"/>
        <c:lblAlgn val="ctr"/>
        <c:lblOffset val="100"/>
        <c:tickLblSkip val="1"/>
        <c:noMultiLvlLbl val="0"/>
      </c:catAx>
      <c:valAx>
        <c:axId val="-2040388760"/>
        <c:scaling>
          <c:orientation val="minMax"/>
          <c:max val="1.0"/>
        </c:scaling>
        <c:delete val="1"/>
        <c:axPos val="t"/>
        <c:numFmt formatCode="0%" sourceLinked="1"/>
        <c:majorTickMark val="out"/>
        <c:minorTickMark val="none"/>
        <c:tickLblPos val="none"/>
        <c:crossAx val="-2045116568"/>
        <c:crosses val="autoZero"/>
        <c:crossBetween val="between"/>
      </c:valAx>
      <c:spPr>
        <a:ln cap="sq"/>
      </c:spPr>
    </c:plotArea>
    <c:plotVisOnly val="1"/>
    <c:dispBlanksAs val="gap"/>
    <c:showDLblsOverMax val="0"/>
  </c:chart>
  <c:txPr>
    <a:bodyPr/>
    <a:lstStyle/>
    <a:p>
      <a:pPr>
        <a:defRPr sz="1100">
          <a:latin typeface="Arial" pitchFamily="34" charset="0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97033871159342"/>
          <c:y val="0.0282051282051282"/>
          <c:w val="0.402966128840659"/>
          <c:h val="0.94358974358974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ave 3</c:v>
                </c:pt>
              </c:strCache>
            </c:strRef>
          </c:tx>
          <c:spPr>
            <a:solidFill>
              <a:srgbClr val="AAAAAA"/>
            </a:solidFill>
            <a:scene3d>
              <a:camera prst="orthographicFront"/>
              <a:lightRig rig="threePt" dir="t"/>
            </a:scene3d>
            <a:sp3d/>
          </c:spPr>
          <c:invertIfNegative val="0"/>
          <c:dPt>
            <c:idx val="1"/>
            <c:invertIfNegative val="0"/>
            <c:bubble3D val="0"/>
            <c:spPr>
              <a:solidFill>
                <a:srgbClr val="EEB211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4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6"/>
            <c:invertIfNegative val="0"/>
            <c:bubble3D val="0"/>
            <c:spPr>
              <a:solidFill>
                <a:srgbClr val="3369E8"/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7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11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16"/>
            <c:invertIfNegative val="0"/>
            <c:bubble3D val="0"/>
            <c:spPr>
              <a:solidFill>
                <a:srgbClr val="FFFFFF">
                  <a:lumMod val="65000"/>
                </a:srgbClr>
              </a:solidFill>
              <a:scene3d>
                <a:camera prst="orthographicFront"/>
                <a:lightRig rig="threePt" dir="t"/>
              </a:scene3d>
              <a:sp3d/>
            </c:spPr>
          </c:dPt>
          <c:dPt>
            <c:idx val="19"/>
            <c:invertIfNegative val="0"/>
            <c:bubble3D val="0"/>
            <c:spPr>
              <a:solidFill>
                <a:srgbClr val="009925"/>
              </a:solidFill>
              <a:scene3d>
                <a:camera prst="orthographicFront"/>
                <a:lightRig rig="threePt" dir="t"/>
              </a:scene3d>
              <a:sp3d/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2</c:f>
              <c:strCache>
                <c:ptCount val="21"/>
                <c:pt idx="0">
                  <c:v> Általános iskola vagy annál alacsonyabb végzettség</c:v>
                </c:pt>
                <c:pt idx="1">
                  <c:v>Szakmunkásképző/Szakközépiskola</c:v>
                </c:pt>
                <c:pt idx="2">
                  <c:v>Gimnáziumi érettségi</c:v>
                </c:pt>
                <c:pt idx="3">
                  <c:v> Egyetemi diploma vagy annál magasabb végzettség</c:v>
                </c:pt>
                <c:pt idx="6">
                  <c:v>Alkalmazottként dolgozom</c:v>
                </c:pt>
                <c:pt idx="7">
                  <c:v>Vállalkozóként dolgozom</c:v>
                </c:pt>
                <c:pt idx="8">
                  <c:v>Nem végzek fizetett munkát</c:v>
                </c:pt>
                <c:pt idx="9">
                  <c:v>Nem tudja/nem válaszolt</c:v>
                </c:pt>
                <c:pt idx="12">
                  <c:v> 100 000 Ft vagy annál kevesebb</c:v>
                </c:pt>
                <c:pt idx="13">
                  <c:v> 100 001 – 125 000 Ft</c:v>
                </c:pt>
                <c:pt idx="14">
                  <c:v> 125 001 – 150 000 Ft</c:v>
                </c:pt>
                <c:pt idx="15">
                  <c:v>150 001 – 175 000 Ft</c:v>
                </c:pt>
                <c:pt idx="16">
                  <c:v> 175 001 – 200 000 Ft</c:v>
                </c:pt>
                <c:pt idx="17">
                  <c:v> 200 001 – 250 000 Ft</c:v>
                </c:pt>
                <c:pt idx="18">
                  <c:v> 250 001 – 300 000 Ft</c:v>
                </c:pt>
                <c:pt idx="19">
                  <c:v>300 001 Ft vagy annál több</c:v>
                </c:pt>
                <c:pt idx="20">
                  <c:v>Nem tudja/nem válaszolt</c:v>
                </c:pt>
              </c:strCache>
            </c:strRef>
          </c:cat>
          <c:val>
            <c:numRef>
              <c:f>Sheet1!$B$2:$B$22</c:f>
              <c:numCache>
                <c:formatCode>0%</c:formatCode>
                <c:ptCount val="21"/>
                <c:pt idx="0">
                  <c:v>0.03</c:v>
                </c:pt>
                <c:pt idx="1">
                  <c:v>0.66</c:v>
                </c:pt>
                <c:pt idx="2">
                  <c:v>0.22</c:v>
                </c:pt>
                <c:pt idx="3">
                  <c:v>0.09</c:v>
                </c:pt>
                <c:pt idx="6">
                  <c:v>0.59</c:v>
                </c:pt>
                <c:pt idx="7">
                  <c:v>0.07</c:v>
                </c:pt>
                <c:pt idx="8">
                  <c:v>0.26</c:v>
                </c:pt>
                <c:pt idx="9">
                  <c:v>0.08</c:v>
                </c:pt>
                <c:pt idx="12">
                  <c:v>0.08</c:v>
                </c:pt>
                <c:pt idx="13">
                  <c:v>0.1</c:v>
                </c:pt>
                <c:pt idx="14">
                  <c:v>0.07</c:v>
                </c:pt>
                <c:pt idx="15">
                  <c:v>0.08</c:v>
                </c:pt>
                <c:pt idx="16">
                  <c:v>0.09</c:v>
                </c:pt>
                <c:pt idx="17">
                  <c:v>0.11</c:v>
                </c:pt>
                <c:pt idx="18">
                  <c:v>0.07</c:v>
                </c:pt>
                <c:pt idx="19">
                  <c:v>0.12</c:v>
                </c:pt>
                <c:pt idx="20">
                  <c:v>0.2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-2043013496"/>
        <c:axId val="-2043010296"/>
      </c:barChart>
      <c:catAx>
        <c:axId val="-204301349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 algn="r">
              <a:defRPr lang="en-US" sz="900">
                <a:solidFill>
                  <a:srgbClr val="3C3C3C"/>
                </a:solidFill>
              </a:defRPr>
            </a:pPr>
            <a:endParaRPr lang="en-US"/>
          </a:p>
        </c:txPr>
        <c:crossAx val="-2043010296"/>
        <c:crosses val="autoZero"/>
        <c:auto val="1"/>
        <c:lblAlgn val="ctr"/>
        <c:lblOffset val="100"/>
        <c:tickLblSkip val="1"/>
        <c:noMultiLvlLbl val="0"/>
      </c:catAx>
      <c:valAx>
        <c:axId val="-2043010296"/>
        <c:scaling>
          <c:orientation val="minMax"/>
          <c:max val="1.0"/>
        </c:scaling>
        <c:delete val="1"/>
        <c:axPos val="t"/>
        <c:numFmt formatCode="0%" sourceLinked="1"/>
        <c:majorTickMark val="out"/>
        <c:minorTickMark val="none"/>
        <c:tickLblPos val="none"/>
        <c:crossAx val="-2043013496"/>
        <c:crosses val="autoZero"/>
        <c:crossBetween val="between"/>
      </c:valAx>
      <c:spPr>
        <a:ln cap="sq"/>
      </c:spPr>
    </c:plotArea>
    <c:plotVisOnly val="1"/>
    <c:dispBlanksAs val="gap"/>
    <c:showDLblsOverMax val="0"/>
  </c:chart>
  <c:txPr>
    <a:bodyPr/>
    <a:lstStyle/>
    <a:p>
      <a:pPr>
        <a:defRPr sz="1100">
          <a:latin typeface="Arial" pitchFamily="34" charset="0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35" tIns="46518" rIns="93035" bIns="46518" numCol="1" anchor="t" anchorCtr="0" compatLnSpc="1">
            <a:prstTxWarp prst="textNoShape">
              <a:avLst/>
            </a:prstTxWarp>
          </a:bodyPr>
          <a:lstStyle>
            <a:lvl1pPr defTabSz="930198">
              <a:lnSpc>
                <a:spcPct val="100000"/>
              </a:lnSpc>
              <a:defRPr sz="1200" dirty="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435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35" tIns="46518" rIns="93035" bIns="46518" numCol="1" anchor="t" anchorCtr="0" compatLnSpc="1">
            <a:prstTxWarp prst="textNoShape">
              <a:avLst/>
            </a:prstTxWarp>
          </a:bodyPr>
          <a:lstStyle>
            <a:lvl1pPr algn="r" defTabSz="930198">
              <a:lnSpc>
                <a:spcPct val="100000"/>
              </a:lnSpc>
              <a:defRPr sz="1200" dirty="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436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4513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35" tIns="46518" rIns="93035" bIns="46518" numCol="1" anchor="b" anchorCtr="0" compatLnSpc="1">
            <a:prstTxWarp prst="textNoShape">
              <a:avLst/>
            </a:prstTxWarp>
          </a:bodyPr>
          <a:lstStyle>
            <a:lvl1pPr defTabSz="930198">
              <a:lnSpc>
                <a:spcPct val="100000"/>
              </a:lnSpc>
              <a:defRPr sz="1200" dirty="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437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4513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35" tIns="46518" rIns="93035" bIns="46518" numCol="1" anchor="b" anchorCtr="0" compatLnSpc="1">
            <a:prstTxWarp prst="textNoShape">
              <a:avLst/>
            </a:prstTxWarp>
          </a:bodyPr>
          <a:lstStyle>
            <a:lvl1pPr algn="r" defTabSz="930198">
              <a:lnSpc>
                <a:spcPct val="100000"/>
              </a:lnSpc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fld id="{572262C5-83E2-43CF-A9CE-3F5EB1E6B55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5029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14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05" tIns="46202" rIns="92405" bIns="46202" numCol="1" anchor="t" anchorCtr="0" compatLnSpc="1">
            <a:prstTxWarp prst="textNoShape">
              <a:avLst/>
            </a:prstTxWarp>
          </a:bodyPr>
          <a:lstStyle>
            <a:lvl1pPr defTabSz="923849">
              <a:lnSpc>
                <a:spcPct val="100000"/>
              </a:lnSpc>
              <a:defRPr sz="1200" dirty="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ar-EG"/>
          </a:p>
        </p:txBody>
      </p:sp>
      <p:sp>
        <p:nvSpPr>
          <p:cNvPr id="46083" name="Rectangle 1027"/>
          <p:cNvSpPr>
            <a:spLocks noGrp="1" noChangeArrowheads="1"/>
          </p:cNvSpPr>
          <p:nvPr>
            <p:ph type="dt" idx="1"/>
          </p:nvPr>
        </p:nvSpPr>
        <p:spPr bwMode="auto">
          <a:xfrm>
            <a:off x="3883025" y="0"/>
            <a:ext cx="29114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05" tIns="46202" rIns="92405" bIns="46202" numCol="1" anchor="t" anchorCtr="0" compatLnSpc="1">
            <a:prstTxWarp prst="textNoShape">
              <a:avLst/>
            </a:prstTxWarp>
          </a:bodyPr>
          <a:lstStyle>
            <a:lvl1pPr algn="r" defTabSz="923849">
              <a:lnSpc>
                <a:spcPct val="100000"/>
              </a:lnSpc>
              <a:defRPr sz="1200" dirty="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ar-EG"/>
          </a:p>
        </p:txBody>
      </p:sp>
      <p:sp>
        <p:nvSpPr>
          <p:cNvPr id="53252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87413" y="738188"/>
            <a:ext cx="5021262" cy="37671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5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6938" y="4756150"/>
            <a:ext cx="5000625" cy="442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05" tIns="46202" rIns="92405" bIns="4620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noProof="0"/>
              <a:t>Click to edit Master text styles</a:t>
            </a:r>
          </a:p>
          <a:p>
            <a:pPr lvl="1"/>
            <a:r>
              <a:rPr noProof="0"/>
              <a:t>Second level</a:t>
            </a:r>
          </a:p>
          <a:p>
            <a:pPr lvl="2"/>
            <a:r>
              <a:rPr noProof="0"/>
              <a:t>Third level</a:t>
            </a:r>
          </a:p>
          <a:p>
            <a:pPr lvl="3"/>
            <a:r>
              <a:rPr noProof="0"/>
              <a:t>Fourth level</a:t>
            </a:r>
          </a:p>
          <a:p>
            <a:pPr lvl="4"/>
            <a:r>
              <a:rPr noProof="0"/>
              <a:t>Fifth level</a:t>
            </a:r>
          </a:p>
        </p:txBody>
      </p:sp>
      <p:sp>
        <p:nvSpPr>
          <p:cNvPr id="46086" name="Rectangle 1030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6575"/>
            <a:ext cx="2911475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05" tIns="46202" rIns="92405" bIns="46202" numCol="1" anchor="b" anchorCtr="0" compatLnSpc="1">
            <a:prstTxWarp prst="textNoShape">
              <a:avLst/>
            </a:prstTxWarp>
          </a:bodyPr>
          <a:lstStyle>
            <a:lvl1pPr defTabSz="923849">
              <a:lnSpc>
                <a:spcPct val="100000"/>
              </a:lnSpc>
              <a:defRPr sz="1200" dirty="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ar-EG"/>
          </a:p>
        </p:txBody>
      </p:sp>
      <p:sp>
        <p:nvSpPr>
          <p:cNvPr id="46087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3025" y="9426575"/>
            <a:ext cx="2911475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05" tIns="46202" rIns="92405" bIns="46202" numCol="1" anchor="b" anchorCtr="0" compatLnSpc="1">
            <a:prstTxWarp prst="textNoShape">
              <a:avLst/>
            </a:prstTxWarp>
          </a:bodyPr>
          <a:lstStyle>
            <a:lvl1pPr algn="r" defTabSz="923849">
              <a:lnSpc>
                <a:spcPct val="100000"/>
              </a:lnSpc>
              <a:defRPr sz="1200" smtClean="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75327E3A-5034-4277-8DE3-29E657A4010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44649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3025" y="9426575"/>
            <a:ext cx="2911475" cy="490538"/>
          </a:xfrm>
        </p:spPr>
        <p:txBody>
          <a:bodyPr/>
          <a:lstStyle/>
          <a:p>
            <a:pPr>
              <a:defRPr/>
            </a:pPr>
            <a:fld id="{75327E3A-5034-4277-8DE3-29E657A4010C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54786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80898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80899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DC30F6A7-6151-4FD1-BF03-D298B604BFC6}" type="slidenum">
              <a:rPr lang="en-US">
                <a:ea typeface="ヒラギノ角ゴ ProN W3"/>
                <a:cs typeface="ヒラギノ角ゴ ProN W3"/>
              </a:rPr>
              <a:pPr defTabSz="922338"/>
              <a:t>10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39017021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49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04450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10445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CFA175B7-E23F-4212-B50E-0D8C69BA5D5D}" type="slidenum">
              <a:rPr lang="en-US">
                <a:ea typeface="ヒラギノ角ゴ ProN W3"/>
                <a:cs typeface="ヒラギノ角ゴ ProN W3"/>
              </a:rPr>
              <a:pPr defTabSz="922338"/>
              <a:t>11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1995748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7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06498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106499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1405FB06-8488-4B64-9D34-DD43B065A0BC}" type="slidenum">
              <a:rPr lang="en-US">
                <a:ea typeface="ヒラギノ角ゴ ProN W3"/>
                <a:cs typeface="ヒラギノ角ゴ ProN W3"/>
              </a:rPr>
              <a:pPr defTabSz="922338"/>
              <a:t>12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4100737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5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0854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0854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8CD386EF-CF8A-4C14-833D-B608FBF14239}" type="slidenum">
              <a:rPr lang="en-US">
                <a:ea typeface="ヒラギノ角ゴ ProN W3"/>
                <a:cs typeface="ヒラギノ角ゴ ProN W3"/>
              </a:rPr>
              <a:pPr defTabSz="922338"/>
              <a:t>13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30296074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10594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1059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51DE8974-85EF-4CD7-89F5-C0C099A3CC7C}" type="slidenum">
              <a:rPr lang="en-US">
                <a:ea typeface="ヒラギノ角ゴ ProN W3"/>
                <a:cs typeface="ヒラギノ角ゴ ProN W3"/>
              </a:rPr>
              <a:pPr defTabSz="922338"/>
              <a:t>14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7661847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1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12642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1264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D8B8C38D-D5F2-4961-A73B-D51A9CFF9AC1}" type="slidenum">
              <a:rPr lang="en-US">
                <a:solidFill>
                  <a:srgbClr val="000000"/>
                </a:solidFill>
                <a:ea typeface="ヒラギノ角ゴ ProN W3"/>
                <a:cs typeface="ヒラギノ角ゴ ProN W3"/>
              </a:rPr>
              <a:pPr defTabSz="922338"/>
              <a:t>15</a:t>
            </a:fld>
            <a:endParaRPr lang="en-US">
              <a:solidFill>
                <a:srgbClr val="000000"/>
              </a:solidFill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2084282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89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14690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11469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C5CF93A2-3906-4E19-AC71-42113A0BF6E3}" type="slidenum">
              <a:rPr lang="en-US">
                <a:ea typeface="ヒラギノ角ゴ ProN W3"/>
                <a:cs typeface="ヒラギノ角ゴ ProN W3"/>
              </a:rPr>
              <a:pPr defTabSz="922338"/>
              <a:t>16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39761680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5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1878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11878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B4DEA9AF-AA48-4EBB-A926-69047C9BA16E}" type="slidenum">
              <a:rPr lang="en-US">
                <a:ea typeface="ヒラギノ角ゴ ProN W3"/>
                <a:cs typeface="ヒラギノ角ゴ ProN W3"/>
              </a:rPr>
              <a:pPr defTabSz="922338"/>
              <a:t>17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41452323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5234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9523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FFA0C2DB-F496-49DF-93E3-9BF496061C7C}" type="slidenum">
              <a:rPr lang="en-US">
                <a:ea typeface="ヒラギノ角ゴ ProN W3"/>
                <a:cs typeface="ヒラギノ角ゴ ProN W3"/>
              </a:rPr>
              <a:pPr defTabSz="922338"/>
              <a:t>18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3494526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5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830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9830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9E226825-E616-4406-8A3E-52DF72274DAA}" type="slidenum">
              <a:rPr lang="en-US">
                <a:ea typeface="ヒラギノ角ゴ ProN W3"/>
                <a:cs typeface="ヒラギノ角ゴ ProN W3"/>
              </a:rPr>
              <a:pPr defTabSz="922338"/>
              <a:t>19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3951376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64514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6451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0CF2B14C-43EF-4F27-A3C9-957BCC49E107}" type="slidenum">
              <a:rPr lang="en-US">
                <a:ea typeface="ヒラギノ角ゴ ProN W3"/>
                <a:cs typeface="ヒラギノ角ゴ ProN W3"/>
              </a:rPr>
              <a:pPr defTabSz="922338"/>
              <a:t>2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16529229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1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02402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10240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829A6896-8CF0-4738-9576-9C5244912E41}" type="slidenum">
              <a:rPr lang="en-US">
                <a:ea typeface="ヒラギノ角ゴ ProN W3"/>
                <a:cs typeface="ヒラギノ角ゴ ProN W3"/>
              </a:rPr>
              <a:pPr defTabSz="922338"/>
              <a:t>20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371690762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20834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12083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8148863D-3773-4E50-A271-25F539E4F60A}" type="slidenum">
              <a:rPr lang="en-US">
                <a:ea typeface="ヒラギノ角ゴ ProN W3"/>
                <a:cs typeface="ヒラギノ角ゴ ProN W3"/>
              </a:rPr>
              <a:pPr defTabSz="922338"/>
              <a:t>21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381415636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1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22882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12288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9D5F29C0-5F6D-459B-A7B2-8D3228C18512}" type="slidenum">
              <a:rPr lang="en-US">
                <a:ea typeface="ヒラギノ角ゴ ProN W3"/>
                <a:cs typeface="ヒラギノ角ゴ ProN W3"/>
              </a:rPr>
              <a:pPr defTabSz="922338"/>
              <a:t>22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409452763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29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24930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12493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9BDB8B10-6D76-4608-8D72-B7B3FD89A883}" type="slidenum">
              <a:rPr lang="en-US">
                <a:ea typeface="ヒラギノ角ゴ ProN W3"/>
                <a:cs typeface="ヒラギノ角ゴ ProN W3"/>
              </a:rPr>
              <a:pPr defTabSz="922338"/>
              <a:t>23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180335096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DC04B4B9-542A-4662-BFCD-660E8E290AD0}" type="slidenum">
              <a:rPr lang="en-US">
                <a:ea typeface="ヒラギノ角ゴ ProN W3"/>
                <a:cs typeface="ヒラギノ角ゴ ProN W3"/>
              </a:rPr>
              <a:pPr defTabSz="922338"/>
              <a:t>24</a:t>
            </a:fld>
            <a:endParaRPr lang="en-US">
              <a:ea typeface="ヒラギノ角ゴ ProN W3"/>
              <a:cs typeface="ヒラギノ角ゴ ProN W3"/>
            </a:endParaRPr>
          </a:p>
        </p:txBody>
      </p:sp>
      <p:sp>
        <p:nvSpPr>
          <p:cNvPr id="1269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697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7173555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5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290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1290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F5857720-B2F5-40C0-A6D3-E526C06694BE}" type="slidenum">
              <a:rPr lang="en-US">
                <a:ea typeface="ヒラギノ角ゴ ProN W3"/>
                <a:cs typeface="ヒラギノ角ゴ ProN W3"/>
              </a:rPr>
              <a:pPr defTabSz="922338"/>
              <a:t>25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87161726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5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2902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12902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F5857720-B2F5-40C0-A6D3-E526C06694BE}" type="slidenum">
              <a:rPr lang="en-US">
                <a:ea typeface="ヒラギノ角ゴ ProN W3"/>
                <a:cs typeface="ヒラギノ角ゴ ProN W3"/>
              </a:rPr>
              <a:pPr defTabSz="922338"/>
              <a:t>26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87161726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327E3A-5034-4277-8DE3-29E657A4010C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327E3A-5034-4277-8DE3-29E657A4010C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5327E3A-5034-4277-8DE3-29E657A4010C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76802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7680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5FD178B7-DEA8-4AB7-B18A-764BB61FA98A}" type="slidenum">
              <a:rPr lang="en-US">
                <a:ea typeface="ヒラギノ角ゴ ProN W3"/>
                <a:cs typeface="ヒラギノ角ゴ ProN W3"/>
              </a:rPr>
              <a:pPr defTabSz="922338"/>
              <a:t>3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30382616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74754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7475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AB5296FB-282B-4915-9930-4602F8732533}" type="slidenum">
              <a:rPr lang="en-US">
                <a:ea typeface="ヒラギノ角ゴ ProN W3"/>
                <a:cs typeface="ヒラギノ角ゴ ProN W3"/>
              </a:rPr>
              <a:pPr defTabSz="922338"/>
              <a:t>4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9067558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7270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7270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ADF1CEC3-18B2-45A3-9A09-163780285A3C}" type="slidenum">
              <a:rPr lang="en-US">
                <a:ea typeface="ヒラギノ角ゴ ProN W3"/>
                <a:cs typeface="ヒラギノ角ゴ ProN W3"/>
              </a:rPr>
              <a:pPr defTabSz="922338"/>
              <a:t>5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0890622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78850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7885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2712016B-184A-44B9-B9B7-E74D56EFC9DF}" type="slidenum">
              <a:rPr lang="en-US">
                <a:ea typeface="ヒラギノ角ゴ ProN W3"/>
                <a:cs typeface="ヒラギノ角ゴ ProN W3"/>
              </a:rPr>
              <a:pPr defTabSz="922338"/>
              <a:t>6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5004632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84994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8499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1127D57F-309A-46C5-AA7E-99F54A5AFADB}" type="slidenum">
              <a:rPr lang="en-US">
                <a:ea typeface="ヒラギノ角ゴ ProN W3"/>
                <a:cs typeface="ヒラギノ角ゴ ProN W3"/>
              </a:rPr>
              <a:pPr defTabSz="922338"/>
              <a:t>7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20518316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5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318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9318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5CF0B904-6766-4042-9E04-E7FA0F0AD87E}" type="slidenum">
              <a:rPr lang="en-US">
                <a:ea typeface="ヒラギノ角ゴ ProN W3"/>
                <a:cs typeface="ヒラギノ角ゴ ProN W3"/>
              </a:rPr>
              <a:pPr defTabSz="922338"/>
              <a:t>8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38801721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5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8294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hu-HU" smtClean="0"/>
          </a:p>
        </p:txBody>
      </p:sp>
      <p:sp>
        <p:nvSpPr>
          <p:cNvPr id="8294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2338"/>
            <a:fld id="{049BE88A-A41A-46BB-9963-F7FA29F3A206}" type="slidenum">
              <a:rPr lang="en-US">
                <a:ea typeface="ヒラギノ角ゴ ProN W3"/>
                <a:cs typeface="ヒラギノ角ゴ ProN W3"/>
              </a:rPr>
              <a:pPr defTabSz="922338"/>
              <a:t>9</a:t>
            </a:fld>
            <a:endParaRPr lang="en-US"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636869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2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3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4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1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2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3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4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756024" y="3420437"/>
            <a:ext cx="4936717" cy="413959"/>
          </a:xfrm>
          <a:ln algn="ctr"/>
        </p:spPr>
        <p:txBody>
          <a:bodyPr>
            <a:spAutoFit/>
          </a:bodyPr>
          <a:lstStyle>
            <a:lvl1pPr>
              <a:spcBef>
                <a:spcPct val="0"/>
              </a:spcBef>
              <a:defRPr sz="220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736974" y="2452983"/>
            <a:ext cx="4936717" cy="1034129"/>
          </a:xfrm>
          <a:ln algn="ctr"/>
        </p:spPr>
        <p:txBody>
          <a:bodyPr anchor="b">
            <a:spAutoFit/>
          </a:bodyPr>
          <a:lstStyle>
            <a:lvl1pPr>
              <a:defRPr sz="3400" b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330325"/>
            <a:ext cx="9144000" cy="4979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D8C061-13F9-4FA0-8FCE-BD1829D8DF33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C5671A-2EC7-464E-B5CC-C57242991D2B}" type="slidenum">
              <a:rPr lang="hu-HU" noProof="0" smtClean="0"/>
              <a:pPr>
                <a:defRPr/>
              </a:pPr>
              <a:t>‹#›</a:t>
            </a:fld>
            <a:endParaRPr lang="hu-HU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 noProof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4038600" cy="5181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4038600" cy="5181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_Drop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/>
          <p:cNvSpPr/>
          <p:nvPr/>
        </p:nvSpPr>
        <p:spPr bwMode="gray">
          <a:xfrm>
            <a:off x="533400" y="1295400"/>
            <a:ext cx="3886200" cy="5029200"/>
          </a:xfrm>
          <a:prstGeom prst="roundRect">
            <a:avLst>
              <a:gd name="adj" fmla="val 21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/>
          <a:lstStyle/>
          <a:p>
            <a:pPr>
              <a:lnSpc>
                <a:spcPct val="90000"/>
              </a:lnSpc>
              <a:defRPr/>
            </a:pPr>
            <a:endParaRPr lang="en-US" dirty="0">
              <a:solidFill>
                <a:schemeClr val="accent1"/>
              </a:solidFill>
              <a:ea typeface="+mn-ea"/>
              <a:cs typeface="+mn-cs"/>
            </a:endParaRPr>
          </a:p>
        </p:txBody>
      </p:sp>
      <p:sp>
        <p:nvSpPr>
          <p:cNvPr id="8" name="Rounded Rectangle 12"/>
          <p:cNvSpPr/>
          <p:nvPr/>
        </p:nvSpPr>
        <p:spPr bwMode="gray">
          <a:xfrm>
            <a:off x="4714875" y="1295400"/>
            <a:ext cx="3886200" cy="5029200"/>
          </a:xfrm>
          <a:prstGeom prst="roundRect">
            <a:avLst>
              <a:gd name="adj" fmla="val 21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/>
          <a:lstStyle/>
          <a:p>
            <a:pPr>
              <a:lnSpc>
                <a:spcPct val="90000"/>
              </a:lnSpc>
              <a:defRPr/>
            </a:pPr>
            <a:endParaRPr lang="en-US" dirty="0">
              <a:solidFill>
                <a:schemeClr val="accent1"/>
              </a:solidFill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1950"/>
            <a:ext cx="8229600" cy="4754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1" dirty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447800"/>
            <a:ext cx="3581400" cy="63976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2174875"/>
            <a:ext cx="3581400" cy="399732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173038" indent="-171450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8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44488" indent="-173038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17525" indent="-169863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4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688975" indent="-171450" algn="l" rtl="0" eaLnBrk="1" fontAlgn="base" hangingPunct="1">
              <a:lnSpc>
                <a:spcPct val="95000"/>
              </a:lnSpc>
              <a:spcAft>
                <a:spcPct val="5000"/>
              </a:spcAft>
              <a:tabLst/>
              <a:defRPr lang="en-US" sz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3715" y="1447800"/>
            <a:ext cx="3582807" cy="63976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>
            <a:lvl1pPr marL="0" indent="0">
              <a:buNone/>
              <a:defRPr lang="en-US" sz="20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3715" y="2174875"/>
            <a:ext cx="3582807" cy="399732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8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4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61D719-DEF7-47C8-A39A-DDCB1AB31D76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1950"/>
            <a:ext cx="8229600" cy="4754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1" dirty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95400"/>
            <a:ext cx="3964016" cy="63976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022474"/>
            <a:ext cx="3964016" cy="430212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173038" indent="-171450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8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44488" indent="-173038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17525" indent="-169863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4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688975" indent="-171450" algn="l" rtl="0" eaLnBrk="1" fontAlgn="base" hangingPunct="1">
              <a:lnSpc>
                <a:spcPct val="95000"/>
              </a:lnSpc>
              <a:spcAft>
                <a:spcPct val="5000"/>
              </a:spcAft>
              <a:tabLst/>
              <a:defRPr lang="en-US" sz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21226" y="1295400"/>
            <a:ext cx="3965574" cy="63976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>
            <a:lvl1pPr marL="0" indent="0">
              <a:buNone/>
              <a:defRPr lang="en-US" sz="2000" b="1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21226" y="2022474"/>
            <a:ext cx="3965574" cy="430212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8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4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460A61-DE11-4EE4-8827-7080C1B96E0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1950"/>
            <a:ext cx="8229600" cy="4754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1" dirty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4419600"/>
            <a:ext cx="8229600" cy="63976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800" b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76401"/>
            <a:ext cx="8229600" cy="254952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 marL="112713" indent="-112713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2400" dirty="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1pPr>
            <a:lvl2pPr marL="173038" indent="-171450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4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44488" indent="-173038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4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17525" indent="-169863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4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688975" indent="-171450" algn="l" rtl="0" eaLnBrk="1" fontAlgn="base" hangingPunct="1">
              <a:lnSpc>
                <a:spcPct val="95000"/>
              </a:lnSpc>
              <a:spcAft>
                <a:spcPct val="5000"/>
              </a:spcAft>
              <a:tabLst/>
              <a:defRPr lang="en-US" sz="24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2F2B39-DA61-4860-A1FC-BCFAF62DEF76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75E73D-EEA6-417E-A098-B92B6B6E32D4}" type="slidenum">
              <a:rPr/>
              <a:pPr>
                <a:defRPr/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Z:\GGL\22944_smartphone_country_report_dai\Source\PSD\GGL22944_cover update_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588"/>
            <a:ext cx="9144000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Documents and Settings\cmcneill\cmcneill_files\Google_work\Graphics\logos_google\NEWEST_Glogo_flat_RGB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1025" y="746125"/>
            <a:ext cx="1700213" cy="56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Grafik 8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20763" y="6081713"/>
            <a:ext cx="1739900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73088" y="5962650"/>
            <a:ext cx="43815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79438" y="3620462"/>
            <a:ext cx="4936717" cy="263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noAutofit/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5000"/>
              </a:spcAft>
              <a:defRPr lang="en-US" sz="1800" baseline="0" dirty="0">
                <a:solidFill>
                  <a:schemeClr val="bg2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hu-HU" noProof="0" smtClean="0"/>
              <a:t>Click to edit Master subtitle style</a:t>
            </a:r>
            <a:endParaRPr lang="hu-HU" noProof="0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79438" y="3272188"/>
            <a:ext cx="4936717" cy="33239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400" b="0" baseline="0" dirty="0">
                <a:solidFill>
                  <a:schemeClr val="accent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hu-HU" noProof="0" smtClean="0"/>
              <a:t>Click to edit Master title style</a:t>
            </a:r>
            <a:endParaRPr lang="hu-HU" noProof="0"/>
          </a:p>
        </p:txBody>
      </p:sp>
      <p:sp>
        <p:nvSpPr>
          <p:cNvPr id="9" name="Text Box 54"/>
          <p:cNvSpPr txBox="1">
            <a:spLocks noChangeArrowheads="1"/>
          </p:cNvSpPr>
          <p:nvPr userDrawn="1"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no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hu-HU" sz="800" baseline="0" noProof="0" dirty="0" smtClean="0">
                <a:solidFill>
                  <a:srgbClr val="7D7D7D"/>
                </a:solidFill>
                <a:ea typeface="Arial Unicode MS" pitchFamily="34" charset="-128"/>
                <a:cs typeface="Arial Unicode MS" pitchFamily="34" charset="-128"/>
              </a:rPr>
              <a:t>A Google bizalmas és saját tulajdonú információi</a:t>
            </a:r>
            <a:endParaRPr lang="hu-HU" sz="800" baseline="0" noProof="0" dirty="0">
              <a:solidFill>
                <a:srgbClr val="7D7D7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2659063" y="4947185"/>
            <a:ext cx="5932487" cy="352425"/>
          </a:xfrm>
          <a:ln algn="ctr"/>
        </p:spPr>
        <p:txBody>
          <a:bodyPr>
            <a:spAutoFit/>
          </a:bodyPr>
          <a:lstStyle>
            <a:lvl1pPr>
              <a:spcBef>
                <a:spcPct val="0"/>
              </a:spcBef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2659063" y="4419429"/>
            <a:ext cx="5932487" cy="480131"/>
          </a:xfrm>
          <a:ln algn="ctr"/>
        </p:spPr>
        <p:txBody>
          <a:bodyPr anchor="b">
            <a:spAutoFit/>
          </a:bodyPr>
          <a:lstStyle>
            <a:lvl1pPr>
              <a:defRPr sz="2800" b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409912-64E7-40DD-A550-FEDBA230DEA5}" type="slidenum">
              <a:rPr/>
              <a:pPr>
                <a:defRPr/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Z:\GGL\22944_smartphone_country_report_dai\Source\JPG\DIVIDERS\BLU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588"/>
            <a:ext cx="9144000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4"/>
          <p:cNvSpPr txBox="1">
            <a:spLocks noChangeArrowheads="1"/>
          </p:cNvSpPr>
          <p:nvPr userDrawn="1"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US" sz="800" dirty="0">
                <a:solidFill>
                  <a:srgbClr val="7D7D7D"/>
                </a:solidFill>
                <a:cs typeface="ヒラギノ角ゴ ProN W3"/>
              </a:rPr>
              <a:t>Google Confidential and Proprietary</a:t>
            </a:r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65150" y="3954957"/>
            <a:ext cx="3493503" cy="677108"/>
          </a:xfrm>
          <a:ln algn="ctr"/>
        </p:spPr>
        <p:txBody>
          <a:bodyPr>
            <a:spAutoFit/>
          </a:bodyPr>
          <a:lstStyle>
            <a:lvl1pPr>
              <a:spcBef>
                <a:spcPct val="0"/>
              </a:spcBef>
              <a:defRPr lang="en-US" sz="2000" b="1" dirty="0">
                <a:solidFill>
                  <a:schemeClr val="accent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65150" y="3039402"/>
            <a:ext cx="3493503" cy="86793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spAutoFit/>
          </a:bodyPr>
          <a:lstStyle>
            <a:lvl1pPr>
              <a:defRPr lang="en-US" b="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955C7-06CD-4088-8564-155CC05A6D4E}" type="slidenum">
              <a:rPr/>
              <a:pPr>
                <a:defRPr/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2659063" y="4947185"/>
            <a:ext cx="5932487" cy="352425"/>
          </a:xfrm>
          <a:ln algn="ctr"/>
        </p:spPr>
        <p:txBody>
          <a:bodyPr>
            <a:spAutoFit/>
          </a:bodyPr>
          <a:lstStyle>
            <a:lvl1pPr>
              <a:spcBef>
                <a:spcPct val="0"/>
              </a:spcBef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2659063" y="4419429"/>
            <a:ext cx="5932487" cy="480131"/>
          </a:xfrm>
          <a:ln algn="ctr"/>
        </p:spPr>
        <p:txBody>
          <a:bodyPr anchor="b">
            <a:spAutoFit/>
          </a:bodyPr>
          <a:lstStyle>
            <a:lvl1pPr>
              <a:defRPr sz="2800" b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2E8210-01E2-4F92-A8B9-EC7F17974456}" type="slidenum">
              <a:rPr/>
              <a:pPr>
                <a:defRPr/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Z:\GGL\22944_smartphone_country_report_dai\Source\JPG\DIVIDERS\RED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4"/>
          <p:cNvSpPr txBox="1">
            <a:spLocks noChangeArrowheads="1"/>
          </p:cNvSpPr>
          <p:nvPr userDrawn="1"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US" sz="800" dirty="0">
                <a:solidFill>
                  <a:srgbClr val="7D7D7D"/>
                </a:solidFill>
                <a:cs typeface="ヒラギノ角ゴ ProN W3"/>
              </a:rPr>
              <a:t>Google Confidential and Proprietary</a:t>
            </a:r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65150" y="3954957"/>
            <a:ext cx="3493503" cy="677108"/>
          </a:xfrm>
          <a:ln algn="ctr"/>
        </p:spPr>
        <p:txBody>
          <a:bodyPr>
            <a:spAutoFit/>
          </a:bodyPr>
          <a:lstStyle>
            <a:lvl1pPr>
              <a:spcBef>
                <a:spcPct val="0"/>
              </a:spcBef>
              <a:def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65150" y="3039402"/>
            <a:ext cx="3493503" cy="86793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spAutoFit/>
          </a:bodyPr>
          <a:lstStyle>
            <a:lvl1pPr>
              <a:defRPr lang="en-US" b="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C6E926-E9E7-47A5-BBD8-4541D4D28FA4}" type="slidenum">
              <a:rPr/>
              <a:pPr>
                <a:defRPr/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Z:\GGL\22944_smartphone_country_report_dai\Source\JPG\DIVIDERS\YELLOW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4"/>
          <p:cNvSpPr txBox="1">
            <a:spLocks noChangeArrowheads="1"/>
          </p:cNvSpPr>
          <p:nvPr userDrawn="1"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800">
                <a:solidFill>
                  <a:srgbClr val="7D7D7D"/>
                </a:solidFill>
                <a:cs typeface="ヒラギノ角ゴ ProN W3"/>
              </a:rPr>
              <a:t>Google Confidential and Proprietary</a:t>
            </a:r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65150" y="3954957"/>
            <a:ext cx="3493503" cy="677108"/>
          </a:xfrm>
          <a:ln algn="ctr"/>
        </p:spPr>
        <p:txBody>
          <a:bodyPr>
            <a:spAutoFit/>
          </a:bodyPr>
          <a:lstStyle>
            <a:lvl1pPr>
              <a:spcBef>
                <a:spcPct val="0"/>
              </a:spcBef>
              <a:def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65150" y="3039402"/>
            <a:ext cx="3493503" cy="86793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spAutoFit/>
          </a:bodyPr>
          <a:lstStyle>
            <a:lvl1pPr>
              <a:defRPr lang="en-US" b="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D6F11B-536B-423B-9A65-552DCD7D07ED}" type="slidenum">
              <a:rPr/>
              <a:pPr>
                <a:defRPr/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Z:\GGL\22944_smartphone_country_report_dai\Source\JPG\DIVIDERS\GREEN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4"/>
          <p:cNvSpPr txBox="1">
            <a:spLocks noChangeArrowheads="1"/>
          </p:cNvSpPr>
          <p:nvPr userDrawn="1"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800">
                <a:solidFill>
                  <a:srgbClr val="7D7D7D"/>
                </a:solidFill>
                <a:cs typeface="ヒラギノ角ゴ ProN W3"/>
              </a:rPr>
              <a:t>Google Confidential and Proprietary</a:t>
            </a:r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65150" y="3954957"/>
            <a:ext cx="3493503" cy="677108"/>
          </a:xfrm>
          <a:ln algn="ctr"/>
        </p:spPr>
        <p:txBody>
          <a:bodyPr>
            <a:spAutoFit/>
          </a:bodyPr>
          <a:lstStyle>
            <a:lvl1pPr>
              <a:spcBef>
                <a:spcPct val="0"/>
              </a:spcBef>
              <a:def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65150" y="3039402"/>
            <a:ext cx="3493503" cy="86793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spAutoFit/>
          </a:bodyPr>
          <a:lstStyle>
            <a:lvl1pPr>
              <a:defRPr lang="en-US" b="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F3A910-EA61-49DB-A1AA-218F3F395D79}" type="slidenum">
              <a:rPr/>
              <a:pPr>
                <a:defRPr/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 marL="458788" indent="-227013">
              <a:defRPr/>
            </a:lvl3pPr>
            <a:lvl4pPr marL="684213" indent="-223838">
              <a:defRPr/>
            </a:lvl4pPr>
            <a:lvl5pPr marL="912813" indent="-227013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524792-E9A8-4542-B272-21AEC8603FC2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6"/>
          <p:cNvSpPr/>
          <p:nvPr/>
        </p:nvSpPr>
        <p:spPr bwMode="gray">
          <a:xfrm>
            <a:off x="533400" y="1295400"/>
            <a:ext cx="8077200" cy="5029200"/>
          </a:xfrm>
          <a:prstGeom prst="roundRect">
            <a:avLst>
              <a:gd name="adj" fmla="val 1951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/>
          <a:lstStyle/>
          <a:p>
            <a:pPr>
              <a:lnSpc>
                <a:spcPct val="90000"/>
              </a:lnSpc>
              <a:defRPr/>
            </a:pPr>
            <a:endParaRPr lang="en-US" dirty="0">
              <a:solidFill>
                <a:srgbClr val="3369E8"/>
              </a:solidFill>
              <a:cs typeface="ヒラギノ角ゴ ProN W3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819400"/>
            <a:ext cx="7924800" cy="3352800"/>
          </a:xfrm>
        </p:spPr>
        <p:txBody>
          <a:bodyPr anchor="ctr">
            <a:noAutofit/>
          </a:bodyPr>
          <a:lstStyle>
            <a:lvl3pPr marL="458788" indent="-227013">
              <a:defRPr/>
            </a:lvl3pPr>
            <a:lvl4pPr marL="684213" indent="-223838">
              <a:defRPr/>
            </a:lvl4pPr>
            <a:lvl5pPr marL="912813" indent="-227013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21D354-0708-4131-93D2-E91BE2C8B640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hu-HU" noProof="0" smtClean="0"/>
              <a:t>Click to edit Master title style</a:t>
            </a:r>
            <a:endParaRPr lang="hu-HU" noProof="0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aseline="0"/>
            </a:lvl1pPr>
          </a:lstStyle>
          <a:p>
            <a:pPr>
              <a:defRPr/>
            </a:pPr>
            <a:fld id="{C874D5B8-BE9D-4EA4-8487-610B6C8F0259}" type="slidenum">
              <a:rPr lang="hu-HU" noProof="0" smtClean="0"/>
              <a:pPr>
                <a:defRPr/>
              </a:pPr>
              <a:t>‹#›</a:t>
            </a:fld>
            <a:endParaRPr lang="hu-HU" noProof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aseline="0"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 lang="hu-HU" noProof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330325"/>
            <a:ext cx="9144000" cy="4979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8EDE25-C270-40ED-8C70-B47798EA5090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B29601-2171-43CA-9130-F2BF5DB421B6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4038600" cy="5181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4038600" cy="5181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_Drop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/>
          <p:cNvSpPr/>
          <p:nvPr/>
        </p:nvSpPr>
        <p:spPr bwMode="gray">
          <a:xfrm>
            <a:off x="533400" y="1295400"/>
            <a:ext cx="3886200" cy="5029200"/>
          </a:xfrm>
          <a:prstGeom prst="roundRect">
            <a:avLst>
              <a:gd name="adj" fmla="val 21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/>
          <a:lstStyle/>
          <a:p>
            <a:pPr>
              <a:lnSpc>
                <a:spcPct val="90000"/>
              </a:lnSpc>
              <a:defRPr/>
            </a:pPr>
            <a:endParaRPr lang="en-US" dirty="0">
              <a:solidFill>
                <a:srgbClr val="3369E8"/>
              </a:solidFill>
              <a:cs typeface="ヒラギノ角ゴ ProN W3"/>
            </a:endParaRPr>
          </a:p>
        </p:txBody>
      </p:sp>
      <p:sp>
        <p:nvSpPr>
          <p:cNvPr id="8" name="Rounded Rectangle 12"/>
          <p:cNvSpPr/>
          <p:nvPr/>
        </p:nvSpPr>
        <p:spPr bwMode="gray">
          <a:xfrm>
            <a:off x="4714875" y="1295400"/>
            <a:ext cx="3886200" cy="5029200"/>
          </a:xfrm>
          <a:prstGeom prst="roundRect">
            <a:avLst>
              <a:gd name="adj" fmla="val 21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/>
          <a:lstStyle/>
          <a:p>
            <a:pPr>
              <a:lnSpc>
                <a:spcPct val="90000"/>
              </a:lnSpc>
              <a:defRPr/>
            </a:pPr>
            <a:endParaRPr lang="en-US" dirty="0">
              <a:solidFill>
                <a:srgbClr val="3369E8"/>
              </a:solidFill>
              <a:cs typeface="ヒラギノ角ゴ ProN W3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1950"/>
            <a:ext cx="8229600" cy="4754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1" dirty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447800"/>
            <a:ext cx="3581400" cy="63976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2174875"/>
            <a:ext cx="3581400" cy="399732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173038" indent="-171450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8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44488" indent="-173038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17525" indent="-169863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4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688975" indent="-171450" algn="l" rtl="0" eaLnBrk="1" fontAlgn="base" hangingPunct="1">
              <a:lnSpc>
                <a:spcPct val="95000"/>
              </a:lnSpc>
              <a:spcAft>
                <a:spcPct val="5000"/>
              </a:spcAft>
              <a:tabLst/>
              <a:defRPr lang="en-US" sz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3715" y="1447800"/>
            <a:ext cx="3582807" cy="63976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>
            <a:lvl1pPr marL="0" indent="0">
              <a:buNone/>
              <a:defRPr lang="en-US" sz="20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3715" y="2174875"/>
            <a:ext cx="3582807" cy="399732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8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4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E0BD46-086D-42A4-A651-C619267D4E84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Z:\GGL\22944_smartphone_country_report_dai\Source\PNG\dividerpeices.png"/>
          <p:cNvPicPr>
            <a:picLocks noChangeAspect="1" noChangeArrowheads="1"/>
          </p:cNvPicPr>
          <p:nvPr userDrawn="1"/>
        </p:nvPicPr>
        <p:blipFill>
          <a:blip r:embed="rId2" cstate="print"/>
          <a:srcRect l="41628"/>
          <a:stretch>
            <a:fillRect/>
          </a:stretch>
        </p:blipFill>
        <p:spPr bwMode="auto">
          <a:xfrm>
            <a:off x="0" y="2101850"/>
            <a:ext cx="9112250" cy="330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" descr="Z:\GGL\22944_smartphone_country_report_dai\Source\PSD\dividerblue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69975" y="654050"/>
            <a:ext cx="8074025" cy="605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Z:\GGL\22944_smartphone_country_report_dai\Source\PNG\dividerpeices.png"/>
          <p:cNvPicPr>
            <a:picLocks noChangeAspect="1" noChangeArrowheads="1"/>
          </p:cNvPicPr>
          <p:nvPr userDrawn="1"/>
        </p:nvPicPr>
        <p:blipFill>
          <a:blip r:embed="rId2" cstate="print"/>
          <a:srcRect r="65874"/>
          <a:stretch>
            <a:fillRect/>
          </a:stretch>
        </p:blipFill>
        <p:spPr bwMode="auto">
          <a:xfrm>
            <a:off x="3816350" y="2576513"/>
            <a:ext cx="5327650" cy="330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65150" y="3954957"/>
            <a:ext cx="3493503" cy="618631"/>
          </a:xfrm>
          <a:ln algn="ctr"/>
        </p:spPr>
        <p:txBody>
          <a:bodyPr>
            <a:noAutofit/>
          </a:bodyPr>
          <a:lstStyle>
            <a:lvl1pPr>
              <a:spcBef>
                <a:spcPct val="0"/>
              </a:spcBef>
              <a:defRPr sz="1800" baseline="0">
                <a:solidFill>
                  <a:schemeClr val="bg2"/>
                </a:solidFill>
              </a:defRPr>
            </a:lvl1pPr>
          </a:lstStyle>
          <a:p>
            <a:r>
              <a:rPr lang="hu-HU" noProof="0" smtClean="0"/>
              <a:t>Click to edit Master subtitle style</a:t>
            </a:r>
            <a:endParaRPr lang="hu-HU" noProof="0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65150" y="3039402"/>
            <a:ext cx="3493503" cy="86793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hu-HU" noProof="0" smtClean="0"/>
              <a:t>Click to edit Master title style</a:t>
            </a:r>
            <a:endParaRPr lang="hu-HU" noProof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pPr>
              <a:defRPr/>
            </a:pPr>
            <a:fld id="{5903F2AC-6F65-4715-B403-40C58253FC68}" type="slidenum">
              <a:rPr lang="hu-HU" noProof="0" smtClean="0"/>
              <a:pPr>
                <a:defRPr/>
              </a:pPr>
              <a:t>‹#›</a:t>
            </a:fld>
            <a:endParaRPr lang="hu-HU" noProof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1950"/>
            <a:ext cx="8229600" cy="4754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1" dirty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95400"/>
            <a:ext cx="3964016" cy="63976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022474"/>
            <a:ext cx="3964016" cy="430212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173038" indent="-171450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8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44488" indent="-173038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17525" indent="-169863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4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688975" indent="-171450" algn="l" rtl="0" eaLnBrk="1" fontAlgn="base" hangingPunct="1">
              <a:lnSpc>
                <a:spcPct val="95000"/>
              </a:lnSpc>
              <a:spcAft>
                <a:spcPct val="5000"/>
              </a:spcAft>
              <a:tabLst/>
              <a:defRPr lang="en-US" sz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21226" y="1295400"/>
            <a:ext cx="3965574" cy="63976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>
            <a:lvl1pPr marL="0" indent="0">
              <a:buNone/>
              <a:defRPr lang="en-US" sz="2000" b="1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21226" y="2022474"/>
            <a:ext cx="3965574" cy="430212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8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4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104B2C-7B3D-4AED-8EC4-62A372E677A5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1950"/>
            <a:ext cx="8229600" cy="4754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1" dirty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4419600"/>
            <a:ext cx="8229600" cy="63976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800" b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76401"/>
            <a:ext cx="8229600" cy="254952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 marL="112713" indent="-112713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2400" dirty="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1pPr>
            <a:lvl2pPr marL="173038" indent="-171450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4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44488" indent="-173038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4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17525" indent="-169863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4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688975" indent="-171450" algn="l" rtl="0" eaLnBrk="1" fontAlgn="base" hangingPunct="1">
              <a:lnSpc>
                <a:spcPct val="95000"/>
              </a:lnSpc>
              <a:spcAft>
                <a:spcPct val="5000"/>
              </a:spcAft>
              <a:tabLst/>
              <a:defRPr lang="en-US" sz="24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8E346-8087-4CE8-8365-D522D346DF97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7E609D-696F-49FA-9BE2-BFE6CB816719}" type="slidenum">
              <a:rPr/>
              <a:pPr>
                <a:defRPr/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Z:\GGL\22944_smartphone_country_report_dai\Source\PSD\GGL22944_cover update_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588"/>
            <a:ext cx="9144000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Users\Specialist31\Downloads\IOMCT logo with words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3088" y="5953125"/>
            <a:ext cx="2274887" cy="388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C:\Documents and Settings\cmcneill\cmcneill_files\Google_work\Graphics\logos_google\NEWEST_Glogo_flat_RGB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1025" y="746125"/>
            <a:ext cx="1700213" cy="56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54"/>
          <p:cNvSpPr txBox="1">
            <a:spLocks noChangeArrowheads="1"/>
          </p:cNvSpPr>
          <p:nvPr userDrawn="1"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800">
                <a:solidFill>
                  <a:srgbClr val="7D7D7D"/>
                </a:solidFill>
                <a:cs typeface="ヒラギノ角ゴ ProN W3"/>
              </a:rPr>
              <a:t>Google Confidential and Proprietary</a:t>
            </a:r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79438" y="3620462"/>
            <a:ext cx="4936717" cy="263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5000"/>
              </a:spcAft>
              <a:defRPr lang="en-US" sz="1800" dirty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79438" y="3272188"/>
            <a:ext cx="4936717" cy="33239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400" b="0" dirty="0">
                <a:solidFill>
                  <a:schemeClr val="accent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2659063" y="4947185"/>
            <a:ext cx="5932487" cy="352425"/>
          </a:xfrm>
          <a:ln algn="ctr"/>
        </p:spPr>
        <p:txBody>
          <a:bodyPr>
            <a:spAutoFit/>
          </a:bodyPr>
          <a:lstStyle>
            <a:lvl1pPr>
              <a:spcBef>
                <a:spcPct val="0"/>
              </a:spcBef>
              <a:defRPr sz="180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2659063" y="4419429"/>
            <a:ext cx="5932487" cy="480131"/>
          </a:xfrm>
          <a:ln algn="ctr"/>
        </p:spPr>
        <p:txBody>
          <a:bodyPr anchor="b">
            <a:spAutoFit/>
          </a:bodyPr>
          <a:lstStyle>
            <a:lvl1pPr>
              <a:defRPr sz="2800" b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DCA6E-BB6E-4B02-A9AD-3EA88CDE9EC8}" type="slidenum">
              <a:rPr/>
              <a:pPr>
                <a:defRPr/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Z:\GGL\22944_smartphone_country_report_dai\Source\JPG\DIVIDERS\BLU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588"/>
            <a:ext cx="9144000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4"/>
          <p:cNvSpPr txBox="1">
            <a:spLocks noChangeArrowheads="1"/>
          </p:cNvSpPr>
          <p:nvPr userDrawn="1"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US" sz="800" dirty="0">
                <a:solidFill>
                  <a:srgbClr val="7D7D7D"/>
                </a:solidFill>
                <a:ea typeface="+mn-ea"/>
                <a:cs typeface="+mn-cs"/>
              </a:rPr>
              <a:t>Google Confidential and Proprietary</a:t>
            </a:r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65150" y="3954957"/>
            <a:ext cx="3493503" cy="677108"/>
          </a:xfrm>
          <a:ln algn="ctr"/>
        </p:spPr>
        <p:txBody>
          <a:bodyPr>
            <a:spAutoFit/>
          </a:bodyPr>
          <a:lstStyle>
            <a:lvl1pPr>
              <a:spcBef>
                <a:spcPct val="0"/>
              </a:spcBef>
              <a:defRPr lang="en-US" sz="2000" b="1" dirty="0">
                <a:solidFill>
                  <a:schemeClr val="accent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65150" y="3039402"/>
            <a:ext cx="3493503" cy="86793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spAutoFit/>
          </a:bodyPr>
          <a:lstStyle>
            <a:lvl1pPr>
              <a:defRPr lang="en-US" b="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C6DF15-C090-4A58-BDFC-B16B15580B56}" type="slidenum">
              <a:rPr/>
              <a:pPr>
                <a:defRPr/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Z:\GGL\22944_smartphone_country_report_dai\Source\JPG\DIVIDERS\RED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4"/>
          <p:cNvSpPr txBox="1">
            <a:spLocks noChangeArrowheads="1"/>
          </p:cNvSpPr>
          <p:nvPr userDrawn="1"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US" sz="800" dirty="0">
                <a:solidFill>
                  <a:srgbClr val="7D7D7D"/>
                </a:solidFill>
                <a:ea typeface="+mn-ea"/>
                <a:cs typeface="+mn-cs"/>
              </a:rPr>
              <a:t>Google Confidential and Proprietary</a:t>
            </a:r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65150" y="3954957"/>
            <a:ext cx="3493503" cy="677108"/>
          </a:xfrm>
          <a:ln algn="ctr"/>
        </p:spPr>
        <p:txBody>
          <a:bodyPr>
            <a:spAutoFit/>
          </a:bodyPr>
          <a:lstStyle>
            <a:lvl1pPr>
              <a:spcBef>
                <a:spcPct val="0"/>
              </a:spcBef>
              <a:def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65150" y="3039402"/>
            <a:ext cx="3493503" cy="86793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spAutoFit/>
          </a:bodyPr>
          <a:lstStyle>
            <a:lvl1pPr>
              <a:defRPr lang="en-US" b="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C1F1E1-7E56-4CFB-BF4B-B8629712831A}" type="slidenum">
              <a:rPr/>
              <a:pPr>
                <a:defRPr/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Z:\GGL\22944_smartphone_country_report_dai\Source\JPG\DIVIDERS\YELLOW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4"/>
          <p:cNvSpPr txBox="1">
            <a:spLocks noChangeArrowheads="1"/>
          </p:cNvSpPr>
          <p:nvPr userDrawn="1"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US" sz="800" dirty="0">
                <a:solidFill>
                  <a:srgbClr val="7D7D7D"/>
                </a:solidFill>
                <a:ea typeface="+mn-ea"/>
                <a:cs typeface="+mn-cs"/>
              </a:rPr>
              <a:t>Google Confidential and Proprietary</a:t>
            </a:r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65150" y="3954957"/>
            <a:ext cx="3493503" cy="677108"/>
          </a:xfrm>
          <a:ln algn="ctr"/>
        </p:spPr>
        <p:txBody>
          <a:bodyPr>
            <a:spAutoFit/>
          </a:bodyPr>
          <a:lstStyle>
            <a:lvl1pPr>
              <a:spcBef>
                <a:spcPct val="0"/>
              </a:spcBef>
              <a:def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65150" y="3039402"/>
            <a:ext cx="3493503" cy="86793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spAutoFit/>
          </a:bodyPr>
          <a:lstStyle>
            <a:lvl1pPr>
              <a:defRPr lang="en-US" b="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2115AB-59F4-4F56-B51C-C6375856D20B}" type="slidenum">
              <a:rPr/>
              <a:pPr>
                <a:defRPr/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vi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Z:\GGL\22944_smartphone_country_report_dai\Source\JPG\DIVIDERS\GREEN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4"/>
          <p:cNvSpPr txBox="1">
            <a:spLocks noChangeArrowheads="1"/>
          </p:cNvSpPr>
          <p:nvPr userDrawn="1"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US" sz="800" dirty="0">
                <a:solidFill>
                  <a:srgbClr val="7D7D7D"/>
                </a:solidFill>
                <a:ea typeface="+mn-ea"/>
                <a:cs typeface="+mn-cs"/>
              </a:rPr>
              <a:t>Google Confidential and Proprietary</a:t>
            </a:r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65150" y="3954957"/>
            <a:ext cx="3493503" cy="677108"/>
          </a:xfrm>
          <a:ln algn="ctr"/>
        </p:spPr>
        <p:txBody>
          <a:bodyPr>
            <a:spAutoFit/>
          </a:bodyPr>
          <a:lstStyle>
            <a:lvl1pPr>
              <a:spcBef>
                <a:spcPct val="0"/>
              </a:spcBef>
              <a:def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65150" y="3039402"/>
            <a:ext cx="3493503" cy="86793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spAutoFit/>
          </a:bodyPr>
          <a:lstStyle>
            <a:lvl1pPr>
              <a:defRPr lang="en-US" b="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D1E247-937D-4A93-83CB-A0BB345609C6}" type="slidenum">
              <a:rPr/>
              <a:pPr>
                <a:defRPr/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 marL="458788" indent="-227013">
              <a:defRPr/>
            </a:lvl3pPr>
            <a:lvl4pPr marL="684213" indent="-223838">
              <a:defRPr/>
            </a:lvl4pPr>
            <a:lvl5pPr marL="912813" indent="-227013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4977FC-F1FE-41E7-B0CE-C7B5EB18BD8B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Z:\GGL\22944_smartphone_country_report_dai\Source\PNG\dividerpeices.png"/>
          <p:cNvPicPr>
            <a:picLocks noChangeAspect="1" noChangeArrowheads="1"/>
          </p:cNvPicPr>
          <p:nvPr userDrawn="1"/>
        </p:nvPicPr>
        <p:blipFill>
          <a:blip r:embed="rId2" cstate="print"/>
          <a:srcRect l="41628"/>
          <a:stretch>
            <a:fillRect/>
          </a:stretch>
        </p:blipFill>
        <p:spPr bwMode="auto">
          <a:xfrm>
            <a:off x="0" y="2101850"/>
            <a:ext cx="9112250" cy="330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Z:\GGL\22944_smartphone_country_report_dai\Source\PSD\dividerRED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69975" y="660400"/>
            <a:ext cx="8074025" cy="6056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Z:\GGL\22944_smartphone_country_report_dai\Source\PNG\dividerpeices.png"/>
          <p:cNvPicPr>
            <a:picLocks noChangeAspect="1" noChangeArrowheads="1"/>
          </p:cNvPicPr>
          <p:nvPr userDrawn="1"/>
        </p:nvPicPr>
        <p:blipFill>
          <a:blip r:embed="rId2" cstate="print"/>
          <a:srcRect r="65874"/>
          <a:stretch>
            <a:fillRect/>
          </a:stretch>
        </p:blipFill>
        <p:spPr bwMode="auto">
          <a:xfrm>
            <a:off x="3816350" y="2576513"/>
            <a:ext cx="5327650" cy="330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65150" y="3954957"/>
            <a:ext cx="3493503" cy="618631"/>
          </a:xfrm>
          <a:ln algn="ctr"/>
        </p:spPr>
        <p:txBody>
          <a:bodyPr>
            <a:noAutofit/>
          </a:bodyPr>
          <a:lstStyle>
            <a:lvl1pPr>
              <a:spcBef>
                <a:spcPct val="0"/>
              </a:spcBef>
              <a:defRPr sz="1800" baseline="0">
                <a:solidFill>
                  <a:schemeClr val="bg2"/>
                </a:solidFill>
              </a:defRPr>
            </a:lvl1pPr>
          </a:lstStyle>
          <a:p>
            <a:r>
              <a:rPr lang="hu-HU" noProof="0" smtClean="0"/>
              <a:t>Click to edit Master subtitle style</a:t>
            </a:r>
            <a:endParaRPr lang="hu-HU" noProof="0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65150" y="3039402"/>
            <a:ext cx="3493503" cy="86793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hu-HU" noProof="0" smtClean="0"/>
              <a:t>Click to edit Master title style</a:t>
            </a:r>
            <a:endParaRPr lang="hu-HU" noProof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pPr>
              <a:defRPr/>
            </a:pPr>
            <a:fld id="{A54E6632-F7EE-4262-A5D5-B7A631F2BF60}" type="slidenum">
              <a:rPr lang="hu-HU" noProof="0" smtClean="0"/>
              <a:pPr>
                <a:defRPr/>
              </a:pPr>
              <a:t>‹#›</a:t>
            </a:fld>
            <a:endParaRPr lang="hu-HU" noProof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6"/>
          <p:cNvSpPr/>
          <p:nvPr/>
        </p:nvSpPr>
        <p:spPr bwMode="gray">
          <a:xfrm>
            <a:off x="533400" y="1295400"/>
            <a:ext cx="8077200" cy="5029200"/>
          </a:xfrm>
          <a:prstGeom prst="roundRect">
            <a:avLst>
              <a:gd name="adj" fmla="val 1951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/>
          <a:lstStyle/>
          <a:p>
            <a:pPr>
              <a:lnSpc>
                <a:spcPct val="90000"/>
              </a:lnSpc>
              <a:defRPr/>
            </a:pPr>
            <a:endParaRPr lang="en-US" dirty="0">
              <a:solidFill>
                <a:srgbClr val="3369E8"/>
              </a:solidFill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819400"/>
            <a:ext cx="7924800" cy="3352800"/>
          </a:xfrm>
        </p:spPr>
        <p:txBody>
          <a:bodyPr anchor="ctr">
            <a:noAutofit/>
          </a:bodyPr>
          <a:lstStyle>
            <a:lvl3pPr marL="458788" indent="-227013">
              <a:defRPr/>
            </a:lvl3pPr>
            <a:lvl4pPr marL="684213" indent="-223838">
              <a:defRPr/>
            </a:lvl4pPr>
            <a:lvl5pPr marL="912813" indent="-227013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095167-2513-49CA-B22B-73AA1CD9E9BF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BECEF0-45B7-4786-B525-C83BAC05BF0D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330325"/>
            <a:ext cx="9144000" cy="4979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1E79DE-AE59-4FEA-8ED9-86518C83590F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551EA7-20E4-4D03-AFE9-6690EB7AEBE4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19200"/>
            <a:ext cx="4038600" cy="5181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4038600" cy="51816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_Drop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10"/>
          <p:cNvSpPr/>
          <p:nvPr/>
        </p:nvSpPr>
        <p:spPr bwMode="gray">
          <a:xfrm>
            <a:off x="533400" y="1295400"/>
            <a:ext cx="3886200" cy="5029200"/>
          </a:xfrm>
          <a:prstGeom prst="roundRect">
            <a:avLst>
              <a:gd name="adj" fmla="val 21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/>
          <a:lstStyle/>
          <a:p>
            <a:pPr>
              <a:lnSpc>
                <a:spcPct val="90000"/>
              </a:lnSpc>
              <a:defRPr/>
            </a:pPr>
            <a:endParaRPr lang="en-US" dirty="0">
              <a:solidFill>
                <a:srgbClr val="3369E8"/>
              </a:solidFill>
              <a:ea typeface="+mn-ea"/>
              <a:cs typeface="+mn-cs"/>
            </a:endParaRPr>
          </a:p>
        </p:txBody>
      </p:sp>
      <p:sp>
        <p:nvSpPr>
          <p:cNvPr id="8" name="Rounded Rectangle 12"/>
          <p:cNvSpPr/>
          <p:nvPr/>
        </p:nvSpPr>
        <p:spPr bwMode="gray">
          <a:xfrm>
            <a:off x="4714875" y="1295400"/>
            <a:ext cx="3886200" cy="5029200"/>
          </a:xfrm>
          <a:prstGeom prst="roundRect">
            <a:avLst>
              <a:gd name="adj" fmla="val 211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/>
          <a:lstStyle/>
          <a:p>
            <a:pPr>
              <a:lnSpc>
                <a:spcPct val="90000"/>
              </a:lnSpc>
              <a:defRPr/>
            </a:pPr>
            <a:endParaRPr lang="en-US" dirty="0">
              <a:solidFill>
                <a:srgbClr val="3369E8"/>
              </a:solidFill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1950"/>
            <a:ext cx="8229600" cy="4754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1" dirty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447800"/>
            <a:ext cx="3581400" cy="63976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2174875"/>
            <a:ext cx="3581400" cy="399732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173038" indent="-171450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8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44488" indent="-173038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17525" indent="-169863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4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688975" indent="-171450" algn="l" rtl="0" eaLnBrk="1" fontAlgn="base" hangingPunct="1">
              <a:lnSpc>
                <a:spcPct val="95000"/>
              </a:lnSpc>
              <a:spcAft>
                <a:spcPct val="5000"/>
              </a:spcAft>
              <a:tabLst/>
              <a:defRPr lang="en-US" sz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73715" y="1447800"/>
            <a:ext cx="3582807" cy="63976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>
            <a:lvl1pPr marL="0" indent="0">
              <a:buNone/>
              <a:defRPr lang="en-US" sz="20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3715" y="2174875"/>
            <a:ext cx="3582807" cy="399732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8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4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3581C-5465-4F42-8589-68F4338BA4E9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1950"/>
            <a:ext cx="8229600" cy="4754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1" dirty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95400"/>
            <a:ext cx="3964016" cy="63976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022474"/>
            <a:ext cx="3964016" cy="430212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173038" indent="-171450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8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344488" indent="-173038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517525" indent="-169863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4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688975" indent="-171450" algn="l" rtl="0" eaLnBrk="1" fontAlgn="base" hangingPunct="1">
              <a:lnSpc>
                <a:spcPct val="95000"/>
              </a:lnSpc>
              <a:spcAft>
                <a:spcPct val="5000"/>
              </a:spcAft>
              <a:tabLst/>
              <a:defRPr lang="en-US" sz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21226" y="1295400"/>
            <a:ext cx="3965574" cy="63976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>
            <a:lvl1pPr marL="0" indent="0">
              <a:buNone/>
              <a:defRPr lang="en-US" sz="2000" b="1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21226" y="2022474"/>
            <a:ext cx="3965574" cy="430212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0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8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4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328EA1-1297-4457-A76D-1B5C04D0CF08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1950"/>
            <a:ext cx="8229600" cy="47548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1" dirty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4419600"/>
            <a:ext cx="8229600" cy="63976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800" b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76401"/>
            <a:ext cx="8229600" cy="254952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 marL="112713" indent="-112713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2400" dirty="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1pPr>
            <a:lvl2pPr marL="173038" indent="-171450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4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44488" indent="-173038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4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17525" indent="-169863" algn="l" rtl="0" eaLnBrk="1" fontAlgn="base" hangingPunct="1">
              <a:lnSpc>
                <a:spcPct val="95000"/>
              </a:lnSpc>
              <a:spcAft>
                <a:spcPct val="5000"/>
              </a:spcAft>
              <a:defRPr lang="en-US" sz="24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688975" indent="-171450" algn="l" rtl="0" eaLnBrk="1" fontAlgn="base" hangingPunct="1">
              <a:lnSpc>
                <a:spcPct val="95000"/>
              </a:lnSpc>
              <a:spcAft>
                <a:spcPct val="5000"/>
              </a:spcAft>
              <a:tabLst/>
              <a:defRPr lang="en-US" sz="24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60D298-E720-4780-A948-208E3F212D74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7D7D7D"/>
                </a:solidFill>
              </a:defRPr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A60043-D1B3-4F10-9168-3EC12ED52530}" type="slidenum">
              <a:rPr/>
              <a:pPr>
                <a:defRPr/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Z:\GGL\22944_smartphone_country_report_dai\Source\PNG\dividerpeices.png"/>
          <p:cNvPicPr>
            <a:picLocks noChangeAspect="1" noChangeArrowheads="1"/>
          </p:cNvPicPr>
          <p:nvPr userDrawn="1"/>
        </p:nvPicPr>
        <p:blipFill>
          <a:blip r:embed="rId2" cstate="print"/>
          <a:srcRect l="41628"/>
          <a:stretch>
            <a:fillRect/>
          </a:stretch>
        </p:blipFill>
        <p:spPr bwMode="auto">
          <a:xfrm>
            <a:off x="0" y="2101850"/>
            <a:ext cx="9112250" cy="330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 descr="Z:\GGL\22944_smartphone_country_report_dai\Source\PNG\divider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1563" y="657225"/>
            <a:ext cx="8072437" cy="605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Z:\GGL\22944_smartphone_country_report_dai\Source\PNG\dividerpeices.png"/>
          <p:cNvPicPr>
            <a:picLocks noChangeAspect="1" noChangeArrowheads="1"/>
          </p:cNvPicPr>
          <p:nvPr userDrawn="1"/>
        </p:nvPicPr>
        <p:blipFill>
          <a:blip r:embed="rId2" cstate="print"/>
          <a:srcRect r="65874"/>
          <a:stretch>
            <a:fillRect/>
          </a:stretch>
        </p:blipFill>
        <p:spPr bwMode="auto">
          <a:xfrm>
            <a:off x="3816350" y="2576513"/>
            <a:ext cx="5327650" cy="330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65150" y="3954957"/>
            <a:ext cx="3493503" cy="618631"/>
          </a:xfrm>
          <a:ln algn="ctr"/>
        </p:spPr>
        <p:txBody>
          <a:bodyPr>
            <a:noAutofit/>
          </a:bodyPr>
          <a:lstStyle>
            <a:lvl1pPr>
              <a:spcBef>
                <a:spcPct val="0"/>
              </a:spcBef>
              <a:defRPr sz="1800">
                <a:solidFill>
                  <a:schemeClr val="bg2"/>
                </a:solidFill>
              </a:defRPr>
            </a:lvl1pPr>
          </a:lstStyle>
          <a:p>
            <a:r>
              <a:rPr lang="hu-HU" noProof="0" smtClean="0"/>
              <a:t>Click to edit Master subtitle style</a:t>
            </a:r>
            <a:endParaRPr lang="hu-HU" noProof="0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65150" y="3039402"/>
            <a:ext cx="3493503" cy="86793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>
              <a:defRPr lang="en-US" b="0" dirty="0"/>
            </a:lvl1pPr>
          </a:lstStyle>
          <a:p>
            <a:pPr lvl="0"/>
            <a:r>
              <a:rPr lang="hu-HU" noProof="0" smtClean="0"/>
              <a:t>Click to edit Master title style</a:t>
            </a:r>
            <a:endParaRPr lang="hu-HU" noProof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pPr>
              <a:defRPr/>
            </a:pPr>
            <a:fld id="{F2604006-36AF-46D3-9A26-B8F4FCF6CDFA}" type="slidenum">
              <a:rPr lang="hu-HU" noProof="0" smtClean="0"/>
              <a:pPr>
                <a:defRPr/>
              </a:pPr>
              <a:t>‹#›</a:t>
            </a:fld>
            <a:endParaRPr lang="hu-HU" noProof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Z:\GGL\22944_smartphone_country_report_dai\Source\PNG\dividerpeices.png"/>
          <p:cNvPicPr>
            <a:picLocks noChangeAspect="1" noChangeArrowheads="1"/>
          </p:cNvPicPr>
          <p:nvPr userDrawn="1"/>
        </p:nvPicPr>
        <p:blipFill>
          <a:blip r:embed="rId2" cstate="print"/>
          <a:srcRect l="41628"/>
          <a:stretch>
            <a:fillRect/>
          </a:stretch>
        </p:blipFill>
        <p:spPr bwMode="auto">
          <a:xfrm>
            <a:off x="0" y="2101850"/>
            <a:ext cx="9112250" cy="330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 descr="Z:\GGL\22944_smartphone_country_report_dai\Source\PSD\dividerGREEN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69975" y="639763"/>
            <a:ext cx="8074025" cy="6056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Z:\GGL\22944_smartphone_country_report_dai\Source\PNG\dividerpeices.png"/>
          <p:cNvPicPr>
            <a:picLocks noChangeAspect="1" noChangeArrowheads="1"/>
          </p:cNvPicPr>
          <p:nvPr userDrawn="1"/>
        </p:nvPicPr>
        <p:blipFill>
          <a:blip r:embed="rId2" cstate="print"/>
          <a:srcRect r="65874"/>
          <a:stretch>
            <a:fillRect/>
          </a:stretch>
        </p:blipFill>
        <p:spPr bwMode="auto">
          <a:xfrm>
            <a:off x="3816350" y="2576513"/>
            <a:ext cx="5327650" cy="330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8628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65150" y="3954957"/>
            <a:ext cx="3493503" cy="618631"/>
          </a:xfrm>
          <a:ln algn="ctr"/>
        </p:spPr>
        <p:txBody>
          <a:bodyPr>
            <a:noAutofit/>
          </a:bodyPr>
          <a:lstStyle>
            <a:lvl1pPr>
              <a:spcBef>
                <a:spcPct val="0"/>
              </a:spcBef>
              <a:defRPr sz="1800">
                <a:solidFill>
                  <a:schemeClr val="bg2"/>
                </a:solidFill>
              </a:defRPr>
            </a:lvl1pPr>
          </a:lstStyle>
          <a:p>
            <a:r>
              <a:rPr lang="hu-HU" noProof="0" smtClean="0"/>
              <a:t>Click to edit Master subtitle style</a:t>
            </a:r>
            <a:endParaRPr lang="hu-HU" noProof="0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565150" y="3039402"/>
            <a:ext cx="3493503" cy="86793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>
              <a:defRPr lang="en-US" b="0" dirty="0"/>
            </a:lvl1pPr>
          </a:lstStyle>
          <a:p>
            <a:pPr lvl="0"/>
            <a:r>
              <a:rPr lang="hu-HU" noProof="0" smtClean="0"/>
              <a:t>Click to edit Master title style</a:t>
            </a:r>
            <a:endParaRPr lang="hu-HU" noProof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pPr>
              <a:defRPr/>
            </a:pPr>
            <a:fld id="{C61D8B40-CDE6-46C0-92B9-35A8AC259795}" type="slidenum">
              <a:rPr lang="hu-HU" noProof="0" smtClean="0"/>
              <a:pPr>
                <a:defRPr/>
              </a:pPr>
              <a:t>‹#›</a:t>
            </a:fld>
            <a:endParaRPr lang="hu-HU" noProof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baseline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hu-HU" noProof="0" smtClean="0"/>
              <a:t>Click to edit Master title style</a:t>
            </a:r>
            <a:endParaRPr lang="hu-HU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 baseline="0">
                <a:ea typeface="Arial Unicode MS" pitchFamily="34" charset="-128"/>
                <a:cs typeface="Arial Unicode MS" pitchFamily="34" charset="-128"/>
              </a:defRPr>
            </a:lvl1pPr>
            <a:lvl2pPr>
              <a:defRPr baseline="0">
                <a:ea typeface="Arial Unicode MS" pitchFamily="34" charset="-128"/>
                <a:cs typeface="Arial Unicode MS" pitchFamily="34" charset="-128"/>
              </a:defRPr>
            </a:lvl2pPr>
            <a:lvl3pPr marL="458788" indent="-227013">
              <a:defRPr baseline="0">
                <a:ea typeface="Arial Unicode MS" pitchFamily="34" charset="-128"/>
                <a:cs typeface="Arial Unicode MS" pitchFamily="34" charset="-128"/>
              </a:defRPr>
            </a:lvl3pPr>
            <a:lvl4pPr marL="684213" indent="-223838">
              <a:defRPr baseline="0">
                <a:ea typeface="Arial Unicode MS" pitchFamily="34" charset="-128"/>
                <a:cs typeface="Arial Unicode MS" pitchFamily="34" charset="-128"/>
              </a:defRPr>
            </a:lvl4pPr>
            <a:lvl5pPr marL="912813" indent="-227013">
              <a:defRPr baseline="0">
                <a:ea typeface="Arial Unicode MS" pitchFamily="34" charset="-128"/>
                <a:cs typeface="Arial Unicode MS" pitchFamily="34" charset="-128"/>
              </a:defRPr>
            </a:lvl5pPr>
          </a:lstStyle>
          <a:p>
            <a:pPr lvl="0"/>
            <a:r>
              <a:rPr lang="hu-HU" noProof="0" smtClean="0"/>
              <a:t>Click to edit Master text styles</a:t>
            </a:r>
          </a:p>
          <a:p>
            <a:pPr lvl="1"/>
            <a:r>
              <a:rPr lang="hu-HU" noProof="0" smtClean="0"/>
              <a:t>Second level</a:t>
            </a:r>
          </a:p>
          <a:p>
            <a:pPr lvl="2"/>
            <a:r>
              <a:rPr lang="hu-HU" noProof="0" smtClean="0"/>
              <a:t>Third level</a:t>
            </a:r>
          </a:p>
          <a:p>
            <a:pPr lvl="3"/>
            <a:r>
              <a:rPr lang="hu-HU" noProof="0" smtClean="0"/>
              <a:t>Fourth level</a:t>
            </a:r>
          </a:p>
          <a:p>
            <a:pPr lvl="4"/>
            <a:r>
              <a:rPr lang="hu-HU" noProof="0" smtClean="0"/>
              <a:t>Fifth level</a:t>
            </a:r>
            <a:endParaRPr lang="hu-HU" noProof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>
            <a:noAutofit/>
          </a:bodyPr>
          <a:lstStyle>
            <a:lvl1pPr>
              <a:defRPr baseline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fld id="{3B2E8EA7-EBBB-41B3-BC02-A9C094EEAA19}" type="slidenum">
              <a:rPr lang="hu-HU" noProof="0" smtClean="0"/>
              <a:pPr>
                <a:defRPr/>
              </a:pPr>
              <a:t>‹#›</a:t>
            </a:fld>
            <a:endParaRPr lang="hu-HU" noProof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>
            <a:lvl1pPr>
              <a:defRPr baseline="0"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hu-HU" noProof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6"/>
          <p:cNvSpPr/>
          <p:nvPr/>
        </p:nvSpPr>
        <p:spPr bwMode="gray">
          <a:xfrm>
            <a:off x="533400" y="1295400"/>
            <a:ext cx="8077200" cy="5029200"/>
          </a:xfrm>
          <a:prstGeom prst="roundRect">
            <a:avLst>
              <a:gd name="adj" fmla="val 1951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12700" dir="2700000" algn="tl" rotWithShape="0">
              <a:prstClr val="black">
                <a:alpha val="40000"/>
              </a:prstClr>
            </a:outerShdw>
          </a:effectLst>
        </p:spPr>
        <p:txBody>
          <a:bodyPr wrap="none"/>
          <a:lstStyle/>
          <a:p>
            <a:pPr>
              <a:lnSpc>
                <a:spcPct val="90000"/>
              </a:lnSpc>
              <a:defRPr/>
            </a:pPr>
            <a:endParaRPr lang="en-US" dirty="0">
              <a:solidFill>
                <a:schemeClr val="accent1"/>
              </a:solidFill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819400"/>
            <a:ext cx="7924800" cy="3352800"/>
          </a:xfrm>
        </p:spPr>
        <p:txBody>
          <a:bodyPr anchor="ctr">
            <a:noAutofit/>
          </a:bodyPr>
          <a:lstStyle>
            <a:lvl3pPr marL="458788" indent="-227013">
              <a:defRPr/>
            </a:lvl3pPr>
            <a:lvl4pPr marL="684213" indent="-223838">
              <a:defRPr/>
            </a:lvl4pPr>
            <a:lvl5pPr marL="912813" indent="-227013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F33D86-BDAC-4282-9160-C5E8CB48A54A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hu-HU" noProof="0" smtClean="0"/>
              <a:t>Click to edit Master title style</a:t>
            </a:r>
            <a:endParaRPr lang="hu-HU" noProof="0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aseline="0"/>
            </a:lvl1pPr>
          </a:lstStyle>
          <a:p>
            <a:pPr>
              <a:defRPr/>
            </a:pPr>
            <a:fld id="{1CD7A587-6FE1-449C-A750-C4B1E415E574}" type="slidenum">
              <a:rPr lang="hu-HU" noProof="0" smtClean="0"/>
              <a:pPr>
                <a:defRPr/>
              </a:pPr>
              <a:t>‹#›</a:t>
            </a:fld>
            <a:endParaRPr lang="hu-HU" noProof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aseline="0"/>
            </a:lvl1pPr>
          </a:lstStyle>
          <a:p>
            <a:pPr>
              <a:defRPr/>
            </a:pPr>
            <a:endParaRPr lang="hu-HU" noProof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32.xml"/><Relationship Id="rId17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9.xml"/><Relationship Id="rId4" Type="http://schemas.openxmlformats.org/officeDocument/2006/relationships/slideLayout" Target="../slideLayouts/slideLayout20.xml"/><Relationship Id="rId5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3.xml"/><Relationship Id="rId8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48.xml"/><Relationship Id="rId17" Type="http://schemas.openxmlformats.org/officeDocument/2006/relationships/theme" Target="../theme/theme3.xml"/><Relationship Id="rId1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4.xml"/><Relationship Id="rId3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7.xml"/><Relationship Id="rId6" Type="http://schemas.openxmlformats.org/officeDocument/2006/relationships/slideLayout" Target="../slideLayouts/slideLayout38.xml"/><Relationship Id="rId7" Type="http://schemas.openxmlformats.org/officeDocument/2006/relationships/slideLayout" Target="../slideLayouts/slideLayout39.xml"/><Relationship Id="rId8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92188"/>
            <a:ext cx="82296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hu-HU" noProof="0" smtClean="0"/>
              <a:t>A mester szövegstílusok szerkesztéséhez kattintson ide</a:t>
            </a:r>
          </a:p>
          <a:p>
            <a:pPr lvl="1"/>
            <a:r>
              <a:rPr lang="hu-HU" noProof="0" smtClean="0"/>
              <a:t>Második szint</a:t>
            </a:r>
          </a:p>
          <a:p>
            <a:pPr lvl="2"/>
            <a:r>
              <a:rPr lang="hu-HU" noProof="0" smtClean="0"/>
              <a:t>Harmadik szint</a:t>
            </a:r>
          </a:p>
          <a:p>
            <a:pPr lvl="3"/>
            <a:r>
              <a:rPr lang="hu-HU" noProof="0" smtClean="0"/>
              <a:t>Negyedik szint</a:t>
            </a:r>
          </a:p>
          <a:p>
            <a:pPr lvl="4"/>
            <a:r>
              <a:rPr lang="hu-HU" noProof="0" smtClean="0"/>
              <a:t>Ötödik szint</a:t>
            </a:r>
          </a:p>
        </p:txBody>
      </p:sp>
      <p:sp>
        <p:nvSpPr>
          <p:cNvPr id="9728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61950"/>
            <a:ext cx="8229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hu-HU" noProof="0" smtClean="0"/>
              <a:t>A mester szövegstílus szerkesztéséhez kattintson id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57200" y="6400800"/>
            <a:ext cx="6096000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baseline="0" dirty="0">
                <a:solidFill>
                  <a:schemeClr val="bg2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hu-HU" noProof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6800" y="6400800"/>
            <a:ext cx="457200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baseline="0" smtClean="0">
                <a:solidFill>
                  <a:schemeClr val="bg2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fld id="{C2FD23D1-29BD-45A7-A90A-67F5C5309FD1}" type="slidenum">
              <a:rPr lang="hu-HU" noProof="0" smtClean="0"/>
              <a:pPr>
                <a:defRPr/>
              </a:pPr>
              <a:t>‹#›</a:t>
            </a:fld>
            <a:endParaRPr lang="hu-HU" noProof="0"/>
          </a:p>
        </p:txBody>
      </p:sp>
      <p:sp>
        <p:nvSpPr>
          <p:cNvPr id="7" name="Text Box 54"/>
          <p:cNvSpPr txBox="1">
            <a:spLocks noChangeArrowheads="1"/>
          </p:cNvSpPr>
          <p:nvPr userDrawn="1"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no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hu-HU" sz="800" baseline="0" noProof="0" dirty="0" smtClean="0">
                <a:solidFill>
                  <a:srgbClr val="7D7D7D"/>
                </a:solidFill>
                <a:ea typeface="Arial Unicode MS" pitchFamily="34" charset="-128"/>
                <a:cs typeface="Arial Unicode MS" pitchFamily="34" charset="-128"/>
              </a:rPr>
              <a:t>A Google bizalmas és saját tulajdonú információi</a:t>
            </a:r>
            <a:endParaRPr lang="hu-HU" sz="800" baseline="0" noProof="0" dirty="0">
              <a:solidFill>
                <a:srgbClr val="7D7D7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 baseline="0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ヒラギノ角ゴ ProN W3"/>
          <a:cs typeface="ヒラギノ角ゴ ProN W3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ヒラギノ角ゴ ProN W3"/>
          <a:cs typeface="ヒラギノ角ゴ ProN W3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ヒラギノ角ゴ ProN W3"/>
          <a:cs typeface="ヒラギノ角ゴ ProN W3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ヒラギノ角ゴ ProN W3"/>
          <a:cs typeface="ヒラギノ角ゴ ProN W3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fontAlgn="base">
        <a:lnSpc>
          <a:spcPct val="95000"/>
        </a:lnSpc>
        <a:spcBef>
          <a:spcPct val="100000"/>
        </a:spcBef>
        <a:spcAft>
          <a:spcPct val="5000"/>
        </a:spcAft>
        <a:defRPr sz="22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1pPr>
      <a:lvl2pPr marL="230188" indent="-228600" algn="l" rtl="0" fontAlgn="base">
        <a:lnSpc>
          <a:spcPct val="95000"/>
        </a:lnSpc>
        <a:spcBef>
          <a:spcPct val="45000"/>
        </a:spcBef>
        <a:spcAft>
          <a:spcPct val="5000"/>
        </a:spcAft>
        <a:buChar char="•"/>
        <a:defRPr sz="20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2pPr>
      <a:lvl3pPr marL="458788" indent="-227013" algn="l" rtl="0" fontAlgn="base">
        <a:lnSpc>
          <a:spcPct val="95000"/>
        </a:lnSpc>
        <a:spcBef>
          <a:spcPct val="45000"/>
        </a:spcBef>
        <a:spcAft>
          <a:spcPct val="5000"/>
        </a:spcAft>
        <a:buFont typeface="Arial" pitchFamily="34" charset="0"/>
        <a:buChar char="–"/>
        <a:defRPr baseline="0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3pPr>
      <a:lvl4pPr marL="684213" indent="-223838" algn="l" rtl="0" fontAlgn="base">
        <a:lnSpc>
          <a:spcPct val="95000"/>
        </a:lnSpc>
        <a:spcBef>
          <a:spcPct val="45000"/>
        </a:spcBef>
        <a:spcAft>
          <a:spcPct val="5000"/>
        </a:spcAft>
        <a:buChar char="•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4pPr>
      <a:lvl5pPr marL="912813" indent="-227013" algn="l" rtl="0" fontAlgn="base">
        <a:lnSpc>
          <a:spcPct val="95000"/>
        </a:lnSpc>
        <a:spcBef>
          <a:spcPct val="45000"/>
        </a:spcBef>
        <a:spcAft>
          <a:spcPct val="5000"/>
        </a:spcAft>
        <a:buFont typeface="Arial" pitchFamily="34" charset="0"/>
        <a:buChar char="–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5pPr>
      <a:lvl6pPr marL="1370013" indent="-227013" algn="l" rtl="0" eaLnBrk="1" fontAlgn="base" hangingPunct="1">
        <a:lnSpc>
          <a:spcPct val="95000"/>
        </a:lnSpc>
        <a:spcBef>
          <a:spcPct val="45000"/>
        </a:spcBef>
        <a:spcAft>
          <a:spcPct val="5000"/>
        </a:spcAft>
        <a:buFont typeface="Arial" charset="0"/>
        <a:buChar char="–"/>
        <a:defRPr sz="1600">
          <a:solidFill>
            <a:schemeClr val="tx1"/>
          </a:solidFill>
          <a:latin typeface="+mn-lt"/>
        </a:defRPr>
      </a:lvl6pPr>
      <a:lvl7pPr marL="1827213" indent="-227013" algn="l" rtl="0" eaLnBrk="1" fontAlgn="base" hangingPunct="1">
        <a:lnSpc>
          <a:spcPct val="95000"/>
        </a:lnSpc>
        <a:spcBef>
          <a:spcPct val="45000"/>
        </a:spcBef>
        <a:spcAft>
          <a:spcPct val="5000"/>
        </a:spcAft>
        <a:buFont typeface="Arial" charset="0"/>
        <a:buChar char="–"/>
        <a:defRPr sz="1600">
          <a:solidFill>
            <a:schemeClr val="tx1"/>
          </a:solidFill>
          <a:latin typeface="+mn-lt"/>
        </a:defRPr>
      </a:lvl7pPr>
      <a:lvl8pPr marL="2284413" indent="-227013" algn="l" rtl="0" eaLnBrk="1" fontAlgn="base" hangingPunct="1">
        <a:lnSpc>
          <a:spcPct val="95000"/>
        </a:lnSpc>
        <a:spcBef>
          <a:spcPct val="45000"/>
        </a:spcBef>
        <a:spcAft>
          <a:spcPct val="5000"/>
        </a:spcAft>
        <a:buFont typeface="Arial" charset="0"/>
        <a:buChar char="–"/>
        <a:defRPr sz="1600">
          <a:solidFill>
            <a:schemeClr val="tx1"/>
          </a:solidFill>
          <a:latin typeface="+mn-lt"/>
        </a:defRPr>
      </a:lvl8pPr>
      <a:lvl9pPr marL="2741613" indent="-227013" algn="l" rtl="0" eaLnBrk="1" fontAlgn="base" hangingPunct="1">
        <a:lnSpc>
          <a:spcPct val="95000"/>
        </a:lnSpc>
        <a:spcBef>
          <a:spcPct val="45000"/>
        </a:spcBef>
        <a:spcAft>
          <a:spcPct val="5000"/>
        </a:spcAft>
        <a:buFont typeface="Arial" charset="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92188"/>
            <a:ext cx="82296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hu-HU" noProof="0" smtClean="0"/>
              <a:t>A mester szövegstílus szerkesztéséhez kattintson ide</a:t>
            </a:r>
          </a:p>
          <a:p>
            <a:pPr lvl="1"/>
            <a:r>
              <a:rPr lang="hu-HU" noProof="0" smtClean="0"/>
              <a:t>Második szint</a:t>
            </a:r>
          </a:p>
          <a:p>
            <a:pPr lvl="2"/>
            <a:r>
              <a:rPr lang="hu-HU" noProof="0" smtClean="0"/>
              <a:t>Harmadik szint</a:t>
            </a:r>
          </a:p>
          <a:p>
            <a:pPr lvl="3"/>
            <a:r>
              <a:rPr lang="hu-HU" noProof="0" smtClean="0"/>
              <a:t>Negyedik szint</a:t>
            </a:r>
          </a:p>
          <a:p>
            <a:pPr lvl="4"/>
            <a:r>
              <a:rPr lang="hu-HU" noProof="0" smtClean="0"/>
              <a:t>Ötödik szint</a:t>
            </a:r>
          </a:p>
        </p:txBody>
      </p:sp>
      <p:sp>
        <p:nvSpPr>
          <p:cNvPr id="18435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61950"/>
            <a:ext cx="8229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hu-HU" noProof="0" smtClean="0"/>
              <a:t>A mester szövegstílus szerkesztéséhez kattintson id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57200" y="6400800"/>
            <a:ext cx="6096000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baseline="0" dirty="0">
                <a:solidFill>
                  <a:schemeClr val="bg2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hu-HU" noProof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6800" y="6400800"/>
            <a:ext cx="457200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baseline="0" smtClean="0">
                <a:solidFill>
                  <a:srgbClr val="7D7D7D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fld id="{7F2DDE3A-2E5C-451A-A688-EDC5E2636FB1}" type="slidenum">
              <a:rPr lang="hu-HU" noProof="0" smtClean="0"/>
              <a:pPr>
                <a:defRPr/>
              </a:pPr>
              <a:t>‹#›</a:t>
            </a:fld>
            <a:endParaRPr lang="hu-HU" noProof="0"/>
          </a:p>
        </p:txBody>
      </p:sp>
      <p:sp>
        <p:nvSpPr>
          <p:cNvPr id="7" name="Text Box 54"/>
          <p:cNvSpPr txBox="1">
            <a:spLocks noChangeArrowheads="1"/>
          </p:cNvSpPr>
          <p:nvPr userDrawn="1"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no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hu-HU" sz="800" baseline="0" noProof="0" smtClean="0">
                <a:solidFill>
                  <a:srgbClr val="7D7D7D"/>
                </a:solidFill>
                <a:ea typeface="Arial Unicode MS" pitchFamily="34" charset="-128"/>
                <a:cs typeface="Arial Unicode MS" pitchFamily="34" charset="-128"/>
              </a:rPr>
              <a:t>A Google bizalmas és saját tulajdonú információi</a:t>
            </a:r>
            <a:endParaRPr lang="hu-HU" sz="800" baseline="0" noProof="0">
              <a:solidFill>
                <a:srgbClr val="7D7D7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28" r:id="rId14"/>
    <p:sldLayoutId id="2147483829" r:id="rId15"/>
    <p:sldLayoutId id="2147483830" r:id="rId16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 baseline="0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ヒラギノ角ゴ ProN W3"/>
          <a:cs typeface="ヒラギノ角ゴ ProN W3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ヒラギノ角ゴ ProN W3"/>
          <a:cs typeface="ヒラギノ角ゴ ProN W3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ヒラギノ角ゴ ProN W3"/>
          <a:cs typeface="ヒラギノ角ゴ ProN W3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ヒラギノ角ゴ ProN W3"/>
          <a:cs typeface="ヒラギノ角ゴ ProN W3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fontAlgn="base">
        <a:lnSpc>
          <a:spcPct val="95000"/>
        </a:lnSpc>
        <a:spcBef>
          <a:spcPct val="100000"/>
        </a:spcBef>
        <a:spcAft>
          <a:spcPct val="5000"/>
        </a:spcAft>
        <a:defRPr sz="22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1pPr>
      <a:lvl2pPr marL="230188" indent="-228600" algn="l" rtl="0" fontAlgn="base">
        <a:lnSpc>
          <a:spcPct val="95000"/>
        </a:lnSpc>
        <a:spcBef>
          <a:spcPct val="45000"/>
        </a:spcBef>
        <a:spcAft>
          <a:spcPct val="5000"/>
        </a:spcAft>
        <a:buChar char="•"/>
        <a:defRPr sz="20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2pPr>
      <a:lvl3pPr marL="458788" indent="-227013" algn="l" rtl="0" fontAlgn="base">
        <a:lnSpc>
          <a:spcPct val="95000"/>
        </a:lnSpc>
        <a:spcBef>
          <a:spcPct val="45000"/>
        </a:spcBef>
        <a:spcAft>
          <a:spcPct val="5000"/>
        </a:spcAft>
        <a:buFont typeface="Arial" pitchFamily="34" charset="0"/>
        <a:buChar char="–"/>
        <a:defRPr baseline="0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3pPr>
      <a:lvl4pPr marL="684213" indent="-223838" algn="l" rtl="0" fontAlgn="base">
        <a:lnSpc>
          <a:spcPct val="95000"/>
        </a:lnSpc>
        <a:spcBef>
          <a:spcPct val="45000"/>
        </a:spcBef>
        <a:spcAft>
          <a:spcPct val="5000"/>
        </a:spcAft>
        <a:buChar char="•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4pPr>
      <a:lvl5pPr marL="912813" indent="-227013" algn="l" rtl="0" fontAlgn="base">
        <a:lnSpc>
          <a:spcPct val="95000"/>
        </a:lnSpc>
        <a:spcBef>
          <a:spcPct val="45000"/>
        </a:spcBef>
        <a:spcAft>
          <a:spcPct val="5000"/>
        </a:spcAft>
        <a:buFont typeface="Arial" pitchFamily="34" charset="0"/>
        <a:buChar char="–"/>
        <a:defRPr sz="1600" baseline="0">
          <a:solidFill>
            <a:schemeClr val="tx1"/>
          </a:solidFill>
          <a:latin typeface="Arial" pitchFamily="34" charset="0"/>
          <a:ea typeface="Arial Unicode MS" pitchFamily="34" charset="-128"/>
          <a:cs typeface="Arial Unicode MS" pitchFamily="34" charset="-128"/>
        </a:defRPr>
      </a:lvl5pPr>
      <a:lvl6pPr marL="1370013" indent="-227013" algn="l" rtl="0" eaLnBrk="1" fontAlgn="base" hangingPunct="1">
        <a:lnSpc>
          <a:spcPct val="95000"/>
        </a:lnSpc>
        <a:spcBef>
          <a:spcPct val="45000"/>
        </a:spcBef>
        <a:spcAft>
          <a:spcPct val="5000"/>
        </a:spcAft>
        <a:buFont typeface="Arial" charset="0"/>
        <a:buChar char="–"/>
        <a:defRPr sz="1600">
          <a:solidFill>
            <a:schemeClr val="tx1"/>
          </a:solidFill>
          <a:latin typeface="+mn-lt"/>
        </a:defRPr>
      </a:lvl6pPr>
      <a:lvl7pPr marL="1827213" indent="-227013" algn="l" rtl="0" eaLnBrk="1" fontAlgn="base" hangingPunct="1">
        <a:lnSpc>
          <a:spcPct val="95000"/>
        </a:lnSpc>
        <a:spcBef>
          <a:spcPct val="45000"/>
        </a:spcBef>
        <a:spcAft>
          <a:spcPct val="5000"/>
        </a:spcAft>
        <a:buFont typeface="Arial" charset="0"/>
        <a:buChar char="–"/>
        <a:defRPr sz="1600">
          <a:solidFill>
            <a:schemeClr val="tx1"/>
          </a:solidFill>
          <a:latin typeface="+mn-lt"/>
        </a:defRPr>
      </a:lvl7pPr>
      <a:lvl8pPr marL="2284413" indent="-227013" algn="l" rtl="0" eaLnBrk="1" fontAlgn="base" hangingPunct="1">
        <a:lnSpc>
          <a:spcPct val="95000"/>
        </a:lnSpc>
        <a:spcBef>
          <a:spcPct val="45000"/>
        </a:spcBef>
        <a:spcAft>
          <a:spcPct val="5000"/>
        </a:spcAft>
        <a:buFont typeface="Arial" charset="0"/>
        <a:buChar char="–"/>
        <a:defRPr sz="1600">
          <a:solidFill>
            <a:schemeClr val="tx1"/>
          </a:solidFill>
          <a:latin typeface="+mn-lt"/>
        </a:defRPr>
      </a:lvl8pPr>
      <a:lvl9pPr marL="2741613" indent="-227013" algn="l" rtl="0" eaLnBrk="1" fontAlgn="base" hangingPunct="1">
        <a:lnSpc>
          <a:spcPct val="95000"/>
        </a:lnSpc>
        <a:spcBef>
          <a:spcPct val="45000"/>
        </a:spcBef>
        <a:spcAft>
          <a:spcPct val="5000"/>
        </a:spcAft>
        <a:buFont typeface="Arial" charset="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92188"/>
            <a:ext cx="82296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 mester szövegstílus szerkesztéséhez kattintson ide</a:t>
            </a:r>
          </a:p>
          <a:p>
            <a:pPr lvl="1"/>
            <a:r>
              <a:rPr lang="en-US" smtClean="0"/>
              <a:t>Második szint</a:t>
            </a:r>
          </a:p>
          <a:p>
            <a:pPr lvl="2"/>
            <a:r>
              <a:rPr lang="en-US" smtClean="0"/>
              <a:t>Harmadik szint</a:t>
            </a:r>
          </a:p>
          <a:p>
            <a:pPr lvl="3"/>
            <a:r>
              <a:rPr lang="en-US" smtClean="0"/>
              <a:t>Negyedik szint</a:t>
            </a:r>
          </a:p>
          <a:p>
            <a:pPr lvl="4"/>
            <a:r>
              <a:rPr lang="en-US" smtClean="0"/>
              <a:t>Ötödik szint</a:t>
            </a:r>
          </a:p>
        </p:txBody>
      </p:sp>
      <p:sp>
        <p:nvSpPr>
          <p:cNvPr id="3584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61950"/>
            <a:ext cx="8229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 mester szövegstílus szerkesztéséhez kattintson id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57200" y="6400800"/>
            <a:ext cx="6096000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dirty="0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ar-EG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86800" y="6400800"/>
            <a:ext cx="457200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rgbClr val="7D7D7D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BC03A2E7-6258-4840-9F1D-409DA943650B}" type="slidenum">
              <a:rPr lang="ar-EG"/>
              <a:pPr>
                <a:defRPr/>
              </a:pPr>
              <a:t>‹#›</a:t>
            </a:fld>
            <a:endParaRPr lang="ar-EG" dirty="0"/>
          </a:p>
        </p:txBody>
      </p:sp>
      <p:sp>
        <p:nvSpPr>
          <p:cNvPr id="7" name="Text Box 54"/>
          <p:cNvSpPr txBox="1">
            <a:spLocks noChangeArrowheads="1"/>
          </p:cNvSpPr>
          <p:nvPr userDrawn="1"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en-GB" sz="800">
                <a:solidFill>
                  <a:srgbClr val="7D7D7D"/>
                </a:solidFill>
                <a:cs typeface="ヒラギノ角ゴ ProN W3"/>
              </a:rPr>
              <a:t>A Google bizalmas és saját tulajdonú információi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45" r:id="rId15"/>
    <p:sldLayoutId id="2147483846" r:id="rId16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ヒラギノ角ゴ ProN W3"/>
          <a:cs typeface="ヒラギノ角ゴ ProN W3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ヒラギノ角ゴ ProN W3"/>
          <a:cs typeface="ヒラギノ角ゴ ProN W3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ヒラギノ角ゴ ProN W3"/>
          <a:cs typeface="ヒラギノ角ゴ ProN W3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ヒラギノ角ゴ ProN W3"/>
          <a:cs typeface="ヒラギノ角ゴ ProN W3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fontAlgn="base">
        <a:lnSpc>
          <a:spcPct val="95000"/>
        </a:lnSpc>
        <a:spcBef>
          <a:spcPct val="100000"/>
        </a:spcBef>
        <a:spcAft>
          <a:spcPct val="5000"/>
        </a:spcAft>
        <a:defRPr sz="2200">
          <a:solidFill>
            <a:schemeClr val="tx1"/>
          </a:solidFill>
          <a:latin typeface="Arial" pitchFamily="34" charset="0"/>
          <a:ea typeface="+mn-ea"/>
          <a:cs typeface="+mn-cs"/>
        </a:defRPr>
      </a:lvl1pPr>
      <a:lvl2pPr marL="230188" indent="-228600" algn="l" rtl="0" fontAlgn="base">
        <a:lnSpc>
          <a:spcPct val="95000"/>
        </a:lnSpc>
        <a:spcBef>
          <a:spcPct val="45000"/>
        </a:spcBef>
        <a:spcAft>
          <a:spcPct val="5000"/>
        </a:spcAft>
        <a:buChar char="•"/>
        <a:defRPr sz="2000">
          <a:solidFill>
            <a:schemeClr val="tx1"/>
          </a:solidFill>
          <a:latin typeface="Arial" pitchFamily="34" charset="0"/>
          <a:ea typeface="ヒラギノ角ゴ ProN W3"/>
          <a:cs typeface="ヒラギノ角ゴ ProN W3"/>
        </a:defRPr>
      </a:lvl2pPr>
      <a:lvl3pPr marL="458788" indent="-227013" algn="l" rtl="0" fontAlgn="base">
        <a:lnSpc>
          <a:spcPct val="95000"/>
        </a:lnSpc>
        <a:spcBef>
          <a:spcPct val="45000"/>
        </a:spcBef>
        <a:spcAft>
          <a:spcPct val="5000"/>
        </a:spcAft>
        <a:buFont typeface="Arial" pitchFamily="34" charset="0"/>
        <a:buChar char="–"/>
        <a:defRPr>
          <a:solidFill>
            <a:schemeClr val="tx1"/>
          </a:solidFill>
          <a:latin typeface="Arial" pitchFamily="34" charset="0"/>
          <a:ea typeface="ヒラギノ角ゴ ProN W3"/>
          <a:cs typeface="ヒラギノ角ゴ ProN W3"/>
        </a:defRPr>
      </a:lvl3pPr>
      <a:lvl4pPr marL="684213" indent="-223838" algn="l" rtl="0" fontAlgn="base">
        <a:lnSpc>
          <a:spcPct val="95000"/>
        </a:lnSpc>
        <a:spcBef>
          <a:spcPct val="45000"/>
        </a:spcBef>
        <a:spcAft>
          <a:spcPct val="5000"/>
        </a:spcAft>
        <a:buChar char="•"/>
        <a:defRPr sz="1600">
          <a:solidFill>
            <a:schemeClr val="tx1"/>
          </a:solidFill>
          <a:latin typeface="Arial" pitchFamily="34" charset="0"/>
          <a:ea typeface="ヒラギノ角ゴ ProN W3"/>
          <a:cs typeface="ヒラギノ角ゴ ProN W3"/>
        </a:defRPr>
      </a:lvl4pPr>
      <a:lvl5pPr marL="912813" indent="-227013" algn="l" rtl="0" fontAlgn="base">
        <a:lnSpc>
          <a:spcPct val="95000"/>
        </a:lnSpc>
        <a:spcBef>
          <a:spcPct val="45000"/>
        </a:spcBef>
        <a:spcAft>
          <a:spcPct val="5000"/>
        </a:spcAft>
        <a:buFont typeface="Arial" pitchFamily="34" charset="0"/>
        <a:buChar char="–"/>
        <a:defRPr sz="1600">
          <a:solidFill>
            <a:schemeClr val="tx1"/>
          </a:solidFill>
          <a:latin typeface="Arial" pitchFamily="34" charset="0"/>
          <a:ea typeface="ヒラギノ角ゴ ProN W3"/>
          <a:cs typeface="ヒラギノ角ゴ ProN W3"/>
        </a:defRPr>
      </a:lvl5pPr>
      <a:lvl6pPr marL="1370013" indent="-227013" algn="l" rtl="0" eaLnBrk="1" fontAlgn="base" hangingPunct="1">
        <a:lnSpc>
          <a:spcPct val="95000"/>
        </a:lnSpc>
        <a:spcBef>
          <a:spcPct val="45000"/>
        </a:spcBef>
        <a:spcAft>
          <a:spcPct val="5000"/>
        </a:spcAft>
        <a:buFont typeface="Arial" charset="0"/>
        <a:buChar char="–"/>
        <a:defRPr sz="1600">
          <a:solidFill>
            <a:schemeClr val="tx1"/>
          </a:solidFill>
          <a:latin typeface="+mn-lt"/>
        </a:defRPr>
      </a:lvl6pPr>
      <a:lvl7pPr marL="1827213" indent="-227013" algn="l" rtl="0" eaLnBrk="1" fontAlgn="base" hangingPunct="1">
        <a:lnSpc>
          <a:spcPct val="95000"/>
        </a:lnSpc>
        <a:spcBef>
          <a:spcPct val="45000"/>
        </a:spcBef>
        <a:spcAft>
          <a:spcPct val="5000"/>
        </a:spcAft>
        <a:buFont typeface="Arial" charset="0"/>
        <a:buChar char="–"/>
        <a:defRPr sz="1600">
          <a:solidFill>
            <a:schemeClr val="tx1"/>
          </a:solidFill>
          <a:latin typeface="+mn-lt"/>
        </a:defRPr>
      </a:lvl7pPr>
      <a:lvl8pPr marL="2284413" indent="-227013" algn="l" rtl="0" eaLnBrk="1" fontAlgn="base" hangingPunct="1">
        <a:lnSpc>
          <a:spcPct val="95000"/>
        </a:lnSpc>
        <a:spcBef>
          <a:spcPct val="45000"/>
        </a:spcBef>
        <a:spcAft>
          <a:spcPct val="5000"/>
        </a:spcAft>
        <a:buFont typeface="Arial" charset="0"/>
        <a:buChar char="–"/>
        <a:defRPr sz="1600">
          <a:solidFill>
            <a:schemeClr val="tx1"/>
          </a:solidFill>
          <a:latin typeface="+mn-lt"/>
        </a:defRPr>
      </a:lvl8pPr>
      <a:lvl9pPr marL="2741613" indent="-227013" algn="l" rtl="0" eaLnBrk="1" fontAlgn="base" hangingPunct="1">
        <a:lnSpc>
          <a:spcPct val="95000"/>
        </a:lnSpc>
        <a:spcBef>
          <a:spcPct val="45000"/>
        </a:spcBef>
        <a:spcAft>
          <a:spcPct val="5000"/>
        </a:spcAft>
        <a:buFont typeface="Arial" charset="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2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4" Type="http://schemas.openxmlformats.org/officeDocument/2006/relationships/image" Target="../media/image21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chart" Target="../charts/chart3.xm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4" Type="http://schemas.openxmlformats.org/officeDocument/2006/relationships/image" Target="../media/image23.png"/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chart" Target="../charts/chart4.xm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24.emf"/><Relationship Id="rId5" Type="http://schemas.openxmlformats.org/officeDocument/2006/relationships/chart" Target="../charts/chart5.xml"/><Relationship Id="rId6" Type="http://schemas.openxmlformats.org/officeDocument/2006/relationships/image" Target="../media/image25.emf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8.xml"/><Relationship Id="rId3" Type="http://schemas.openxmlformats.org/officeDocument/2006/relationships/image" Target="../media/image26.jpeg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4" Type="http://schemas.openxmlformats.org/officeDocument/2006/relationships/tags" Target="../tags/tag15.xml"/><Relationship Id="rId15" Type="http://schemas.openxmlformats.org/officeDocument/2006/relationships/tags" Target="../tags/tag16.xml"/><Relationship Id="rId16" Type="http://schemas.openxmlformats.org/officeDocument/2006/relationships/tags" Target="../tags/tag17.xml"/><Relationship Id="rId17" Type="http://schemas.openxmlformats.org/officeDocument/2006/relationships/tags" Target="../tags/tag18.xml"/><Relationship Id="rId18" Type="http://schemas.openxmlformats.org/officeDocument/2006/relationships/tags" Target="../tags/tag19.xml"/><Relationship Id="rId19" Type="http://schemas.openxmlformats.org/officeDocument/2006/relationships/tags" Target="../tags/tag20.xml"/><Relationship Id="rId63" Type="http://schemas.openxmlformats.org/officeDocument/2006/relationships/notesSlide" Target="../notesSlides/notesSlide19.xml"/><Relationship Id="rId64" Type="http://schemas.openxmlformats.org/officeDocument/2006/relationships/oleObject" Target="../embeddings/oleObject1.bin"/><Relationship Id="rId65" Type="http://schemas.openxmlformats.org/officeDocument/2006/relationships/image" Target="../media/image27.emf"/><Relationship Id="rId66" Type="http://schemas.openxmlformats.org/officeDocument/2006/relationships/image" Target="../media/image28.png"/><Relationship Id="rId50" Type="http://schemas.openxmlformats.org/officeDocument/2006/relationships/tags" Target="../tags/tag51.xml"/><Relationship Id="rId51" Type="http://schemas.openxmlformats.org/officeDocument/2006/relationships/tags" Target="../tags/tag52.xml"/><Relationship Id="rId52" Type="http://schemas.openxmlformats.org/officeDocument/2006/relationships/tags" Target="../tags/tag53.xml"/><Relationship Id="rId53" Type="http://schemas.openxmlformats.org/officeDocument/2006/relationships/tags" Target="../tags/tag54.xml"/><Relationship Id="rId54" Type="http://schemas.openxmlformats.org/officeDocument/2006/relationships/tags" Target="../tags/tag55.xml"/><Relationship Id="rId55" Type="http://schemas.openxmlformats.org/officeDocument/2006/relationships/tags" Target="../tags/tag56.xml"/><Relationship Id="rId56" Type="http://schemas.openxmlformats.org/officeDocument/2006/relationships/tags" Target="../tags/tag57.xml"/><Relationship Id="rId57" Type="http://schemas.openxmlformats.org/officeDocument/2006/relationships/tags" Target="../tags/tag58.xml"/><Relationship Id="rId58" Type="http://schemas.openxmlformats.org/officeDocument/2006/relationships/tags" Target="../tags/tag59.xml"/><Relationship Id="rId59" Type="http://schemas.openxmlformats.org/officeDocument/2006/relationships/tags" Target="../tags/tag60.xml"/><Relationship Id="rId40" Type="http://schemas.openxmlformats.org/officeDocument/2006/relationships/tags" Target="../tags/tag41.xml"/><Relationship Id="rId41" Type="http://schemas.openxmlformats.org/officeDocument/2006/relationships/tags" Target="../tags/tag42.xml"/><Relationship Id="rId42" Type="http://schemas.openxmlformats.org/officeDocument/2006/relationships/tags" Target="../tags/tag43.xml"/><Relationship Id="rId43" Type="http://schemas.openxmlformats.org/officeDocument/2006/relationships/tags" Target="../tags/tag44.xml"/><Relationship Id="rId44" Type="http://schemas.openxmlformats.org/officeDocument/2006/relationships/tags" Target="../tags/tag45.xml"/><Relationship Id="rId45" Type="http://schemas.openxmlformats.org/officeDocument/2006/relationships/tags" Target="../tags/tag46.xml"/><Relationship Id="rId46" Type="http://schemas.openxmlformats.org/officeDocument/2006/relationships/tags" Target="../tags/tag47.xml"/><Relationship Id="rId47" Type="http://schemas.openxmlformats.org/officeDocument/2006/relationships/tags" Target="../tags/tag48.xml"/><Relationship Id="rId48" Type="http://schemas.openxmlformats.org/officeDocument/2006/relationships/tags" Target="../tags/tag49.xml"/><Relationship Id="rId49" Type="http://schemas.openxmlformats.org/officeDocument/2006/relationships/tags" Target="../tags/tag50.xml"/><Relationship Id="rId1" Type="http://schemas.openxmlformats.org/officeDocument/2006/relationships/vmlDrawing" Target="../drawings/vmlDrawing1.vml"/><Relationship Id="rId2" Type="http://schemas.openxmlformats.org/officeDocument/2006/relationships/tags" Target="../tags/tag3.xml"/><Relationship Id="rId3" Type="http://schemas.openxmlformats.org/officeDocument/2006/relationships/tags" Target="../tags/tag4.xml"/><Relationship Id="rId4" Type="http://schemas.openxmlformats.org/officeDocument/2006/relationships/tags" Target="../tags/tag5.xml"/><Relationship Id="rId5" Type="http://schemas.openxmlformats.org/officeDocument/2006/relationships/tags" Target="../tags/tag6.xml"/><Relationship Id="rId6" Type="http://schemas.openxmlformats.org/officeDocument/2006/relationships/tags" Target="../tags/tag7.xml"/><Relationship Id="rId7" Type="http://schemas.openxmlformats.org/officeDocument/2006/relationships/tags" Target="../tags/tag8.xml"/><Relationship Id="rId8" Type="http://schemas.openxmlformats.org/officeDocument/2006/relationships/tags" Target="../tags/tag9.xml"/><Relationship Id="rId9" Type="http://schemas.openxmlformats.org/officeDocument/2006/relationships/tags" Target="../tags/tag10.xml"/><Relationship Id="rId30" Type="http://schemas.openxmlformats.org/officeDocument/2006/relationships/tags" Target="../tags/tag31.xml"/><Relationship Id="rId31" Type="http://schemas.openxmlformats.org/officeDocument/2006/relationships/tags" Target="../tags/tag32.xml"/><Relationship Id="rId32" Type="http://schemas.openxmlformats.org/officeDocument/2006/relationships/tags" Target="../tags/tag33.xml"/><Relationship Id="rId33" Type="http://schemas.openxmlformats.org/officeDocument/2006/relationships/tags" Target="../tags/tag34.xml"/><Relationship Id="rId34" Type="http://schemas.openxmlformats.org/officeDocument/2006/relationships/tags" Target="../tags/tag35.xml"/><Relationship Id="rId35" Type="http://schemas.openxmlformats.org/officeDocument/2006/relationships/tags" Target="../tags/tag36.xml"/><Relationship Id="rId36" Type="http://schemas.openxmlformats.org/officeDocument/2006/relationships/tags" Target="../tags/tag37.xml"/><Relationship Id="rId37" Type="http://schemas.openxmlformats.org/officeDocument/2006/relationships/tags" Target="../tags/tag38.xml"/><Relationship Id="rId38" Type="http://schemas.openxmlformats.org/officeDocument/2006/relationships/tags" Target="../tags/tag39.xml"/><Relationship Id="rId39" Type="http://schemas.openxmlformats.org/officeDocument/2006/relationships/tags" Target="../tags/tag40.xml"/><Relationship Id="rId20" Type="http://schemas.openxmlformats.org/officeDocument/2006/relationships/tags" Target="../tags/tag21.xml"/><Relationship Id="rId21" Type="http://schemas.openxmlformats.org/officeDocument/2006/relationships/tags" Target="../tags/tag22.xml"/><Relationship Id="rId22" Type="http://schemas.openxmlformats.org/officeDocument/2006/relationships/tags" Target="../tags/tag23.xml"/><Relationship Id="rId23" Type="http://schemas.openxmlformats.org/officeDocument/2006/relationships/tags" Target="../tags/tag24.xml"/><Relationship Id="rId24" Type="http://schemas.openxmlformats.org/officeDocument/2006/relationships/tags" Target="../tags/tag25.xml"/><Relationship Id="rId25" Type="http://schemas.openxmlformats.org/officeDocument/2006/relationships/tags" Target="../tags/tag26.xml"/><Relationship Id="rId26" Type="http://schemas.openxmlformats.org/officeDocument/2006/relationships/tags" Target="../tags/tag27.xml"/><Relationship Id="rId27" Type="http://schemas.openxmlformats.org/officeDocument/2006/relationships/tags" Target="../tags/tag28.xml"/><Relationship Id="rId28" Type="http://schemas.openxmlformats.org/officeDocument/2006/relationships/tags" Target="../tags/tag29.xml"/><Relationship Id="rId29" Type="http://schemas.openxmlformats.org/officeDocument/2006/relationships/tags" Target="../tags/tag30.xml"/><Relationship Id="rId60" Type="http://schemas.openxmlformats.org/officeDocument/2006/relationships/tags" Target="../tags/tag61.xml"/><Relationship Id="rId61" Type="http://schemas.openxmlformats.org/officeDocument/2006/relationships/tags" Target="../tags/tag62.xml"/><Relationship Id="rId62" Type="http://schemas.openxmlformats.org/officeDocument/2006/relationships/slideLayout" Target="../slideLayouts/slideLayout11.xml"/><Relationship Id="rId10" Type="http://schemas.openxmlformats.org/officeDocument/2006/relationships/tags" Target="../tags/tag11.xml"/><Relationship Id="rId11" Type="http://schemas.openxmlformats.org/officeDocument/2006/relationships/tags" Target="../tags/tag12.xml"/><Relationship Id="rId12" Type="http://schemas.openxmlformats.org/officeDocument/2006/relationships/tags" Target="../tags/tag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7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chart" Target="../charts/chart6.xm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1.xml"/><Relationship Id="rId3" Type="http://schemas.openxmlformats.org/officeDocument/2006/relationships/image" Target="../media/image29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23.xml"/><Relationship Id="rId3" Type="http://schemas.openxmlformats.org/officeDocument/2006/relationships/image" Target="../media/image30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chart" Target="../charts/chart7.xml"/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5.xml"/><Relationship Id="rId3" Type="http://schemas.openxmlformats.org/officeDocument/2006/relationships/image" Target="../media/image19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26.xml"/><Relationship Id="rId3" Type="http://schemas.openxmlformats.org/officeDocument/2006/relationships/image" Target="../media/image19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7.xml"/><Relationship Id="rId3" Type="http://schemas.openxmlformats.org/officeDocument/2006/relationships/image" Target="../media/image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chart" Target="../charts/chart8.xm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chart" Target="../charts/chart9.xm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chart" Target="../charts/chart2.xm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4" Type="http://schemas.openxmlformats.org/officeDocument/2006/relationships/image" Target="../media/image20.emf"/><Relationship Id="rId1" Type="http://schemas.openxmlformats.org/officeDocument/2006/relationships/tags" Target="../tags/tag2.xml"/><Relationship Id="rId2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7" name="Picture 2" descr="Z:\GGL\22944_smartphone_country_report_dai\Source\PNG\Cover phon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21413" y="2674938"/>
            <a:ext cx="1084262" cy="190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298" name="Rectangle 7"/>
          <p:cNvSpPr>
            <a:spLocks noChangeArrowheads="1"/>
          </p:cNvSpPr>
          <p:nvPr/>
        </p:nvSpPr>
        <p:spPr bwMode="auto">
          <a:xfrm>
            <a:off x="0" y="6561138"/>
            <a:ext cx="2052638" cy="296862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5299" name="Subtitle 9"/>
          <p:cNvSpPr>
            <a:spLocks noGrp="1"/>
          </p:cNvSpPr>
          <p:nvPr>
            <p:ph type="subTitle" idx="1"/>
          </p:nvPr>
        </p:nvSpPr>
        <p:spPr>
          <a:xfrm>
            <a:off x="579438" y="3722688"/>
            <a:ext cx="4937125" cy="1031875"/>
          </a:xfrm>
          <a:ln/>
        </p:spPr>
        <p:txBody>
          <a:bodyPr>
            <a:noAutofit/>
          </a:bodyPr>
          <a:lstStyle/>
          <a:p>
            <a:pPr marL="0" indent="0"/>
            <a:r>
              <a:rPr lang="hu-HU" spc="-20" smtClean="0">
                <a:ea typeface="Arial Unicode MS" pitchFamily="34" charset="-128"/>
                <a:cs typeface="Arial Unicode MS" pitchFamily="34" charset="-128"/>
              </a:rPr>
              <a:t>A mobilhasználati szokások </a:t>
            </a:r>
            <a:br>
              <a:rPr lang="hu-HU" spc="-20" smtClean="0">
                <a:ea typeface="Arial Unicode MS" pitchFamily="34" charset="-128"/>
                <a:cs typeface="Arial Unicode MS" pitchFamily="34" charset="-128"/>
              </a:rPr>
            </a:br>
            <a:r>
              <a:rPr lang="hu-HU" spc="-20" smtClean="0">
                <a:ea typeface="Arial Unicode MS" pitchFamily="34" charset="-128"/>
                <a:cs typeface="Arial Unicode MS" pitchFamily="34" charset="-128"/>
              </a:rPr>
              <a:t>megismerése</a:t>
            </a:r>
          </a:p>
          <a:p>
            <a:pPr marL="0" indent="0"/>
            <a:endParaRPr lang="hu-HU" smtClean="0">
              <a:ea typeface="Arial Unicode MS" pitchFamily="34" charset="-128"/>
              <a:cs typeface="Arial Unicode MS" pitchFamily="34" charset="-128"/>
            </a:endParaRPr>
          </a:p>
          <a:p>
            <a:pPr marL="0" indent="0"/>
            <a:r>
              <a:rPr lang="hu-HU" sz="1400" smtClean="0">
                <a:ea typeface="Arial Unicode MS" pitchFamily="34" charset="-128"/>
                <a:cs typeface="Arial Unicode MS" pitchFamily="34" charset="-128"/>
              </a:rPr>
              <a:t>2013. május</a:t>
            </a:r>
          </a:p>
          <a:p>
            <a:pPr marL="0" indent="0"/>
            <a:endParaRPr lang="hu-HU" smtClea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5300" name="Title 8"/>
          <p:cNvSpPr>
            <a:spLocks noGrp="1"/>
          </p:cNvSpPr>
          <p:nvPr>
            <p:ph type="ctrTitle"/>
          </p:nvPr>
        </p:nvSpPr>
        <p:spPr>
          <a:xfrm>
            <a:off x="579438" y="2933700"/>
            <a:ext cx="4937125" cy="671513"/>
          </a:xfrm>
          <a:ln/>
        </p:spPr>
        <p:txBody>
          <a:bodyPr>
            <a:noAutofit/>
          </a:bodyPr>
          <a:lstStyle/>
          <a:p>
            <a:r>
              <a:rPr lang="hu-HU" smtClean="0">
                <a:ea typeface="Arial Unicode MS" pitchFamily="34" charset="-128"/>
                <a:cs typeface="Arial Unicode MS" pitchFamily="34" charset="-128"/>
              </a:rPr>
              <a:t>Our Mobile Planet: </a:t>
            </a:r>
            <a:br>
              <a:rPr lang="hu-HU" smtClean="0">
                <a:ea typeface="Arial Unicode MS" pitchFamily="34" charset="-128"/>
                <a:cs typeface="Arial Unicode MS" pitchFamily="34" charset="-128"/>
              </a:rPr>
            </a:br>
            <a:r>
              <a:rPr lang="hu-HU" smtClean="0">
                <a:ea typeface="Arial Unicode MS" pitchFamily="34" charset="-128"/>
                <a:cs typeface="Arial Unicode MS" pitchFamily="34" charset="-128"/>
              </a:rPr>
              <a:t>Magyarország</a:t>
            </a:r>
          </a:p>
        </p:txBody>
      </p:sp>
      <p:grpSp>
        <p:nvGrpSpPr>
          <p:cNvPr id="55301" name="Group 25"/>
          <p:cNvGrpSpPr>
            <a:grpSpLocks/>
          </p:cNvGrpSpPr>
          <p:nvPr/>
        </p:nvGrpSpPr>
        <p:grpSpPr bwMode="auto">
          <a:xfrm>
            <a:off x="6400800" y="3094038"/>
            <a:ext cx="711200" cy="914400"/>
            <a:chOff x="6400144" y="3093786"/>
            <a:chExt cx="711309" cy="915172"/>
          </a:xfrm>
        </p:grpSpPr>
        <p:sp>
          <p:nvSpPr>
            <p:cNvPr id="55303" name="Freeform 6"/>
            <p:cNvSpPr>
              <a:spLocks noEditPoints="1"/>
            </p:cNvSpPr>
            <p:nvPr/>
          </p:nvSpPr>
          <p:spPr bwMode="auto">
            <a:xfrm rot="2700000">
              <a:off x="6460335" y="3300378"/>
              <a:ext cx="579884" cy="579054"/>
            </a:xfrm>
            <a:custGeom>
              <a:avLst/>
              <a:gdLst>
                <a:gd name="T0" fmla="*/ 0 w 2093"/>
                <a:gd name="T1" fmla="*/ 1046 h 2093"/>
                <a:gd name="T2" fmla="*/ 1046 w 2093"/>
                <a:gd name="T3" fmla="*/ 2093 h 2093"/>
                <a:gd name="T4" fmla="*/ 2093 w 2093"/>
                <a:gd name="T5" fmla="*/ 1046 h 2093"/>
                <a:gd name="T6" fmla="*/ 1046 w 2093"/>
                <a:gd name="T7" fmla="*/ 0 h 2093"/>
                <a:gd name="T8" fmla="*/ 0 w 2093"/>
                <a:gd name="T9" fmla="*/ 1046 h 2093"/>
                <a:gd name="T10" fmla="*/ 355 w 2093"/>
                <a:gd name="T11" fmla="*/ 758 h 2093"/>
                <a:gd name="T12" fmla="*/ 875 w 2093"/>
                <a:gd name="T13" fmla="*/ 238 h 2093"/>
                <a:gd name="T14" fmla="*/ 983 w 2093"/>
                <a:gd name="T15" fmla="*/ 176 h 2093"/>
                <a:gd name="T16" fmla="*/ 1047 w 2093"/>
                <a:gd name="T17" fmla="*/ 166 h 2093"/>
                <a:gd name="T18" fmla="*/ 1113 w 2093"/>
                <a:gd name="T19" fmla="*/ 177 h 2093"/>
                <a:gd name="T20" fmla="*/ 1218 w 2093"/>
                <a:gd name="T21" fmla="*/ 238 h 2093"/>
                <a:gd name="T22" fmla="*/ 1737 w 2093"/>
                <a:gd name="T23" fmla="*/ 758 h 2093"/>
                <a:gd name="T24" fmla="*/ 1737 w 2093"/>
                <a:gd name="T25" fmla="*/ 1096 h 2093"/>
                <a:gd name="T26" fmla="*/ 1399 w 2093"/>
                <a:gd name="T27" fmla="*/ 1096 h 2093"/>
                <a:gd name="T28" fmla="*/ 1261 w 2093"/>
                <a:gd name="T29" fmla="*/ 958 h 2093"/>
                <a:gd name="T30" fmla="*/ 1261 w 2093"/>
                <a:gd name="T31" fmla="*/ 1713 h 2093"/>
                <a:gd name="T32" fmla="*/ 1047 w 2093"/>
                <a:gd name="T33" fmla="*/ 1927 h 2093"/>
                <a:gd name="T34" fmla="*/ 833 w 2093"/>
                <a:gd name="T35" fmla="*/ 1713 h 2093"/>
                <a:gd name="T36" fmla="*/ 833 w 2093"/>
                <a:gd name="T37" fmla="*/ 957 h 2093"/>
                <a:gd name="T38" fmla="*/ 694 w 2093"/>
                <a:gd name="T39" fmla="*/ 1096 h 2093"/>
                <a:gd name="T40" fmla="*/ 356 w 2093"/>
                <a:gd name="T41" fmla="*/ 1096 h 2093"/>
                <a:gd name="T42" fmla="*/ 355 w 2093"/>
                <a:gd name="T43" fmla="*/ 758 h 209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093"/>
                <a:gd name="T67" fmla="*/ 0 h 2093"/>
                <a:gd name="T68" fmla="*/ 2093 w 2093"/>
                <a:gd name="T69" fmla="*/ 2093 h 209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093" h="2093">
                  <a:moveTo>
                    <a:pt x="0" y="1046"/>
                  </a:moveTo>
                  <a:cubicBezTo>
                    <a:pt x="0" y="1625"/>
                    <a:pt x="468" y="2093"/>
                    <a:pt x="1046" y="2093"/>
                  </a:cubicBezTo>
                  <a:cubicBezTo>
                    <a:pt x="1625" y="2093"/>
                    <a:pt x="2093" y="1625"/>
                    <a:pt x="2093" y="1046"/>
                  </a:cubicBezTo>
                  <a:cubicBezTo>
                    <a:pt x="2093" y="468"/>
                    <a:pt x="1625" y="0"/>
                    <a:pt x="1046" y="0"/>
                  </a:cubicBezTo>
                  <a:cubicBezTo>
                    <a:pt x="468" y="0"/>
                    <a:pt x="0" y="468"/>
                    <a:pt x="0" y="1046"/>
                  </a:cubicBezTo>
                  <a:close/>
                  <a:moveTo>
                    <a:pt x="355" y="758"/>
                  </a:moveTo>
                  <a:cubicBezTo>
                    <a:pt x="875" y="238"/>
                    <a:pt x="875" y="238"/>
                    <a:pt x="875" y="238"/>
                  </a:cubicBezTo>
                  <a:cubicBezTo>
                    <a:pt x="906" y="207"/>
                    <a:pt x="944" y="186"/>
                    <a:pt x="983" y="176"/>
                  </a:cubicBezTo>
                  <a:cubicBezTo>
                    <a:pt x="1003" y="170"/>
                    <a:pt x="1025" y="166"/>
                    <a:pt x="1047" y="166"/>
                  </a:cubicBezTo>
                  <a:cubicBezTo>
                    <a:pt x="1070" y="166"/>
                    <a:pt x="1092" y="170"/>
                    <a:pt x="1113" y="177"/>
                  </a:cubicBezTo>
                  <a:cubicBezTo>
                    <a:pt x="1151" y="187"/>
                    <a:pt x="1188" y="208"/>
                    <a:pt x="1218" y="238"/>
                  </a:cubicBezTo>
                  <a:cubicBezTo>
                    <a:pt x="1737" y="758"/>
                    <a:pt x="1737" y="758"/>
                    <a:pt x="1737" y="758"/>
                  </a:cubicBezTo>
                  <a:cubicBezTo>
                    <a:pt x="1831" y="851"/>
                    <a:pt x="1831" y="1003"/>
                    <a:pt x="1737" y="1096"/>
                  </a:cubicBezTo>
                  <a:cubicBezTo>
                    <a:pt x="1644" y="1189"/>
                    <a:pt x="1493" y="1189"/>
                    <a:pt x="1399" y="1096"/>
                  </a:cubicBezTo>
                  <a:cubicBezTo>
                    <a:pt x="1261" y="958"/>
                    <a:pt x="1261" y="958"/>
                    <a:pt x="1261" y="958"/>
                  </a:cubicBezTo>
                  <a:cubicBezTo>
                    <a:pt x="1261" y="1713"/>
                    <a:pt x="1261" y="1713"/>
                    <a:pt x="1261" y="1713"/>
                  </a:cubicBezTo>
                  <a:cubicBezTo>
                    <a:pt x="1261" y="1831"/>
                    <a:pt x="1165" y="1927"/>
                    <a:pt x="1047" y="1927"/>
                  </a:cubicBezTo>
                  <a:cubicBezTo>
                    <a:pt x="929" y="1927"/>
                    <a:pt x="833" y="1831"/>
                    <a:pt x="833" y="1713"/>
                  </a:cubicBezTo>
                  <a:cubicBezTo>
                    <a:pt x="833" y="957"/>
                    <a:pt x="833" y="957"/>
                    <a:pt x="833" y="957"/>
                  </a:cubicBezTo>
                  <a:cubicBezTo>
                    <a:pt x="694" y="1096"/>
                    <a:pt x="694" y="1096"/>
                    <a:pt x="694" y="1096"/>
                  </a:cubicBezTo>
                  <a:cubicBezTo>
                    <a:pt x="600" y="1189"/>
                    <a:pt x="449" y="1189"/>
                    <a:pt x="356" y="1096"/>
                  </a:cubicBezTo>
                  <a:cubicBezTo>
                    <a:pt x="262" y="1002"/>
                    <a:pt x="262" y="851"/>
                    <a:pt x="355" y="758"/>
                  </a:cubicBez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5304" name="Freeform 6"/>
            <p:cNvSpPr>
              <a:spLocks noEditPoints="1"/>
            </p:cNvSpPr>
            <p:nvPr/>
          </p:nvSpPr>
          <p:spPr bwMode="auto">
            <a:xfrm rot="2700000">
              <a:off x="6767601" y="3901347"/>
              <a:ext cx="107364" cy="107210"/>
            </a:xfrm>
            <a:custGeom>
              <a:avLst/>
              <a:gdLst>
                <a:gd name="T0" fmla="*/ 0 w 2093"/>
                <a:gd name="T1" fmla="*/ 1046 h 2093"/>
                <a:gd name="T2" fmla="*/ 1046 w 2093"/>
                <a:gd name="T3" fmla="*/ 2093 h 2093"/>
                <a:gd name="T4" fmla="*/ 2093 w 2093"/>
                <a:gd name="T5" fmla="*/ 1046 h 2093"/>
                <a:gd name="T6" fmla="*/ 1046 w 2093"/>
                <a:gd name="T7" fmla="*/ 0 h 2093"/>
                <a:gd name="T8" fmla="*/ 0 w 2093"/>
                <a:gd name="T9" fmla="*/ 1046 h 2093"/>
                <a:gd name="T10" fmla="*/ 355 w 2093"/>
                <a:gd name="T11" fmla="*/ 758 h 2093"/>
                <a:gd name="T12" fmla="*/ 875 w 2093"/>
                <a:gd name="T13" fmla="*/ 238 h 2093"/>
                <a:gd name="T14" fmla="*/ 983 w 2093"/>
                <a:gd name="T15" fmla="*/ 176 h 2093"/>
                <a:gd name="T16" fmla="*/ 1047 w 2093"/>
                <a:gd name="T17" fmla="*/ 166 h 2093"/>
                <a:gd name="T18" fmla="*/ 1113 w 2093"/>
                <a:gd name="T19" fmla="*/ 177 h 2093"/>
                <a:gd name="T20" fmla="*/ 1218 w 2093"/>
                <a:gd name="T21" fmla="*/ 238 h 2093"/>
                <a:gd name="T22" fmla="*/ 1737 w 2093"/>
                <a:gd name="T23" fmla="*/ 758 h 2093"/>
                <a:gd name="T24" fmla="*/ 1737 w 2093"/>
                <a:gd name="T25" fmla="*/ 1096 h 2093"/>
                <a:gd name="T26" fmla="*/ 1399 w 2093"/>
                <a:gd name="T27" fmla="*/ 1096 h 2093"/>
                <a:gd name="T28" fmla="*/ 1261 w 2093"/>
                <a:gd name="T29" fmla="*/ 958 h 2093"/>
                <a:gd name="T30" fmla="*/ 1261 w 2093"/>
                <a:gd name="T31" fmla="*/ 1713 h 2093"/>
                <a:gd name="T32" fmla="*/ 1047 w 2093"/>
                <a:gd name="T33" fmla="*/ 1927 h 2093"/>
                <a:gd name="T34" fmla="*/ 833 w 2093"/>
                <a:gd name="T35" fmla="*/ 1713 h 2093"/>
                <a:gd name="T36" fmla="*/ 833 w 2093"/>
                <a:gd name="T37" fmla="*/ 957 h 2093"/>
                <a:gd name="T38" fmla="*/ 694 w 2093"/>
                <a:gd name="T39" fmla="*/ 1096 h 2093"/>
                <a:gd name="T40" fmla="*/ 356 w 2093"/>
                <a:gd name="T41" fmla="*/ 1096 h 2093"/>
                <a:gd name="T42" fmla="*/ 355 w 2093"/>
                <a:gd name="T43" fmla="*/ 758 h 209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093"/>
                <a:gd name="T67" fmla="*/ 0 h 2093"/>
                <a:gd name="T68" fmla="*/ 2093 w 2093"/>
                <a:gd name="T69" fmla="*/ 2093 h 209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093" h="2093">
                  <a:moveTo>
                    <a:pt x="0" y="1046"/>
                  </a:moveTo>
                  <a:cubicBezTo>
                    <a:pt x="0" y="1625"/>
                    <a:pt x="468" y="2093"/>
                    <a:pt x="1046" y="2093"/>
                  </a:cubicBezTo>
                  <a:cubicBezTo>
                    <a:pt x="1625" y="2093"/>
                    <a:pt x="2093" y="1625"/>
                    <a:pt x="2093" y="1046"/>
                  </a:cubicBezTo>
                  <a:cubicBezTo>
                    <a:pt x="2093" y="468"/>
                    <a:pt x="1625" y="0"/>
                    <a:pt x="1046" y="0"/>
                  </a:cubicBezTo>
                  <a:cubicBezTo>
                    <a:pt x="468" y="0"/>
                    <a:pt x="0" y="468"/>
                    <a:pt x="0" y="1046"/>
                  </a:cubicBezTo>
                  <a:close/>
                  <a:moveTo>
                    <a:pt x="355" y="758"/>
                  </a:moveTo>
                  <a:cubicBezTo>
                    <a:pt x="875" y="238"/>
                    <a:pt x="875" y="238"/>
                    <a:pt x="875" y="238"/>
                  </a:cubicBezTo>
                  <a:cubicBezTo>
                    <a:pt x="906" y="207"/>
                    <a:pt x="944" y="186"/>
                    <a:pt x="983" y="176"/>
                  </a:cubicBezTo>
                  <a:cubicBezTo>
                    <a:pt x="1003" y="170"/>
                    <a:pt x="1025" y="166"/>
                    <a:pt x="1047" y="166"/>
                  </a:cubicBezTo>
                  <a:cubicBezTo>
                    <a:pt x="1070" y="166"/>
                    <a:pt x="1092" y="170"/>
                    <a:pt x="1113" y="177"/>
                  </a:cubicBezTo>
                  <a:cubicBezTo>
                    <a:pt x="1151" y="187"/>
                    <a:pt x="1188" y="208"/>
                    <a:pt x="1218" y="238"/>
                  </a:cubicBezTo>
                  <a:cubicBezTo>
                    <a:pt x="1737" y="758"/>
                    <a:pt x="1737" y="758"/>
                    <a:pt x="1737" y="758"/>
                  </a:cubicBezTo>
                  <a:cubicBezTo>
                    <a:pt x="1831" y="851"/>
                    <a:pt x="1831" y="1003"/>
                    <a:pt x="1737" y="1096"/>
                  </a:cubicBezTo>
                  <a:cubicBezTo>
                    <a:pt x="1644" y="1189"/>
                    <a:pt x="1493" y="1189"/>
                    <a:pt x="1399" y="1096"/>
                  </a:cubicBezTo>
                  <a:cubicBezTo>
                    <a:pt x="1261" y="958"/>
                    <a:pt x="1261" y="958"/>
                    <a:pt x="1261" y="958"/>
                  </a:cubicBezTo>
                  <a:cubicBezTo>
                    <a:pt x="1261" y="1713"/>
                    <a:pt x="1261" y="1713"/>
                    <a:pt x="1261" y="1713"/>
                  </a:cubicBezTo>
                  <a:cubicBezTo>
                    <a:pt x="1261" y="1831"/>
                    <a:pt x="1165" y="1927"/>
                    <a:pt x="1047" y="1927"/>
                  </a:cubicBezTo>
                  <a:cubicBezTo>
                    <a:pt x="929" y="1927"/>
                    <a:pt x="833" y="1831"/>
                    <a:pt x="833" y="1713"/>
                  </a:cubicBezTo>
                  <a:cubicBezTo>
                    <a:pt x="833" y="957"/>
                    <a:pt x="833" y="957"/>
                    <a:pt x="833" y="957"/>
                  </a:cubicBezTo>
                  <a:cubicBezTo>
                    <a:pt x="694" y="1096"/>
                    <a:pt x="694" y="1096"/>
                    <a:pt x="694" y="1096"/>
                  </a:cubicBezTo>
                  <a:cubicBezTo>
                    <a:pt x="600" y="1189"/>
                    <a:pt x="449" y="1189"/>
                    <a:pt x="356" y="1096"/>
                  </a:cubicBezTo>
                  <a:cubicBezTo>
                    <a:pt x="262" y="1002"/>
                    <a:pt x="262" y="851"/>
                    <a:pt x="355" y="758"/>
                  </a:cubicBez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5305" name="Freeform 6"/>
            <p:cNvSpPr>
              <a:spLocks noEditPoints="1"/>
            </p:cNvSpPr>
            <p:nvPr/>
          </p:nvSpPr>
          <p:spPr bwMode="auto">
            <a:xfrm rot="2700000">
              <a:off x="6661866" y="3093914"/>
              <a:ext cx="179206" cy="178949"/>
            </a:xfrm>
            <a:custGeom>
              <a:avLst/>
              <a:gdLst>
                <a:gd name="T0" fmla="*/ 0 w 2093"/>
                <a:gd name="T1" fmla="*/ 1046 h 2093"/>
                <a:gd name="T2" fmla="*/ 1046 w 2093"/>
                <a:gd name="T3" fmla="*/ 2093 h 2093"/>
                <a:gd name="T4" fmla="*/ 2093 w 2093"/>
                <a:gd name="T5" fmla="*/ 1046 h 2093"/>
                <a:gd name="T6" fmla="*/ 1046 w 2093"/>
                <a:gd name="T7" fmla="*/ 0 h 2093"/>
                <a:gd name="T8" fmla="*/ 0 w 2093"/>
                <a:gd name="T9" fmla="*/ 1046 h 2093"/>
                <a:gd name="T10" fmla="*/ 355 w 2093"/>
                <a:gd name="T11" fmla="*/ 758 h 2093"/>
                <a:gd name="T12" fmla="*/ 875 w 2093"/>
                <a:gd name="T13" fmla="*/ 238 h 2093"/>
                <a:gd name="T14" fmla="*/ 983 w 2093"/>
                <a:gd name="T15" fmla="*/ 176 h 2093"/>
                <a:gd name="T16" fmla="*/ 1047 w 2093"/>
                <a:gd name="T17" fmla="*/ 166 h 2093"/>
                <a:gd name="T18" fmla="*/ 1113 w 2093"/>
                <a:gd name="T19" fmla="*/ 177 h 2093"/>
                <a:gd name="T20" fmla="*/ 1218 w 2093"/>
                <a:gd name="T21" fmla="*/ 238 h 2093"/>
                <a:gd name="T22" fmla="*/ 1737 w 2093"/>
                <a:gd name="T23" fmla="*/ 758 h 2093"/>
                <a:gd name="T24" fmla="*/ 1737 w 2093"/>
                <a:gd name="T25" fmla="*/ 1096 h 2093"/>
                <a:gd name="T26" fmla="*/ 1399 w 2093"/>
                <a:gd name="T27" fmla="*/ 1096 h 2093"/>
                <a:gd name="T28" fmla="*/ 1261 w 2093"/>
                <a:gd name="T29" fmla="*/ 958 h 2093"/>
                <a:gd name="T30" fmla="*/ 1261 w 2093"/>
                <a:gd name="T31" fmla="*/ 1713 h 2093"/>
                <a:gd name="T32" fmla="*/ 1047 w 2093"/>
                <a:gd name="T33" fmla="*/ 1927 h 2093"/>
                <a:gd name="T34" fmla="*/ 833 w 2093"/>
                <a:gd name="T35" fmla="*/ 1713 h 2093"/>
                <a:gd name="T36" fmla="*/ 833 w 2093"/>
                <a:gd name="T37" fmla="*/ 957 h 2093"/>
                <a:gd name="T38" fmla="*/ 694 w 2093"/>
                <a:gd name="T39" fmla="*/ 1096 h 2093"/>
                <a:gd name="T40" fmla="*/ 356 w 2093"/>
                <a:gd name="T41" fmla="*/ 1096 h 2093"/>
                <a:gd name="T42" fmla="*/ 355 w 2093"/>
                <a:gd name="T43" fmla="*/ 758 h 209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093"/>
                <a:gd name="T67" fmla="*/ 0 h 2093"/>
                <a:gd name="T68" fmla="*/ 2093 w 2093"/>
                <a:gd name="T69" fmla="*/ 2093 h 209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093" h="2093">
                  <a:moveTo>
                    <a:pt x="0" y="1046"/>
                  </a:moveTo>
                  <a:cubicBezTo>
                    <a:pt x="0" y="1625"/>
                    <a:pt x="468" y="2093"/>
                    <a:pt x="1046" y="2093"/>
                  </a:cubicBezTo>
                  <a:cubicBezTo>
                    <a:pt x="1625" y="2093"/>
                    <a:pt x="2093" y="1625"/>
                    <a:pt x="2093" y="1046"/>
                  </a:cubicBezTo>
                  <a:cubicBezTo>
                    <a:pt x="2093" y="468"/>
                    <a:pt x="1625" y="0"/>
                    <a:pt x="1046" y="0"/>
                  </a:cubicBezTo>
                  <a:cubicBezTo>
                    <a:pt x="468" y="0"/>
                    <a:pt x="0" y="468"/>
                    <a:pt x="0" y="1046"/>
                  </a:cubicBezTo>
                  <a:close/>
                  <a:moveTo>
                    <a:pt x="355" y="758"/>
                  </a:moveTo>
                  <a:cubicBezTo>
                    <a:pt x="875" y="238"/>
                    <a:pt x="875" y="238"/>
                    <a:pt x="875" y="238"/>
                  </a:cubicBezTo>
                  <a:cubicBezTo>
                    <a:pt x="906" y="207"/>
                    <a:pt x="944" y="186"/>
                    <a:pt x="983" y="176"/>
                  </a:cubicBezTo>
                  <a:cubicBezTo>
                    <a:pt x="1003" y="170"/>
                    <a:pt x="1025" y="166"/>
                    <a:pt x="1047" y="166"/>
                  </a:cubicBezTo>
                  <a:cubicBezTo>
                    <a:pt x="1070" y="166"/>
                    <a:pt x="1092" y="170"/>
                    <a:pt x="1113" y="177"/>
                  </a:cubicBezTo>
                  <a:cubicBezTo>
                    <a:pt x="1151" y="187"/>
                    <a:pt x="1188" y="208"/>
                    <a:pt x="1218" y="238"/>
                  </a:cubicBezTo>
                  <a:cubicBezTo>
                    <a:pt x="1737" y="758"/>
                    <a:pt x="1737" y="758"/>
                    <a:pt x="1737" y="758"/>
                  </a:cubicBezTo>
                  <a:cubicBezTo>
                    <a:pt x="1831" y="851"/>
                    <a:pt x="1831" y="1003"/>
                    <a:pt x="1737" y="1096"/>
                  </a:cubicBezTo>
                  <a:cubicBezTo>
                    <a:pt x="1644" y="1189"/>
                    <a:pt x="1493" y="1189"/>
                    <a:pt x="1399" y="1096"/>
                  </a:cubicBezTo>
                  <a:cubicBezTo>
                    <a:pt x="1261" y="958"/>
                    <a:pt x="1261" y="958"/>
                    <a:pt x="1261" y="958"/>
                  </a:cubicBezTo>
                  <a:cubicBezTo>
                    <a:pt x="1261" y="1713"/>
                    <a:pt x="1261" y="1713"/>
                    <a:pt x="1261" y="1713"/>
                  </a:cubicBezTo>
                  <a:cubicBezTo>
                    <a:pt x="1261" y="1831"/>
                    <a:pt x="1165" y="1927"/>
                    <a:pt x="1047" y="1927"/>
                  </a:cubicBezTo>
                  <a:cubicBezTo>
                    <a:pt x="929" y="1927"/>
                    <a:pt x="833" y="1831"/>
                    <a:pt x="833" y="1713"/>
                  </a:cubicBezTo>
                  <a:cubicBezTo>
                    <a:pt x="833" y="957"/>
                    <a:pt x="833" y="957"/>
                    <a:pt x="833" y="957"/>
                  </a:cubicBezTo>
                  <a:cubicBezTo>
                    <a:pt x="694" y="1096"/>
                    <a:pt x="694" y="1096"/>
                    <a:pt x="694" y="1096"/>
                  </a:cubicBezTo>
                  <a:cubicBezTo>
                    <a:pt x="600" y="1189"/>
                    <a:pt x="449" y="1189"/>
                    <a:pt x="356" y="1096"/>
                  </a:cubicBezTo>
                  <a:cubicBezTo>
                    <a:pt x="262" y="1002"/>
                    <a:pt x="262" y="851"/>
                    <a:pt x="355" y="758"/>
                  </a:cubicBez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5306" name="Freeform 6"/>
            <p:cNvSpPr>
              <a:spLocks noEditPoints="1"/>
            </p:cNvSpPr>
            <p:nvPr/>
          </p:nvSpPr>
          <p:spPr bwMode="auto">
            <a:xfrm rot="2700000">
              <a:off x="6932376" y="3829880"/>
              <a:ext cx="179206" cy="178949"/>
            </a:xfrm>
            <a:custGeom>
              <a:avLst/>
              <a:gdLst>
                <a:gd name="T0" fmla="*/ 0 w 2093"/>
                <a:gd name="T1" fmla="*/ 1046 h 2093"/>
                <a:gd name="T2" fmla="*/ 1046 w 2093"/>
                <a:gd name="T3" fmla="*/ 2093 h 2093"/>
                <a:gd name="T4" fmla="*/ 2093 w 2093"/>
                <a:gd name="T5" fmla="*/ 1046 h 2093"/>
                <a:gd name="T6" fmla="*/ 1046 w 2093"/>
                <a:gd name="T7" fmla="*/ 0 h 2093"/>
                <a:gd name="T8" fmla="*/ 0 w 2093"/>
                <a:gd name="T9" fmla="*/ 1046 h 2093"/>
                <a:gd name="T10" fmla="*/ 355 w 2093"/>
                <a:gd name="T11" fmla="*/ 758 h 2093"/>
                <a:gd name="T12" fmla="*/ 875 w 2093"/>
                <a:gd name="T13" fmla="*/ 238 h 2093"/>
                <a:gd name="T14" fmla="*/ 983 w 2093"/>
                <a:gd name="T15" fmla="*/ 176 h 2093"/>
                <a:gd name="T16" fmla="*/ 1047 w 2093"/>
                <a:gd name="T17" fmla="*/ 166 h 2093"/>
                <a:gd name="T18" fmla="*/ 1113 w 2093"/>
                <a:gd name="T19" fmla="*/ 177 h 2093"/>
                <a:gd name="T20" fmla="*/ 1218 w 2093"/>
                <a:gd name="T21" fmla="*/ 238 h 2093"/>
                <a:gd name="T22" fmla="*/ 1737 w 2093"/>
                <a:gd name="T23" fmla="*/ 758 h 2093"/>
                <a:gd name="T24" fmla="*/ 1737 w 2093"/>
                <a:gd name="T25" fmla="*/ 1096 h 2093"/>
                <a:gd name="T26" fmla="*/ 1399 w 2093"/>
                <a:gd name="T27" fmla="*/ 1096 h 2093"/>
                <a:gd name="T28" fmla="*/ 1261 w 2093"/>
                <a:gd name="T29" fmla="*/ 958 h 2093"/>
                <a:gd name="T30" fmla="*/ 1261 w 2093"/>
                <a:gd name="T31" fmla="*/ 1713 h 2093"/>
                <a:gd name="T32" fmla="*/ 1047 w 2093"/>
                <a:gd name="T33" fmla="*/ 1927 h 2093"/>
                <a:gd name="T34" fmla="*/ 833 w 2093"/>
                <a:gd name="T35" fmla="*/ 1713 h 2093"/>
                <a:gd name="T36" fmla="*/ 833 w 2093"/>
                <a:gd name="T37" fmla="*/ 957 h 2093"/>
                <a:gd name="T38" fmla="*/ 694 w 2093"/>
                <a:gd name="T39" fmla="*/ 1096 h 2093"/>
                <a:gd name="T40" fmla="*/ 356 w 2093"/>
                <a:gd name="T41" fmla="*/ 1096 h 2093"/>
                <a:gd name="T42" fmla="*/ 355 w 2093"/>
                <a:gd name="T43" fmla="*/ 758 h 209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093"/>
                <a:gd name="T67" fmla="*/ 0 h 2093"/>
                <a:gd name="T68" fmla="*/ 2093 w 2093"/>
                <a:gd name="T69" fmla="*/ 2093 h 209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093" h="2093">
                  <a:moveTo>
                    <a:pt x="0" y="1046"/>
                  </a:moveTo>
                  <a:cubicBezTo>
                    <a:pt x="0" y="1625"/>
                    <a:pt x="468" y="2093"/>
                    <a:pt x="1046" y="2093"/>
                  </a:cubicBezTo>
                  <a:cubicBezTo>
                    <a:pt x="1625" y="2093"/>
                    <a:pt x="2093" y="1625"/>
                    <a:pt x="2093" y="1046"/>
                  </a:cubicBezTo>
                  <a:cubicBezTo>
                    <a:pt x="2093" y="468"/>
                    <a:pt x="1625" y="0"/>
                    <a:pt x="1046" y="0"/>
                  </a:cubicBezTo>
                  <a:cubicBezTo>
                    <a:pt x="468" y="0"/>
                    <a:pt x="0" y="468"/>
                    <a:pt x="0" y="1046"/>
                  </a:cubicBezTo>
                  <a:close/>
                  <a:moveTo>
                    <a:pt x="355" y="758"/>
                  </a:moveTo>
                  <a:cubicBezTo>
                    <a:pt x="875" y="238"/>
                    <a:pt x="875" y="238"/>
                    <a:pt x="875" y="238"/>
                  </a:cubicBezTo>
                  <a:cubicBezTo>
                    <a:pt x="906" y="207"/>
                    <a:pt x="944" y="186"/>
                    <a:pt x="983" y="176"/>
                  </a:cubicBezTo>
                  <a:cubicBezTo>
                    <a:pt x="1003" y="170"/>
                    <a:pt x="1025" y="166"/>
                    <a:pt x="1047" y="166"/>
                  </a:cubicBezTo>
                  <a:cubicBezTo>
                    <a:pt x="1070" y="166"/>
                    <a:pt x="1092" y="170"/>
                    <a:pt x="1113" y="177"/>
                  </a:cubicBezTo>
                  <a:cubicBezTo>
                    <a:pt x="1151" y="187"/>
                    <a:pt x="1188" y="208"/>
                    <a:pt x="1218" y="238"/>
                  </a:cubicBezTo>
                  <a:cubicBezTo>
                    <a:pt x="1737" y="758"/>
                    <a:pt x="1737" y="758"/>
                    <a:pt x="1737" y="758"/>
                  </a:cubicBezTo>
                  <a:cubicBezTo>
                    <a:pt x="1831" y="851"/>
                    <a:pt x="1831" y="1003"/>
                    <a:pt x="1737" y="1096"/>
                  </a:cubicBezTo>
                  <a:cubicBezTo>
                    <a:pt x="1644" y="1189"/>
                    <a:pt x="1493" y="1189"/>
                    <a:pt x="1399" y="1096"/>
                  </a:cubicBezTo>
                  <a:cubicBezTo>
                    <a:pt x="1261" y="958"/>
                    <a:pt x="1261" y="958"/>
                    <a:pt x="1261" y="958"/>
                  </a:cubicBezTo>
                  <a:cubicBezTo>
                    <a:pt x="1261" y="1713"/>
                    <a:pt x="1261" y="1713"/>
                    <a:pt x="1261" y="1713"/>
                  </a:cubicBezTo>
                  <a:cubicBezTo>
                    <a:pt x="1261" y="1831"/>
                    <a:pt x="1165" y="1927"/>
                    <a:pt x="1047" y="1927"/>
                  </a:cubicBezTo>
                  <a:cubicBezTo>
                    <a:pt x="929" y="1927"/>
                    <a:pt x="833" y="1831"/>
                    <a:pt x="833" y="1713"/>
                  </a:cubicBezTo>
                  <a:cubicBezTo>
                    <a:pt x="833" y="957"/>
                    <a:pt x="833" y="957"/>
                    <a:pt x="833" y="957"/>
                  </a:cubicBezTo>
                  <a:cubicBezTo>
                    <a:pt x="694" y="1096"/>
                    <a:pt x="694" y="1096"/>
                    <a:pt x="694" y="1096"/>
                  </a:cubicBezTo>
                  <a:cubicBezTo>
                    <a:pt x="600" y="1189"/>
                    <a:pt x="449" y="1189"/>
                    <a:pt x="356" y="1096"/>
                  </a:cubicBezTo>
                  <a:cubicBezTo>
                    <a:pt x="262" y="1002"/>
                    <a:pt x="262" y="851"/>
                    <a:pt x="355" y="758"/>
                  </a:cubicBez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5307" name="Freeform 6"/>
            <p:cNvSpPr>
              <a:spLocks noEditPoints="1"/>
            </p:cNvSpPr>
            <p:nvPr/>
          </p:nvSpPr>
          <p:spPr bwMode="auto">
            <a:xfrm rot="2700000">
              <a:off x="6452224" y="3219386"/>
              <a:ext cx="118006" cy="117837"/>
            </a:xfrm>
            <a:custGeom>
              <a:avLst/>
              <a:gdLst>
                <a:gd name="T0" fmla="*/ 0 w 2093"/>
                <a:gd name="T1" fmla="*/ 1046 h 2093"/>
                <a:gd name="T2" fmla="*/ 1046 w 2093"/>
                <a:gd name="T3" fmla="*/ 2093 h 2093"/>
                <a:gd name="T4" fmla="*/ 2093 w 2093"/>
                <a:gd name="T5" fmla="*/ 1046 h 2093"/>
                <a:gd name="T6" fmla="*/ 1046 w 2093"/>
                <a:gd name="T7" fmla="*/ 0 h 2093"/>
                <a:gd name="T8" fmla="*/ 0 w 2093"/>
                <a:gd name="T9" fmla="*/ 1046 h 2093"/>
                <a:gd name="T10" fmla="*/ 355 w 2093"/>
                <a:gd name="T11" fmla="*/ 758 h 2093"/>
                <a:gd name="T12" fmla="*/ 875 w 2093"/>
                <a:gd name="T13" fmla="*/ 238 h 2093"/>
                <a:gd name="T14" fmla="*/ 983 w 2093"/>
                <a:gd name="T15" fmla="*/ 176 h 2093"/>
                <a:gd name="T16" fmla="*/ 1047 w 2093"/>
                <a:gd name="T17" fmla="*/ 166 h 2093"/>
                <a:gd name="T18" fmla="*/ 1113 w 2093"/>
                <a:gd name="T19" fmla="*/ 177 h 2093"/>
                <a:gd name="T20" fmla="*/ 1218 w 2093"/>
                <a:gd name="T21" fmla="*/ 238 h 2093"/>
                <a:gd name="T22" fmla="*/ 1737 w 2093"/>
                <a:gd name="T23" fmla="*/ 758 h 2093"/>
                <a:gd name="T24" fmla="*/ 1737 w 2093"/>
                <a:gd name="T25" fmla="*/ 1096 h 2093"/>
                <a:gd name="T26" fmla="*/ 1399 w 2093"/>
                <a:gd name="T27" fmla="*/ 1096 h 2093"/>
                <a:gd name="T28" fmla="*/ 1261 w 2093"/>
                <a:gd name="T29" fmla="*/ 958 h 2093"/>
                <a:gd name="T30" fmla="*/ 1261 w 2093"/>
                <a:gd name="T31" fmla="*/ 1713 h 2093"/>
                <a:gd name="T32" fmla="*/ 1047 w 2093"/>
                <a:gd name="T33" fmla="*/ 1927 h 2093"/>
                <a:gd name="T34" fmla="*/ 833 w 2093"/>
                <a:gd name="T35" fmla="*/ 1713 h 2093"/>
                <a:gd name="T36" fmla="*/ 833 w 2093"/>
                <a:gd name="T37" fmla="*/ 957 h 2093"/>
                <a:gd name="T38" fmla="*/ 694 w 2093"/>
                <a:gd name="T39" fmla="*/ 1096 h 2093"/>
                <a:gd name="T40" fmla="*/ 356 w 2093"/>
                <a:gd name="T41" fmla="*/ 1096 h 2093"/>
                <a:gd name="T42" fmla="*/ 355 w 2093"/>
                <a:gd name="T43" fmla="*/ 758 h 209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093"/>
                <a:gd name="T67" fmla="*/ 0 h 2093"/>
                <a:gd name="T68" fmla="*/ 2093 w 2093"/>
                <a:gd name="T69" fmla="*/ 2093 h 209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093" h="2093">
                  <a:moveTo>
                    <a:pt x="0" y="1046"/>
                  </a:moveTo>
                  <a:cubicBezTo>
                    <a:pt x="0" y="1625"/>
                    <a:pt x="468" y="2093"/>
                    <a:pt x="1046" y="2093"/>
                  </a:cubicBezTo>
                  <a:cubicBezTo>
                    <a:pt x="1625" y="2093"/>
                    <a:pt x="2093" y="1625"/>
                    <a:pt x="2093" y="1046"/>
                  </a:cubicBezTo>
                  <a:cubicBezTo>
                    <a:pt x="2093" y="468"/>
                    <a:pt x="1625" y="0"/>
                    <a:pt x="1046" y="0"/>
                  </a:cubicBezTo>
                  <a:cubicBezTo>
                    <a:pt x="468" y="0"/>
                    <a:pt x="0" y="468"/>
                    <a:pt x="0" y="1046"/>
                  </a:cubicBezTo>
                  <a:close/>
                  <a:moveTo>
                    <a:pt x="355" y="758"/>
                  </a:moveTo>
                  <a:cubicBezTo>
                    <a:pt x="875" y="238"/>
                    <a:pt x="875" y="238"/>
                    <a:pt x="875" y="238"/>
                  </a:cubicBezTo>
                  <a:cubicBezTo>
                    <a:pt x="906" y="207"/>
                    <a:pt x="944" y="186"/>
                    <a:pt x="983" y="176"/>
                  </a:cubicBezTo>
                  <a:cubicBezTo>
                    <a:pt x="1003" y="170"/>
                    <a:pt x="1025" y="166"/>
                    <a:pt x="1047" y="166"/>
                  </a:cubicBezTo>
                  <a:cubicBezTo>
                    <a:pt x="1070" y="166"/>
                    <a:pt x="1092" y="170"/>
                    <a:pt x="1113" y="177"/>
                  </a:cubicBezTo>
                  <a:cubicBezTo>
                    <a:pt x="1151" y="187"/>
                    <a:pt x="1188" y="208"/>
                    <a:pt x="1218" y="238"/>
                  </a:cubicBezTo>
                  <a:cubicBezTo>
                    <a:pt x="1737" y="758"/>
                    <a:pt x="1737" y="758"/>
                    <a:pt x="1737" y="758"/>
                  </a:cubicBezTo>
                  <a:cubicBezTo>
                    <a:pt x="1831" y="851"/>
                    <a:pt x="1831" y="1003"/>
                    <a:pt x="1737" y="1096"/>
                  </a:cubicBezTo>
                  <a:cubicBezTo>
                    <a:pt x="1644" y="1189"/>
                    <a:pt x="1493" y="1189"/>
                    <a:pt x="1399" y="1096"/>
                  </a:cubicBezTo>
                  <a:cubicBezTo>
                    <a:pt x="1261" y="958"/>
                    <a:pt x="1261" y="958"/>
                    <a:pt x="1261" y="958"/>
                  </a:cubicBezTo>
                  <a:cubicBezTo>
                    <a:pt x="1261" y="1713"/>
                    <a:pt x="1261" y="1713"/>
                    <a:pt x="1261" y="1713"/>
                  </a:cubicBezTo>
                  <a:cubicBezTo>
                    <a:pt x="1261" y="1831"/>
                    <a:pt x="1165" y="1927"/>
                    <a:pt x="1047" y="1927"/>
                  </a:cubicBezTo>
                  <a:cubicBezTo>
                    <a:pt x="929" y="1927"/>
                    <a:pt x="833" y="1831"/>
                    <a:pt x="833" y="1713"/>
                  </a:cubicBezTo>
                  <a:cubicBezTo>
                    <a:pt x="833" y="957"/>
                    <a:pt x="833" y="957"/>
                    <a:pt x="833" y="957"/>
                  </a:cubicBezTo>
                  <a:cubicBezTo>
                    <a:pt x="694" y="1096"/>
                    <a:pt x="694" y="1096"/>
                    <a:pt x="694" y="1096"/>
                  </a:cubicBezTo>
                  <a:cubicBezTo>
                    <a:pt x="600" y="1189"/>
                    <a:pt x="449" y="1189"/>
                    <a:pt x="356" y="1096"/>
                  </a:cubicBezTo>
                  <a:cubicBezTo>
                    <a:pt x="262" y="1002"/>
                    <a:pt x="262" y="851"/>
                    <a:pt x="355" y="758"/>
                  </a:cubicBez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5308" name="Freeform 6"/>
            <p:cNvSpPr>
              <a:spLocks noEditPoints="1"/>
            </p:cNvSpPr>
            <p:nvPr/>
          </p:nvSpPr>
          <p:spPr bwMode="auto">
            <a:xfrm rot="2700000">
              <a:off x="6871324" y="3162237"/>
              <a:ext cx="118006" cy="117837"/>
            </a:xfrm>
            <a:custGeom>
              <a:avLst/>
              <a:gdLst>
                <a:gd name="T0" fmla="*/ 0 w 2093"/>
                <a:gd name="T1" fmla="*/ 1046 h 2093"/>
                <a:gd name="T2" fmla="*/ 1046 w 2093"/>
                <a:gd name="T3" fmla="*/ 2093 h 2093"/>
                <a:gd name="T4" fmla="*/ 2093 w 2093"/>
                <a:gd name="T5" fmla="*/ 1046 h 2093"/>
                <a:gd name="T6" fmla="*/ 1046 w 2093"/>
                <a:gd name="T7" fmla="*/ 0 h 2093"/>
                <a:gd name="T8" fmla="*/ 0 w 2093"/>
                <a:gd name="T9" fmla="*/ 1046 h 2093"/>
                <a:gd name="T10" fmla="*/ 355 w 2093"/>
                <a:gd name="T11" fmla="*/ 758 h 2093"/>
                <a:gd name="T12" fmla="*/ 875 w 2093"/>
                <a:gd name="T13" fmla="*/ 238 h 2093"/>
                <a:gd name="T14" fmla="*/ 983 w 2093"/>
                <a:gd name="T15" fmla="*/ 176 h 2093"/>
                <a:gd name="T16" fmla="*/ 1047 w 2093"/>
                <a:gd name="T17" fmla="*/ 166 h 2093"/>
                <a:gd name="T18" fmla="*/ 1113 w 2093"/>
                <a:gd name="T19" fmla="*/ 177 h 2093"/>
                <a:gd name="T20" fmla="*/ 1218 w 2093"/>
                <a:gd name="T21" fmla="*/ 238 h 2093"/>
                <a:gd name="T22" fmla="*/ 1737 w 2093"/>
                <a:gd name="T23" fmla="*/ 758 h 2093"/>
                <a:gd name="T24" fmla="*/ 1737 w 2093"/>
                <a:gd name="T25" fmla="*/ 1096 h 2093"/>
                <a:gd name="T26" fmla="*/ 1399 w 2093"/>
                <a:gd name="T27" fmla="*/ 1096 h 2093"/>
                <a:gd name="T28" fmla="*/ 1261 w 2093"/>
                <a:gd name="T29" fmla="*/ 958 h 2093"/>
                <a:gd name="T30" fmla="*/ 1261 w 2093"/>
                <a:gd name="T31" fmla="*/ 1713 h 2093"/>
                <a:gd name="T32" fmla="*/ 1047 w 2093"/>
                <a:gd name="T33" fmla="*/ 1927 h 2093"/>
                <a:gd name="T34" fmla="*/ 833 w 2093"/>
                <a:gd name="T35" fmla="*/ 1713 h 2093"/>
                <a:gd name="T36" fmla="*/ 833 w 2093"/>
                <a:gd name="T37" fmla="*/ 957 h 2093"/>
                <a:gd name="T38" fmla="*/ 694 w 2093"/>
                <a:gd name="T39" fmla="*/ 1096 h 2093"/>
                <a:gd name="T40" fmla="*/ 356 w 2093"/>
                <a:gd name="T41" fmla="*/ 1096 h 2093"/>
                <a:gd name="T42" fmla="*/ 355 w 2093"/>
                <a:gd name="T43" fmla="*/ 758 h 209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093"/>
                <a:gd name="T67" fmla="*/ 0 h 2093"/>
                <a:gd name="T68" fmla="*/ 2093 w 2093"/>
                <a:gd name="T69" fmla="*/ 2093 h 209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093" h="2093">
                  <a:moveTo>
                    <a:pt x="0" y="1046"/>
                  </a:moveTo>
                  <a:cubicBezTo>
                    <a:pt x="0" y="1625"/>
                    <a:pt x="468" y="2093"/>
                    <a:pt x="1046" y="2093"/>
                  </a:cubicBezTo>
                  <a:cubicBezTo>
                    <a:pt x="1625" y="2093"/>
                    <a:pt x="2093" y="1625"/>
                    <a:pt x="2093" y="1046"/>
                  </a:cubicBezTo>
                  <a:cubicBezTo>
                    <a:pt x="2093" y="468"/>
                    <a:pt x="1625" y="0"/>
                    <a:pt x="1046" y="0"/>
                  </a:cubicBezTo>
                  <a:cubicBezTo>
                    <a:pt x="468" y="0"/>
                    <a:pt x="0" y="468"/>
                    <a:pt x="0" y="1046"/>
                  </a:cubicBezTo>
                  <a:close/>
                  <a:moveTo>
                    <a:pt x="355" y="758"/>
                  </a:moveTo>
                  <a:cubicBezTo>
                    <a:pt x="875" y="238"/>
                    <a:pt x="875" y="238"/>
                    <a:pt x="875" y="238"/>
                  </a:cubicBezTo>
                  <a:cubicBezTo>
                    <a:pt x="906" y="207"/>
                    <a:pt x="944" y="186"/>
                    <a:pt x="983" y="176"/>
                  </a:cubicBezTo>
                  <a:cubicBezTo>
                    <a:pt x="1003" y="170"/>
                    <a:pt x="1025" y="166"/>
                    <a:pt x="1047" y="166"/>
                  </a:cubicBezTo>
                  <a:cubicBezTo>
                    <a:pt x="1070" y="166"/>
                    <a:pt x="1092" y="170"/>
                    <a:pt x="1113" y="177"/>
                  </a:cubicBezTo>
                  <a:cubicBezTo>
                    <a:pt x="1151" y="187"/>
                    <a:pt x="1188" y="208"/>
                    <a:pt x="1218" y="238"/>
                  </a:cubicBezTo>
                  <a:cubicBezTo>
                    <a:pt x="1737" y="758"/>
                    <a:pt x="1737" y="758"/>
                    <a:pt x="1737" y="758"/>
                  </a:cubicBezTo>
                  <a:cubicBezTo>
                    <a:pt x="1831" y="851"/>
                    <a:pt x="1831" y="1003"/>
                    <a:pt x="1737" y="1096"/>
                  </a:cubicBezTo>
                  <a:cubicBezTo>
                    <a:pt x="1644" y="1189"/>
                    <a:pt x="1493" y="1189"/>
                    <a:pt x="1399" y="1096"/>
                  </a:cubicBezTo>
                  <a:cubicBezTo>
                    <a:pt x="1261" y="958"/>
                    <a:pt x="1261" y="958"/>
                    <a:pt x="1261" y="958"/>
                  </a:cubicBezTo>
                  <a:cubicBezTo>
                    <a:pt x="1261" y="1713"/>
                    <a:pt x="1261" y="1713"/>
                    <a:pt x="1261" y="1713"/>
                  </a:cubicBezTo>
                  <a:cubicBezTo>
                    <a:pt x="1261" y="1831"/>
                    <a:pt x="1165" y="1927"/>
                    <a:pt x="1047" y="1927"/>
                  </a:cubicBezTo>
                  <a:cubicBezTo>
                    <a:pt x="929" y="1927"/>
                    <a:pt x="833" y="1831"/>
                    <a:pt x="833" y="1713"/>
                  </a:cubicBezTo>
                  <a:cubicBezTo>
                    <a:pt x="833" y="957"/>
                    <a:pt x="833" y="957"/>
                    <a:pt x="833" y="957"/>
                  </a:cubicBezTo>
                  <a:cubicBezTo>
                    <a:pt x="694" y="1096"/>
                    <a:pt x="694" y="1096"/>
                    <a:pt x="694" y="1096"/>
                  </a:cubicBezTo>
                  <a:cubicBezTo>
                    <a:pt x="600" y="1189"/>
                    <a:pt x="449" y="1189"/>
                    <a:pt x="356" y="1096"/>
                  </a:cubicBezTo>
                  <a:cubicBezTo>
                    <a:pt x="262" y="1002"/>
                    <a:pt x="262" y="851"/>
                    <a:pt x="355" y="758"/>
                  </a:cubicBez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5309" name="Freeform 6"/>
            <p:cNvSpPr>
              <a:spLocks noEditPoints="1"/>
            </p:cNvSpPr>
            <p:nvPr/>
          </p:nvSpPr>
          <p:spPr bwMode="auto">
            <a:xfrm rot="2700000">
              <a:off x="6400031" y="3784586"/>
              <a:ext cx="156753" cy="156528"/>
            </a:xfrm>
            <a:custGeom>
              <a:avLst/>
              <a:gdLst>
                <a:gd name="T0" fmla="*/ 0 w 2093"/>
                <a:gd name="T1" fmla="*/ 1046 h 2093"/>
                <a:gd name="T2" fmla="*/ 1046 w 2093"/>
                <a:gd name="T3" fmla="*/ 2093 h 2093"/>
                <a:gd name="T4" fmla="*/ 2093 w 2093"/>
                <a:gd name="T5" fmla="*/ 1046 h 2093"/>
                <a:gd name="T6" fmla="*/ 1046 w 2093"/>
                <a:gd name="T7" fmla="*/ 0 h 2093"/>
                <a:gd name="T8" fmla="*/ 0 w 2093"/>
                <a:gd name="T9" fmla="*/ 1046 h 2093"/>
                <a:gd name="T10" fmla="*/ 355 w 2093"/>
                <a:gd name="T11" fmla="*/ 758 h 2093"/>
                <a:gd name="T12" fmla="*/ 875 w 2093"/>
                <a:gd name="T13" fmla="*/ 238 h 2093"/>
                <a:gd name="T14" fmla="*/ 983 w 2093"/>
                <a:gd name="T15" fmla="*/ 176 h 2093"/>
                <a:gd name="T16" fmla="*/ 1047 w 2093"/>
                <a:gd name="T17" fmla="*/ 166 h 2093"/>
                <a:gd name="T18" fmla="*/ 1113 w 2093"/>
                <a:gd name="T19" fmla="*/ 177 h 2093"/>
                <a:gd name="T20" fmla="*/ 1218 w 2093"/>
                <a:gd name="T21" fmla="*/ 238 h 2093"/>
                <a:gd name="T22" fmla="*/ 1737 w 2093"/>
                <a:gd name="T23" fmla="*/ 758 h 2093"/>
                <a:gd name="T24" fmla="*/ 1737 w 2093"/>
                <a:gd name="T25" fmla="*/ 1096 h 2093"/>
                <a:gd name="T26" fmla="*/ 1399 w 2093"/>
                <a:gd name="T27" fmla="*/ 1096 h 2093"/>
                <a:gd name="T28" fmla="*/ 1261 w 2093"/>
                <a:gd name="T29" fmla="*/ 958 h 2093"/>
                <a:gd name="T30" fmla="*/ 1261 w 2093"/>
                <a:gd name="T31" fmla="*/ 1713 h 2093"/>
                <a:gd name="T32" fmla="*/ 1047 w 2093"/>
                <a:gd name="T33" fmla="*/ 1927 h 2093"/>
                <a:gd name="T34" fmla="*/ 833 w 2093"/>
                <a:gd name="T35" fmla="*/ 1713 h 2093"/>
                <a:gd name="T36" fmla="*/ 833 w 2093"/>
                <a:gd name="T37" fmla="*/ 957 h 2093"/>
                <a:gd name="T38" fmla="*/ 694 w 2093"/>
                <a:gd name="T39" fmla="*/ 1096 h 2093"/>
                <a:gd name="T40" fmla="*/ 356 w 2093"/>
                <a:gd name="T41" fmla="*/ 1096 h 2093"/>
                <a:gd name="T42" fmla="*/ 355 w 2093"/>
                <a:gd name="T43" fmla="*/ 758 h 209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093"/>
                <a:gd name="T67" fmla="*/ 0 h 2093"/>
                <a:gd name="T68" fmla="*/ 2093 w 2093"/>
                <a:gd name="T69" fmla="*/ 2093 h 209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093" h="2093">
                  <a:moveTo>
                    <a:pt x="0" y="1046"/>
                  </a:moveTo>
                  <a:cubicBezTo>
                    <a:pt x="0" y="1625"/>
                    <a:pt x="468" y="2093"/>
                    <a:pt x="1046" y="2093"/>
                  </a:cubicBezTo>
                  <a:cubicBezTo>
                    <a:pt x="1625" y="2093"/>
                    <a:pt x="2093" y="1625"/>
                    <a:pt x="2093" y="1046"/>
                  </a:cubicBezTo>
                  <a:cubicBezTo>
                    <a:pt x="2093" y="468"/>
                    <a:pt x="1625" y="0"/>
                    <a:pt x="1046" y="0"/>
                  </a:cubicBezTo>
                  <a:cubicBezTo>
                    <a:pt x="468" y="0"/>
                    <a:pt x="0" y="468"/>
                    <a:pt x="0" y="1046"/>
                  </a:cubicBezTo>
                  <a:close/>
                  <a:moveTo>
                    <a:pt x="355" y="758"/>
                  </a:moveTo>
                  <a:cubicBezTo>
                    <a:pt x="875" y="238"/>
                    <a:pt x="875" y="238"/>
                    <a:pt x="875" y="238"/>
                  </a:cubicBezTo>
                  <a:cubicBezTo>
                    <a:pt x="906" y="207"/>
                    <a:pt x="944" y="186"/>
                    <a:pt x="983" y="176"/>
                  </a:cubicBezTo>
                  <a:cubicBezTo>
                    <a:pt x="1003" y="170"/>
                    <a:pt x="1025" y="166"/>
                    <a:pt x="1047" y="166"/>
                  </a:cubicBezTo>
                  <a:cubicBezTo>
                    <a:pt x="1070" y="166"/>
                    <a:pt x="1092" y="170"/>
                    <a:pt x="1113" y="177"/>
                  </a:cubicBezTo>
                  <a:cubicBezTo>
                    <a:pt x="1151" y="187"/>
                    <a:pt x="1188" y="208"/>
                    <a:pt x="1218" y="238"/>
                  </a:cubicBezTo>
                  <a:cubicBezTo>
                    <a:pt x="1737" y="758"/>
                    <a:pt x="1737" y="758"/>
                    <a:pt x="1737" y="758"/>
                  </a:cubicBezTo>
                  <a:cubicBezTo>
                    <a:pt x="1831" y="851"/>
                    <a:pt x="1831" y="1003"/>
                    <a:pt x="1737" y="1096"/>
                  </a:cubicBezTo>
                  <a:cubicBezTo>
                    <a:pt x="1644" y="1189"/>
                    <a:pt x="1493" y="1189"/>
                    <a:pt x="1399" y="1096"/>
                  </a:cubicBezTo>
                  <a:cubicBezTo>
                    <a:pt x="1261" y="958"/>
                    <a:pt x="1261" y="958"/>
                    <a:pt x="1261" y="958"/>
                  </a:cubicBezTo>
                  <a:cubicBezTo>
                    <a:pt x="1261" y="1713"/>
                    <a:pt x="1261" y="1713"/>
                    <a:pt x="1261" y="1713"/>
                  </a:cubicBezTo>
                  <a:cubicBezTo>
                    <a:pt x="1261" y="1831"/>
                    <a:pt x="1165" y="1927"/>
                    <a:pt x="1047" y="1927"/>
                  </a:cubicBezTo>
                  <a:cubicBezTo>
                    <a:pt x="929" y="1927"/>
                    <a:pt x="833" y="1831"/>
                    <a:pt x="833" y="1713"/>
                  </a:cubicBezTo>
                  <a:cubicBezTo>
                    <a:pt x="833" y="957"/>
                    <a:pt x="833" y="957"/>
                    <a:pt x="833" y="957"/>
                  </a:cubicBezTo>
                  <a:cubicBezTo>
                    <a:pt x="694" y="1096"/>
                    <a:pt x="694" y="1096"/>
                    <a:pt x="694" y="1096"/>
                  </a:cubicBezTo>
                  <a:cubicBezTo>
                    <a:pt x="600" y="1189"/>
                    <a:pt x="449" y="1189"/>
                    <a:pt x="356" y="1096"/>
                  </a:cubicBezTo>
                  <a:cubicBezTo>
                    <a:pt x="262" y="1002"/>
                    <a:pt x="262" y="851"/>
                    <a:pt x="355" y="758"/>
                  </a:cubicBezTo>
                  <a:close/>
                </a:path>
              </a:pathLst>
            </a:custGeom>
            <a:solidFill>
              <a:srgbClr val="FFFFFF">
                <a:alpha val="59999"/>
              </a:srgb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55302" name="Slide Number Placeholder 3"/>
          <p:cNvSpPr txBox="1">
            <a:spLocks/>
          </p:cNvSpPr>
          <p:nvPr/>
        </p:nvSpPr>
        <p:spPr bwMode="auto">
          <a:xfrm>
            <a:off x="8686800" y="6400800"/>
            <a:ext cx="457200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fld id="{029DA159-BA76-41F4-BC62-5349FC9A5D4B}" type="slidenum">
              <a:rPr lang="hu-HU" sz="800" smtClean="0">
                <a:solidFill>
                  <a:srgbClr val="7D7D7D"/>
                </a:solidFill>
                <a:ea typeface="Arial Unicode MS" pitchFamily="34" charset="-128"/>
                <a:cs typeface="Arial Unicode MS" pitchFamily="34" charset="-128"/>
              </a:rPr>
              <a:pPr>
                <a:lnSpc>
                  <a:spcPct val="90000"/>
                </a:lnSpc>
              </a:pPr>
              <a:t>1</a:t>
            </a:fld>
            <a:endParaRPr lang="hu-HU" sz="800">
              <a:solidFill>
                <a:srgbClr val="7D7D7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873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2297113" y="-7397750"/>
            <a:ext cx="7165976" cy="1375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9874" name="Title 1"/>
          <p:cNvSpPr>
            <a:spLocks noGrp="1"/>
          </p:cNvSpPr>
          <p:nvPr>
            <p:ph type="title"/>
          </p:nvPr>
        </p:nvSpPr>
        <p:spPr>
          <a:xfrm>
            <a:off x="265113" y="919163"/>
            <a:ext cx="3605212" cy="2052637"/>
          </a:xfrm>
        </p:spPr>
        <p:txBody>
          <a:bodyPr>
            <a:noAutofit/>
          </a:bodyPr>
          <a:lstStyle/>
          <a:p>
            <a:r>
              <a:rPr lang="hu-HU" smtClean="0"/>
              <a:t>Az okostelefonok </a:t>
            </a:r>
            <a:br>
              <a:rPr lang="hu-HU" smtClean="0"/>
            </a:br>
            <a:r>
              <a:rPr lang="hu-HU" smtClean="0"/>
              <a:t>fontos hozzáférési lehetőséget jelentenek </a:t>
            </a:r>
            <a:br>
              <a:rPr lang="hu-HU" smtClean="0"/>
            </a:br>
            <a:r>
              <a:rPr lang="hu-HU" smtClean="0"/>
              <a:t>a keresésekhez </a:t>
            </a:r>
            <a:br>
              <a:rPr lang="hu-HU" smtClean="0"/>
            </a:br>
            <a:endParaRPr lang="hu-HU" smtClean="0"/>
          </a:p>
        </p:txBody>
      </p:sp>
      <p:sp>
        <p:nvSpPr>
          <p:cNvPr id="79875" name="Slide Number Placeholder 2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E349FCB5-BD5D-4BAC-9E98-9C974A70E297}" type="slidenum">
              <a:rPr lang="hu-HU"/>
              <a:pPr/>
              <a:t>10</a:t>
            </a:fld>
            <a:endParaRPr lang="hu-HU"/>
          </a:p>
        </p:txBody>
      </p:sp>
      <p:grpSp>
        <p:nvGrpSpPr>
          <p:cNvPr id="79876" name="Group 5"/>
          <p:cNvGrpSpPr>
            <a:grpSpLocks/>
          </p:cNvGrpSpPr>
          <p:nvPr/>
        </p:nvGrpSpPr>
        <p:grpSpPr bwMode="auto">
          <a:xfrm>
            <a:off x="2936875" y="4497388"/>
            <a:ext cx="741363" cy="919162"/>
            <a:chOff x="6510076" y="3881768"/>
            <a:chExt cx="742070" cy="918832"/>
          </a:xfrm>
        </p:grpSpPr>
        <p:sp>
          <p:nvSpPr>
            <p:cNvPr id="79880" name="Freeform 11"/>
            <p:cNvSpPr>
              <a:spLocks/>
            </p:cNvSpPr>
            <p:nvPr/>
          </p:nvSpPr>
          <p:spPr bwMode="auto">
            <a:xfrm>
              <a:off x="6510076" y="3881768"/>
              <a:ext cx="742070" cy="918832"/>
            </a:xfrm>
            <a:custGeom>
              <a:avLst/>
              <a:gdLst>
                <a:gd name="T0" fmla="*/ 724301 w 877"/>
                <a:gd name="T1" fmla="*/ 341812 h 1086"/>
                <a:gd name="T2" fmla="*/ 695532 w 877"/>
                <a:gd name="T3" fmla="*/ 319814 h 1086"/>
                <a:gd name="T4" fmla="*/ 649840 w 877"/>
                <a:gd name="T5" fmla="*/ 310508 h 1086"/>
                <a:gd name="T6" fmla="*/ 649840 w 877"/>
                <a:gd name="T7" fmla="*/ 310508 h 1086"/>
                <a:gd name="T8" fmla="*/ 609225 w 877"/>
                <a:gd name="T9" fmla="*/ 317276 h 1086"/>
                <a:gd name="T10" fmla="*/ 601610 w 877"/>
                <a:gd name="T11" fmla="*/ 302047 h 1086"/>
                <a:gd name="T12" fmla="*/ 572841 w 877"/>
                <a:gd name="T13" fmla="*/ 276665 h 1086"/>
                <a:gd name="T14" fmla="*/ 524611 w 877"/>
                <a:gd name="T15" fmla="*/ 266512 h 1086"/>
                <a:gd name="T16" fmla="*/ 489072 w 877"/>
                <a:gd name="T17" fmla="*/ 270742 h 1086"/>
                <a:gd name="T18" fmla="*/ 478919 w 877"/>
                <a:gd name="T19" fmla="*/ 274973 h 1086"/>
                <a:gd name="T20" fmla="*/ 448457 w 877"/>
                <a:gd name="T21" fmla="*/ 242822 h 1086"/>
                <a:gd name="T22" fmla="*/ 401919 w 877"/>
                <a:gd name="T23" fmla="*/ 230977 h 1086"/>
                <a:gd name="T24" fmla="*/ 360458 w 877"/>
                <a:gd name="T25" fmla="*/ 238592 h 1086"/>
                <a:gd name="T26" fmla="*/ 360458 w 877"/>
                <a:gd name="T27" fmla="*/ 73608 h 1086"/>
                <a:gd name="T28" fmla="*/ 346074 w 877"/>
                <a:gd name="T29" fmla="*/ 26228 h 1086"/>
                <a:gd name="T30" fmla="*/ 319843 w 877"/>
                <a:gd name="T31" fmla="*/ 6769 h 1086"/>
                <a:gd name="T32" fmla="*/ 279228 w 877"/>
                <a:gd name="T33" fmla="*/ 0 h 1086"/>
                <a:gd name="T34" fmla="*/ 239459 w 877"/>
                <a:gd name="T35" fmla="*/ 6769 h 1086"/>
                <a:gd name="T36" fmla="*/ 203921 w 877"/>
                <a:gd name="T37" fmla="*/ 38073 h 1086"/>
                <a:gd name="T38" fmla="*/ 197152 w 877"/>
                <a:gd name="T39" fmla="*/ 73608 h 1086"/>
                <a:gd name="T40" fmla="*/ 197152 w 877"/>
                <a:gd name="T41" fmla="*/ 467031 h 1086"/>
                <a:gd name="T42" fmla="*/ 152306 w 877"/>
                <a:gd name="T43" fmla="*/ 423881 h 1086"/>
                <a:gd name="T44" fmla="*/ 85461 w 877"/>
                <a:gd name="T45" fmla="*/ 398499 h 1086"/>
                <a:gd name="T46" fmla="*/ 27077 w 877"/>
                <a:gd name="T47" fmla="*/ 423035 h 1086"/>
                <a:gd name="T48" fmla="*/ 3385 w 877"/>
                <a:gd name="T49" fmla="*/ 474645 h 1086"/>
                <a:gd name="T50" fmla="*/ 26231 w 877"/>
                <a:gd name="T51" fmla="*/ 538100 h 1086"/>
                <a:gd name="T52" fmla="*/ 108307 w 877"/>
                <a:gd name="T53" fmla="*/ 632860 h 1086"/>
                <a:gd name="T54" fmla="*/ 194614 w 877"/>
                <a:gd name="T55" fmla="*/ 756386 h 1086"/>
                <a:gd name="T56" fmla="*/ 240305 w 877"/>
                <a:gd name="T57" fmla="*/ 858761 h 1086"/>
                <a:gd name="T58" fmla="*/ 260613 w 877"/>
                <a:gd name="T59" fmla="*/ 918832 h 1086"/>
                <a:gd name="T60" fmla="*/ 642225 w 877"/>
                <a:gd name="T61" fmla="*/ 918832 h 1086"/>
                <a:gd name="T62" fmla="*/ 707378 w 877"/>
                <a:gd name="T63" fmla="*/ 757232 h 1086"/>
                <a:gd name="T64" fmla="*/ 734455 w 877"/>
                <a:gd name="T65" fmla="*/ 648936 h 1086"/>
                <a:gd name="T66" fmla="*/ 742070 w 877"/>
                <a:gd name="T67" fmla="*/ 588865 h 1086"/>
                <a:gd name="T68" fmla="*/ 742070 w 877"/>
                <a:gd name="T69" fmla="*/ 378193 h 1086"/>
                <a:gd name="T70" fmla="*/ 724301 w 877"/>
                <a:gd name="T71" fmla="*/ 341812 h 108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77"/>
                <a:gd name="T109" fmla="*/ 0 h 1086"/>
                <a:gd name="T110" fmla="*/ 877 w 877"/>
                <a:gd name="T111" fmla="*/ 1086 h 108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77" h="1086">
                  <a:moveTo>
                    <a:pt x="856" y="404"/>
                  </a:moveTo>
                  <a:cubicBezTo>
                    <a:pt x="848" y="395"/>
                    <a:pt x="837" y="385"/>
                    <a:pt x="822" y="378"/>
                  </a:cubicBezTo>
                  <a:cubicBezTo>
                    <a:pt x="807" y="371"/>
                    <a:pt x="789" y="367"/>
                    <a:pt x="768" y="367"/>
                  </a:cubicBezTo>
                  <a:cubicBezTo>
                    <a:pt x="768" y="367"/>
                    <a:pt x="768" y="367"/>
                    <a:pt x="768" y="367"/>
                  </a:cubicBezTo>
                  <a:cubicBezTo>
                    <a:pt x="750" y="366"/>
                    <a:pt x="733" y="370"/>
                    <a:pt x="720" y="375"/>
                  </a:cubicBezTo>
                  <a:cubicBezTo>
                    <a:pt x="718" y="370"/>
                    <a:pt x="715" y="364"/>
                    <a:pt x="711" y="357"/>
                  </a:cubicBezTo>
                  <a:cubicBezTo>
                    <a:pt x="703" y="346"/>
                    <a:pt x="692" y="335"/>
                    <a:pt x="677" y="327"/>
                  </a:cubicBezTo>
                  <a:cubicBezTo>
                    <a:pt x="661" y="320"/>
                    <a:pt x="642" y="315"/>
                    <a:pt x="620" y="315"/>
                  </a:cubicBezTo>
                  <a:cubicBezTo>
                    <a:pt x="604" y="315"/>
                    <a:pt x="590" y="317"/>
                    <a:pt x="578" y="320"/>
                  </a:cubicBezTo>
                  <a:cubicBezTo>
                    <a:pt x="574" y="322"/>
                    <a:pt x="570" y="323"/>
                    <a:pt x="566" y="325"/>
                  </a:cubicBezTo>
                  <a:cubicBezTo>
                    <a:pt x="565" y="323"/>
                    <a:pt x="545" y="296"/>
                    <a:pt x="530" y="287"/>
                  </a:cubicBezTo>
                  <a:cubicBezTo>
                    <a:pt x="516" y="278"/>
                    <a:pt x="497" y="273"/>
                    <a:pt x="475" y="273"/>
                  </a:cubicBezTo>
                  <a:cubicBezTo>
                    <a:pt x="457" y="273"/>
                    <a:pt x="440" y="276"/>
                    <a:pt x="426" y="282"/>
                  </a:cubicBezTo>
                  <a:cubicBezTo>
                    <a:pt x="426" y="87"/>
                    <a:pt x="426" y="87"/>
                    <a:pt x="426" y="87"/>
                  </a:cubicBezTo>
                  <a:cubicBezTo>
                    <a:pt x="426" y="85"/>
                    <a:pt x="425" y="50"/>
                    <a:pt x="409" y="31"/>
                  </a:cubicBezTo>
                  <a:cubicBezTo>
                    <a:pt x="402" y="22"/>
                    <a:pt x="391" y="14"/>
                    <a:pt x="378" y="8"/>
                  </a:cubicBezTo>
                  <a:cubicBezTo>
                    <a:pt x="364" y="3"/>
                    <a:pt x="349" y="0"/>
                    <a:pt x="330" y="0"/>
                  </a:cubicBezTo>
                  <a:cubicBezTo>
                    <a:pt x="312" y="0"/>
                    <a:pt x="296" y="3"/>
                    <a:pt x="283" y="8"/>
                  </a:cubicBezTo>
                  <a:cubicBezTo>
                    <a:pt x="263" y="16"/>
                    <a:pt x="248" y="30"/>
                    <a:pt x="241" y="45"/>
                  </a:cubicBezTo>
                  <a:cubicBezTo>
                    <a:pt x="234" y="59"/>
                    <a:pt x="233" y="85"/>
                    <a:pt x="233" y="87"/>
                  </a:cubicBezTo>
                  <a:cubicBezTo>
                    <a:pt x="233" y="552"/>
                    <a:pt x="233" y="552"/>
                    <a:pt x="233" y="552"/>
                  </a:cubicBezTo>
                  <a:cubicBezTo>
                    <a:pt x="214" y="530"/>
                    <a:pt x="194" y="512"/>
                    <a:pt x="180" y="501"/>
                  </a:cubicBezTo>
                  <a:cubicBezTo>
                    <a:pt x="163" y="489"/>
                    <a:pt x="137" y="471"/>
                    <a:pt x="101" y="471"/>
                  </a:cubicBezTo>
                  <a:cubicBezTo>
                    <a:pt x="78" y="470"/>
                    <a:pt x="52" y="480"/>
                    <a:pt x="32" y="500"/>
                  </a:cubicBezTo>
                  <a:cubicBezTo>
                    <a:pt x="12" y="520"/>
                    <a:pt x="6" y="541"/>
                    <a:pt x="4" y="561"/>
                  </a:cubicBezTo>
                  <a:cubicBezTo>
                    <a:pt x="0" y="603"/>
                    <a:pt x="26" y="631"/>
                    <a:pt x="31" y="636"/>
                  </a:cubicBezTo>
                  <a:cubicBezTo>
                    <a:pt x="46" y="653"/>
                    <a:pt x="87" y="698"/>
                    <a:pt x="128" y="748"/>
                  </a:cubicBezTo>
                  <a:cubicBezTo>
                    <a:pt x="169" y="799"/>
                    <a:pt x="212" y="856"/>
                    <a:pt x="230" y="894"/>
                  </a:cubicBezTo>
                  <a:cubicBezTo>
                    <a:pt x="254" y="941"/>
                    <a:pt x="272" y="984"/>
                    <a:pt x="284" y="1015"/>
                  </a:cubicBezTo>
                  <a:cubicBezTo>
                    <a:pt x="290" y="1030"/>
                    <a:pt x="308" y="1086"/>
                    <a:pt x="308" y="1086"/>
                  </a:cubicBezTo>
                  <a:cubicBezTo>
                    <a:pt x="759" y="1086"/>
                    <a:pt x="759" y="1086"/>
                    <a:pt x="759" y="1086"/>
                  </a:cubicBezTo>
                  <a:cubicBezTo>
                    <a:pt x="759" y="1086"/>
                    <a:pt x="805" y="994"/>
                    <a:pt x="836" y="895"/>
                  </a:cubicBezTo>
                  <a:cubicBezTo>
                    <a:pt x="852" y="846"/>
                    <a:pt x="862" y="801"/>
                    <a:pt x="868" y="767"/>
                  </a:cubicBezTo>
                  <a:cubicBezTo>
                    <a:pt x="871" y="750"/>
                    <a:pt x="877" y="703"/>
                    <a:pt x="877" y="696"/>
                  </a:cubicBezTo>
                  <a:cubicBezTo>
                    <a:pt x="877" y="447"/>
                    <a:pt x="877" y="447"/>
                    <a:pt x="877" y="447"/>
                  </a:cubicBezTo>
                  <a:cubicBezTo>
                    <a:pt x="877" y="447"/>
                    <a:pt x="872" y="423"/>
                    <a:pt x="856" y="404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9881" name="Freeform 12"/>
            <p:cNvSpPr>
              <a:spLocks/>
            </p:cNvSpPr>
            <p:nvPr/>
          </p:nvSpPr>
          <p:spPr bwMode="auto">
            <a:xfrm>
              <a:off x="6563427" y="3932425"/>
              <a:ext cx="638062" cy="817517"/>
            </a:xfrm>
            <a:custGeom>
              <a:avLst/>
              <a:gdLst>
                <a:gd name="T0" fmla="*/ 636370 w 754"/>
                <a:gd name="T1" fmla="*/ 555167 h 966"/>
                <a:gd name="T2" fmla="*/ 568671 w 754"/>
                <a:gd name="T3" fmla="*/ 791282 h 966"/>
                <a:gd name="T4" fmla="*/ 243716 w 754"/>
                <a:gd name="T5" fmla="*/ 817517 h 966"/>
                <a:gd name="T6" fmla="*/ 78700 w 754"/>
                <a:gd name="T7" fmla="*/ 532317 h 966"/>
                <a:gd name="T8" fmla="*/ 0 w 754"/>
                <a:gd name="T9" fmla="*/ 433301 h 966"/>
                <a:gd name="T10" fmla="*/ 32157 w 754"/>
                <a:gd name="T11" fmla="*/ 398603 h 966"/>
                <a:gd name="T12" fmla="*/ 116781 w 754"/>
                <a:gd name="T13" fmla="*/ 461229 h 966"/>
                <a:gd name="T14" fmla="*/ 143014 w 754"/>
                <a:gd name="T15" fmla="*/ 500158 h 966"/>
                <a:gd name="T16" fmla="*/ 169247 w 754"/>
                <a:gd name="T17" fmla="*/ 531471 h 966"/>
                <a:gd name="T18" fmla="*/ 194634 w 754"/>
                <a:gd name="T19" fmla="*/ 506082 h 966"/>
                <a:gd name="T20" fmla="*/ 194634 w 754"/>
                <a:gd name="T21" fmla="*/ 19465 h 966"/>
                <a:gd name="T22" fmla="*/ 194634 w 754"/>
                <a:gd name="T23" fmla="*/ 16926 h 966"/>
                <a:gd name="T24" fmla="*/ 204789 w 754"/>
                <a:gd name="T25" fmla="*/ 3385 h 966"/>
                <a:gd name="T26" fmla="*/ 247101 w 754"/>
                <a:gd name="T27" fmla="*/ 3385 h 966"/>
                <a:gd name="T28" fmla="*/ 257256 w 754"/>
                <a:gd name="T29" fmla="*/ 16926 h 966"/>
                <a:gd name="T30" fmla="*/ 256410 w 754"/>
                <a:gd name="T31" fmla="*/ 19465 h 966"/>
                <a:gd name="T32" fmla="*/ 307184 w 754"/>
                <a:gd name="T33" fmla="*/ 363905 h 966"/>
                <a:gd name="T34" fmla="*/ 308876 w 754"/>
                <a:gd name="T35" fmla="*/ 271659 h 966"/>
                <a:gd name="T36" fmla="*/ 310569 w 754"/>
                <a:gd name="T37" fmla="*/ 257272 h 966"/>
                <a:gd name="T38" fmla="*/ 348649 w 754"/>
                <a:gd name="T39" fmla="*/ 231037 h 966"/>
                <a:gd name="T40" fmla="*/ 382499 w 754"/>
                <a:gd name="T41" fmla="*/ 251348 h 966"/>
                <a:gd name="T42" fmla="*/ 384191 w 754"/>
                <a:gd name="T43" fmla="*/ 260658 h 966"/>
                <a:gd name="T44" fmla="*/ 434965 w 754"/>
                <a:gd name="T45" fmla="*/ 386755 h 966"/>
                <a:gd name="T46" fmla="*/ 435812 w 754"/>
                <a:gd name="T47" fmla="*/ 290278 h 966"/>
                <a:gd name="T48" fmla="*/ 444274 w 754"/>
                <a:gd name="T49" fmla="*/ 270813 h 966"/>
                <a:gd name="T50" fmla="*/ 496741 w 754"/>
                <a:gd name="T51" fmla="*/ 271659 h 966"/>
                <a:gd name="T52" fmla="*/ 509434 w 754"/>
                <a:gd name="T53" fmla="*/ 289432 h 966"/>
                <a:gd name="T54" fmla="*/ 510280 w 754"/>
                <a:gd name="T55" fmla="*/ 324129 h 966"/>
                <a:gd name="T56" fmla="*/ 510280 w 754"/>
                <a:gd name="T57" fmla="*/ 327515 h 966"/>
                <a:gd name="T58" fmla="*/ 561055 w 754"/>
                <a:gd name="T59" fmla="*/ 402834 h 966"/>
                <a:gd name="T60" fmla="*/ 565286 w 754"/>
                <a:gd name="T61" fmla="*/ 319898 h 966"/>
                <a:gd name="T62" fmla="*/ 597443 w 754"/>
                <a:gd name="T63" fmla="*/ 310589 h 966"/>
                <a:gd name="T64" fmla="*/ 635523 w 754"/>
                <a:gd name="T65" fmla="*/ 328361 h 966"/>
                <a:gd name="T66" fmla="*/ 638062 w 754"/>
                <a:gd name="T67" fmla="*/ 538241 h 96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754"/>
                <a:gd name="T103" fmla="*/ 0 h 966"/>
                <a:gd name="T104" fmla="*/ 754 w 754"/>
                <a:gd name="T105" fmla="*/ 966 h 96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754" h="966">
                  <a:moveTo>
                    <a:pt x="754" y="636"/>
                  </a:moveTo>
                  <a:cubicBezTo>
                    <a:pt x="754" y="638"/>
                    <a:pt x="753" y="646"/>
                    <a:pt x="752" y="656"/>
                  </a:cubicBezTo>
                  <a:cubicBezTo>
                    <a:pt x="748" y="688"/>
                    <a:pt x="738" y="747"/>
                    <a:pt x="716" y="817"/>
                  </a:cubicBezTo>
                  <a:cubicBezTo>
                    <a:pt x="701" y="864"/>
                    <a:pt x="685" y="906"/>
                    <a:pt x="672" y="935"/>
                  </a:cubicBezTo>
                  <a:cubicBezTo>
                    <a:pt x="667" y="948"/>
                    <a:pt x="662" y="958"/>
                    <a:pt x="659" y="966"/>
                  </a:cubicBezTo>
                  <a:cubicBezTo>
                    <a:pt x="288" y="966"/>
                    <a:pt x="288" y="966"/>
                    <a:pt x="288" y="966"/>
                  </a:cubicBezTo>
                  <a:cubicBezTo>
                    <a:pt x="278" y="935"/>
                    <a:pt x="256" y="876"/>
                    <a:pt x="221" y="807"/>
                  </a:cubicBezTo>
                  <a:cubicBezTo>
                    <a:pt x="194" y="753"/>
                    <a:pt x="141" y="686"/>
                    <a:pt x="93" y="629"/>
                  </a:cubicBezTo>
                  <a:cubicBezTo>
                    <a:pt x="53" y="581"/>
                    <a:pt x="18" y="542"/>
                    <a:pt x="8" y="531"/>
                  </a:cubicBezTo>
                  <a:cubicBezTo>
                    <a:pt x="7" y="529"/>
                    <a:pt x="0" y="519"/>
                    <a:pt x="0" y="512"/>
                  </a:cubicBezTo>
                  <a:cubicBezTo>
                    <a:pt x="0" y="504"/>
                    <a:pt x="4" y="491"/>
                    <a:pt x="12" y="483"/>
                  </a:cubicBezTo>
                  <a:cubicBezTo>
                    <a:pt x="22" y="473"/>
                    <a:pt x="29" y="471"/>
                    <a:pt x="38" y="471"/>
                  </a:cubicBezTo>
                  <a:cubicBezTo>
                    <a:pt x="51" y="470"/>
                    <a:pt x="69" y="480"/>
                    <a:pt x="80" y="488"/>
                  </a:cubicBezTo>
                  <a:cubicBezTo>
                    <a:pt x="93" y="499"/>
                    <a:pt x="118" y="522"/>
                    <a:pt x="138" y="545"/>
                  </a:cubicBezTo>
                  <a:cubicBezTo>
                    <a:pt x="148" y="557"/>
                    <a:pt x="157" y="569"/>
                    <a:pt x="163" y="579"/>
                  </a:cubicBezTo>
                  <a:cubicBezTo>
                    <a:pt x="166" y="584"/>
                    <a:pt x="168" y="588"/>
                    <a:pt x="169" y="591"/>
                  </a:cubicBezTo>
                  <a:cubicBezTo>
                    <a:pt x="170" y="593"/>
                    <a:pt x="177" y="617"/>
                    <a:pt x="179" y="619"/>
                  </a:cubicBezTo>
                  <a:cubicBezTo>
                    <a:pt x="185" y="624"/>
                    <a:pt x="192" y="628"/>
                    <a:pt x="200" y="628"/>
                  </a:cubicBezTo>
                  <a:cubicBezTo>
                    <a:pt x="208" y="628"/>
                    <a:pt x="216" y="624"/>
                    <a:pt x="222" y="619"/>
                  </a:cubicBezTo>
                  <a:cubicBezTo>
                    <a:pt x="227" y="613"/>
                    <a:pt x="230" y="606"/>
                    <a:pt x="230" y="598"/>
                  </a:cubicBezTo>
                  <a:cubicBezTo>
                    <a:pt x="230" y="598"/>
                    <a:pt x="230" y="455"/>
                    <a:pt x="230" y="311"/>
                  </a:cubicBezTo>
                  <a:cubicBezTo>
                    <a:pt x="230" y="23"/>
                    <a:pt x="230" y="23"/>
                    <a:pt x="230" y="23"/>
                  </a:cubicBezTo>
                  <a:cubicBezTo>
                    <a:pt x="230" y="21"/>
                    <a:pt x="230" y="21"/>
                    <a:pt x="230" y="21"/>
                  </a:cubicBezTo>
                  <a:cubicBezTo>
                    <a:pt x="230" y="21"/>
                    <a:pt x="230" y="20"/>
                    <a:pt x="230" y="20"/>
                  </a:cubicBezTo>
                  <a:cubicBezTo>
                    <a:pt x="230" y="17"/>
                    <a:pt x="231" y="12"/>
                    <a:pt x="234" y="9"/>
                  </a:cubicBezTo>
                  <a:cubicBezTo>
                    <a:pt x="235" y="8"/>
                    <a:pt x="237" y="6"/>
                    <a:pt x="242" y="4"/>
                  </a:cubicBezTo>
                  <a:cubicBezTo>
                    <a:pt x="247" y="2"/>
                    <a:pt x="255" y="0"/>
                    <a:pt x="267" y="0"/>
                  </a:cubicBezTo>
                  <a:cubicBezTo>
                    <a:pt x="280" y="0"/>
                    <a:pt x="287" y="2"/>
                    <a:pt x="292" y="4"/>
                  </a:cubicBezTo>
                  <a:cubicBezTo>
                    <a:pt x="299" y="7"/>
                    <a:pt x="300" y="9"/>
                    <a:pt x="302" y="12"/>
                  </a:cubicBezTo>
                  <a:cubicBezTo>
                    <a:pt x="303" y="14"/>
                    <a:pt x="304" y="18"/>
                    <a:pt x="304" y="20"/>
                  </a:cubicBezTo>
                  <a:cubicBezTo>
                    <a:pt x="304" y="21"/>
                    <a:pt x="304" y="21"/>
                    <a:pt x="304" y="21"/>
                  </a:cubicBezTo>
                  <a:cubicBezTo>
                    <a:pt x="303" y="23"/>
                    <a:pt x="303" y="23"/>
                    <a:pt x="303" y="23"/>
                  </a:cubicBezTo>
                  <a:cubicBezTo>
                    <a:pt x="303" y="430"/>
                    <a:pt x="303" y="430"/>
                    <a:pt x="303" y="430"/>
                  </a:cubicBezTo>
                  <a:cubicBezTo>
                    <a:pt x="363" y="430"/>
                    <a:pt x="363" y="430"/>
                    <a:pt x="363" y="430"/>
                  </a:cubicBezTo>
                  <a:cubicBezTo>
                    <a:pt x="363" y="321"/>
                    <a:pt x="363" y="321"/>
                    <a:pt x="363" y="321"/>
                  </a:cubicBezTo>
                  <a:cubicBezTo>
                    <a:pt x="365" y="321"/>
                    <a:pt x="365" y="321"/>
                    <a:pt x="365" y="321"/>
                  </a:cubicBezTo>
                  <a:cubicBezTo>
                    <a:pt x="365" y="321"/>
                    <a:pt x="365" y="321"/>
                    <a:pt x="365" y="321"/>
                  </a:cubicBezTo>
                  <a:cubicBezTo>
                    <a:pt x="365" y="315"/>
                    <a:pt x="366" y="310"/>
                    <a:pt x="367" y="304"/>
                  </a:cubicBezTo>
                  <a:cubicBezTo>
                    <a:pt x="368" y="295"/>
                    <a:pt x="371" y="288"/>
                    <a:pt x="376" y="283"/>
                  </a:cubicBezTo>
                  <a:cubicBezTo>
                    <a:pt x="381" y="279"/>
                    <a:pt x="390" y="273"/>
                    <a:pt x="412" y="273"/>
                  </a:cubicBezTo>
                  <a:cubicBezTo>
                    <a:pt x="424" y="273"/>
                    <a:pt x="432" y="276"/>
                    <a:pt x="437" y="279"/>
                  </a:cubicBezTo>
                  <a:cubicBezTo>
                    <a:pt x="444" y="283"/>
                    <a:pt x="449" y="290"/>
                    <a:pt x="452" y="297"/>
                  </a:cubicBezTo>
                  <a:cubicBezTo>
                    <a:pt x="453" y="301"/>
                    <a:pt x="454" y="304"/>
                    <a:pt x="454" y="306"/>
                  </a:cubicBezTo>
                  <a:cubicBezTo>
                    <a:pt x="454" y="307"/>
                    <a:pt x="454" y="308"/>
                    <a:pt x="454" y="308"/>
                  </a:cubicBezTo>
                  <a:cubicBezTo>
                    <a:pt x="454" y="457"/>
                    <a:pt x="454" y="457"/>
                    <a:pt x="454" y="457"/>
                  </a:cubicBezTo>
                  <a:cubicBezTo>
                    <a:pt x="514" y="457"/>
                    <a:pt x="514" y="457"/>
                    <a:pt x="514" y="457"/>
                  </a:cubicBezTo>
                  <a:cubicBezTo>
                    <a:pt x="514" y="343"/>
                    <a:pt x="514" y="343"/>
                    <a:pt x="514" y="343"/>
                  </a:cubicBezTo>
                  <a:cubicBezTo>
                    <a:pt x="515" y="343"/>
                    <a:pt x="515" y="343"/>
                    <a:pt x="515" y="343"/>
                  </a:cubicBezTo>
                  <a:cubicBezTo>
                    <a:pt x="516" y="336"/>
                    <a:pt x="517" y="332"/>
                    <a:pt x="518" y="329"/>
                  </a:cubicBezTo>
                  <a:cubicBezTo>
                    <a:pt x="520" y="324"/>
                    <a:pt x="521" y="323"/>
                    <a:pt x="525" y="320"/>
                  </a:cubicBezTo>
                  <a:cubicBezTo>
                    <a:pt x="529" y="318"/>
                    <a:pt x="539" y="315"/>
                    <a:pt x="557" y="315"/>
                  </a:cubicBezTo>
                  <a:cubicBezTo>
                    <a:pt x="572" y="315"/>
                    <a:pt x="581" y="318"/>
                    <a:pt x="587" y="321"/>
                  </a:cubicBezTo>
                  <a:cubicBezTo>
                    <a:pt x="595" y="325"/>
                    <a:pt x="598" y="331"/>
                    <a:pt x="601" y="336"/>
                  </a:cubicBezTo>
                  <a:cubicBezTo>
                    <a:pt x="602" y="338"/>
                    <a:pt x="602" y="341"/>
                    <a:pt x="602" y="342"/>
                  </a:cubicBezTo>
                  <a:cubicBezTo>
                    <a:pt x="602" y="343"/>
                    <a:pt x="603" y="343"/>
                    <a:pt x="603" y="344"/>
                  </a:cubicBezTo>
                  <a:cubicBezTo>
                    <a:pt x="603" y="383"/>
                    <a:pt x="603" y="383"/>
                    <a:pt x="603" y="383"/>
                  </a:cubicBezTo>
                  <a:cubicBezTo>
                    <a:pt x="602" y="384"/>
                    <a:pt x="602" y="386"/>
                    <a:pt x="602" y="387"/>
                  </a:cubicBezTo>
                  <a:cubicBezTo>
                    <a:pt x="603" y="387"/>
                    <a:pt x="603" y="387"/>
                    <a:pt x="603" y="387"/>
                  </a:cubicBezTo>
                  <a:cubicBezTo>
                    <a:pt x="603" y="476"/>
                    <a:pt x="603" y="476"/>
                    <a:pt x="603" y="476"/>
                  </a:cubicBezTo>
                  <a:cubicBezTo>
                    <a:pt x="663" y="476"/>
                    <a:pt x="663" y="476"/>
                    <a:pt x="663" y="476"/>
                  </a:cubicBezTo>
                  <a:cubicBezTo>
                    <a:pt x="663" y="387"/>
                    <a:pt x="663" y="387"/>
                    <a:pt x="663" y="387"/>
                  </a:cubicBezTo>
                  <a:cubicBezTo>
                    <a:pt x="663" y="385"/>
                    <a:pt x="665" y="381"/>
                    <a:pt x="668" y="378"/>
                  </a:cubicBezTo>
                  <a:cubicBezTo>
                    <a:pt x="673" y="373"/>
                    <a:pt x="681" y="367"/>
                    <a:pt x="705" y="367"/>
                  </a:cubicBezTo>
                  <a:cubicBezTo>
                    <a:pt x="706" y="367"/>
                    <a:pt x="706" y="367"/>
                    <a:pt x="706" y="367"/>
                  </a:cubicBezTo>
                  <a:cubicBezTo>
                    <a:pt x="718" y="367"/>
                    <a:pt x="727" y="369"/>
                    <a:pt x="733" y="372"/>
                  </a:cubicBezTo>
                  <a:cubicBezTo>
                    <a:pt x="742" y="377"/>
                    <a:pt x="747" y="383"/>
                    <a:pt x="751" y="388"/>
                  </a:cubicBezTo>
                  <a:cubicBezTo>
                    <a:pt x="752" y="391"/>
                    <a:pt x="753" y="393"/>
                    <a:pt x="754" y="395"/>
                  </a:cubicBezTo>
                  <a:lnTo>
                    <a:pt x="754" y="636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79877" name="TextBox 8"/>
          <p:cNvSpPr txBox="1">
            <a:spLocks noChangeArrowheads="1"/>
          </p:cNvSpPr>
          <p:nvPr/>
        </p:nvSpPr>
        <p:spPr bwMode="auto">
          <a:xfrm>
            <a:off x="5059363" y="2514600"/>
            <a:ext cx="3108325" cy="157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bIns="0">
            <a:noAutofit/>
          </a:bodyPr>
          <a:lstStyle/>
          <a:p>
            <a:pPr marL="106363" indent="-106363" eaLnBrk="0" hangingPunct="0">
              <a:lnSpc>
                <a:spcPct val="90000"/>
              </a:lnSpc>
              <a:spcBef>
                <a:spcPts val="563"/>
              </a:spcBef>
            </a:pPr>
            <a:r>
              <a:rPr lang="hu-HU" sz="11500" b="1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47%</a:t>
            </a:r>
          </a:p>
        </p:txBody>
      </p:sp>
      <p:sp>
        <p:nvSpPr>
          <p:cNvPr id="79878" name="TextBox 9"/>
          <p:cNvSpPr txBox="1">
            <a:spLocks noChangeArrowheads="1"/>
          </p:cNvSpPr>
          <p:nvPr/>
        </p:nvSpPr>
        <p:spPr bwMode="auto">
          <a:xfrm>
            <a:off x="5207000" y="4011613"/>
            <a:ext cx="3130550" cy="115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>
            <a:noAutofit/>
          </a:bodyPr>
          <a:lstStyle/>
          <a:p>
            <a:pPr>
              <a:lnSpc>
                <a:spcPct val="90000"/>
              </a:lnSpc>
            </a:pPr>
            <a:r>
              <a:rPr lang="hu-HU" sz="2800">
                <a:solidFill>
                  <a:srgbClr val="808388"/>
                </a:solidFill>
                <a:ea typeface="Arial Unicode MS" pitchFamily="34" charset="-128"/>
                <a:cs typeface="Arial Unicode MS" pitchFamily="34" charset="-128"/>
              </a:rPr>
              <a:t>végez keresést okostelefonján </a:t>
            </a:r>
            <a:r>
              <a:rPr lang="hu-HU" sz="2800" b="1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minden nap</a:t>
            </a:r>
          </a:p>
        </p:txBody>
      </p:sp>
      <p:sp>
        <p:nvSpPr>
          <p:cNvPr id="79879" name="TextBox 7"/>
          <p:cNvSpPr txBox="1">
            <a:spLocks noChangeArrowheads="1"/>
          </p:cNvSpPr>
          <p:nvPr/>
        </p:nvSpPr>
        <p:spPr bwMode="auto">
          <a:xfrm>
            <a:off x="487363" y="6359525"/>
            <a:ext cx="65151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5000"/>
              </a:lnSpc>
              <a:tabLst>
                <a:tab pos="576263" algn="l"/>
              </a:tabLst>
            </a:pP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Alapja: 	Okostelefon-használók, akik az internetet általánosságban használják, és akik okostelefonjukon keresőmotor </a:t>
            </a: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	segítségével 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végeznek keresést, n=912</a:t>
            </a:r>
          </a:p>
          <a:p>
            <a:pPr>
              <a:lnSpc>
                <a:spcPct val="95000"/>
              </a:lnSpc>
              <a:tabLst>
                <a:tab pos="576263" algn="l"/>
              </a:tabLst>
            </a:pP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31. </a:t>
            </a: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kérdés: 	Milyen 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gyakran végez keresést (Google, Yahoo!, Bing stb. keresővel) okostelefonján?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25" name="Picture 2" descr="Z:\GGL\22944_smartphone_country_report_dai\Source\JPG\DIVIDERS\BLU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42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758BFE05-7F74-496F-AFEB-1A239F6AEA09}" type="slidenum">
              <a:rPr lang="hu-HU"/>
              <a:pPr/>
              <a:t>11</a:t>
            </a:fld>
            <a:endParaRPr lang="hu-HU"/>
          </a:p>
        </p:txBody>
      </p:sp>
      <p:sp>
        <p:nvSpPr>
          <p:cNvPr id="103427" name="Subtitle 1"/>
          <p:cNvSpPr>
            <a:spLocks noGrp="1"/>
          </p:cNvSpPr>
          <p:nvPr>
            <p:ph type="subTitle" idx="4294967295"/>
          </p:nvPr>
        </p:nvSpPr>
        <p:spPr>
          <a:xfrm>
            <a:off x="0" y="3954463"/>
            <a:ext cx="3494088" cy="619125"/>
          </a:xfrm>
        </p:spPr>
        <p:txBody>
          <a:bodyPr>
            <a:noAutofit/>
          </a:bodyPr>
          <a:lstStyle/>
          <a:p>
            <a:pPr marL="0" indent="0"/>
            <a:r>
              <a:rPr lang="hu-HU" smtClean="0"/>
              <a:t> </a:t>
            </a:r>
          </a:p>
        </p:txBody>
      </p:sp>
      <p:grpSp>
        <p:nvGrpSpPr>
          <p:cNvPr id="38" name="Group 37"/>
          <p:cNvGrpSpPr/>
          <p:nvPr/>
        </p:nvGrpSpPr>
        <p:grpSpPr>
          <a:xfrm>
            <a:off x="6363741" y="3199798"/>
            <a:ext cx="771526" cy="774700"/>
            <a:chOff x="-4635501" y="4789488"/>
            <a:chExt cx="771526" cy="774700"/>
          </a:xfrm>
          <a:solidFill>
            <a:schemeClr val="bg1"/>
          </a:solidFill>
        </p:grpSpPr>
        <p:sp>
          <p:nvSpPr>
            <p:cNvPr id="5132" name="Freeform 12"/>
            <p:cNvSpPr>
              <a:spLocks noEditPoints="1"/>
            </p:cNvSpPr>
            <p:nvPr/>
          </p:nvSpPr>
          <p:spPr bwMode="auto">
            <a:xfrm>
              <a:off x="-4635501" y="4789488"/>
              <a:ext cx="309563" cy="763587"/>
            </a:xfrm>
            <a:custGeom>
              <a:avLst/>
              <a:gdLst/>
              <a:ahLst/>
              <a:cxnLst>
                <a:cxn ang="0">
                  <a:pos x="52" y="50"/>
                </a:cxn>
                <a:cxn ang="0">
                  <a:pos x="52" y="50"/>
                </a:cxn>
                <a:cxn ang="0">
                  <a:pos x="72" y="50"/>
                </a:cxn>
                <a:cxn ang="0">
                  <a:pos x="83" y="50"/>
                </a:cxn>
                <a:cxn ang="0">
                  <a:pos x="112" y="79"/>
                </a:cxn>
                <a:cxn ang="0">
                  <a:pos x="112" y="149"/>
                </a:cxn>
                <a:cxn ang="0">
                  <a:pos x="94" y="149"/>
                </a:cxn>
                <a:cxn ang="0">
                  <a:pos x="94" y="81"/>
                </a:cxn>
                <a:cxn ang="0">
                  <a:pos x="85" y="81"/>
                </a:cxn>
                <a:cxn ang="0">
                  <a:pos x="85" y="265"/>
                </a:cxn>
                <a:cxn ang="0">
                  <a:pos x="73" y="277"/>
                </a:cxn>
                <a:cxn ang="0">
                  <a:pos x="60" y="265"/>
                </a:cxn>
                <a:cxn ang="0">
                  <a:pos x="60" y="158"/>
                </a:cxn>
                <a:cxn ang="0">
                  <a:pos x="51" y="158"/>
                </a:cxn>
                <a:cxn ang="0">
                  <a:pos x="51" y="265"/>
                </a:cxn>
                <a:cxn ang="0">
                  <a:pos x="39" y="277"/>
                </a:cxn>
                <a:cxn ang="0">
                  <a:pos x="26" y="265"/>
                </a:cxn>
                <a:cxn ang="0">
                  <a:pos x="26" y="81"/>
                </a:cxn>
                <a:cxn ang="0">
                  <a:pos x="18" y="81"/>
                </a:cxn>
                <a:cxn ang="0">
                  <a:pos x="18" y="149"/>
                </a:cxn>
                <a:cxn ang="0">
                  <a:pos x="0" y="149"/>
                </a:cxn>
                <a:cxn ang="0">
                  <a:pos x="0" y="80"/>
                </a:cxn>
                <a:cxn ang="0">
                  <a:pos x="29" y="50"/>
                </a:cxn>
                <a:cxn ang="0">
                  <a:pos x="40" y="50"/>
                </a:cxn>
                <a:cxn ang="0">
                  <a:pos x="72" y="50"/>
                </a:cxn>
                <a:cxn ang="0">
                  <a:pos x="56" y="45"/>
                </a:cxn>
                <a:cxn ang="0">
                  <a:pos x="33" y="22"/>
                </a:cxn>
                <a:cxn ang="0">
                  <a:pos x="56" y="0"/>
                </a:cxn>
                <a:cxn ang="0">
                  <a:pos x="78" y="22"/>
                </a:cxn>
                <a:cxn ang="0">
                  <a:pos x="56" y="45"/>
                </a:cxn>
              </a:cxnLst>
              <a:rect l="0" t="0" r="r" b="b"/>
              <a:pathLst>
                <a:path w="112" h="277">
                  <a:moveTo>
                    <a:pt x="52" y="50"/>
                  </a:moveTo>
                  <a:cubicBezTo>
                    <a:pt x="52" y="50"/>
                    <a:pt x="52" y="50"/>
                    <a:pt x="52" y="50"/>
                  </a:cubicBezTo>
                  <a:moveTo>
                    <a:pt x="72" y="50"/>
                  </a:moveTo>
                  <a:cubicBezTo>
                    <a:pt x="83" y="50"/>
                    <a:pt x="83" y="50"/>
                    <a:pt x="83" y="50"/>
                  </a:cubicBezTo>
                  <a:cubicBezTo>
                    <a:pt x="99" y="50"/>
                    <a:pt x="112" y="63"/>
                    <a:pt x="112" y="79"/>
                  </a:cubicBezTo>
                  <a:cubicBezTo>
                    <a:pt x="112" y="149"/>
                    <a:pt x="112" y="149"/>
                    <a:pt x="112" y="149"/>
                  </a:cubicBezTo>
                  <a:cubicBezTo>
                    <a:pt x="112" y="162"/>
                    <a:pt x="94" y="162"/>
                    <a:pt x="94" y="149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5" y="265"/>
                    <a:pt x="85" y="265"/>
                    <a:pt x="85" y="265"/>
                  </a:cubicBezTo>
                  <a:cubicBezTo>
                    <a:pt x="85" y="272"/>
                    <a:pt x="80" y="277"/>
                    <a:pt x="73" y="277"/>
                  </a:cubicBezTo>
                  <a:cubicBezTo>
                    <a:pt x="66" y="277"/>
                    <a:pt x="60" y="272"/>
                    <a:pt x="60" y="265"/>
                  </a:cubicBezTo>
                  <a:cubicBezTo>
                    <a:pt x="60" y="158"/>
                    <a:pt x="60" y="158"/>
                    <a:pt x="60" y="158"/>
                  </a:cubicBezTo>
                  <a:cubicBezTo>
                    <a:pt x="51" y="158"/>
                    <a:pt x="51" y="158"/>
                    <a:pt x="51" y="158"/>
                  </a:cubicBezTo>
                  <a:cubicBezTo>
                    <a:pt x="51" y="265"/>
                    <a:pt x="51" y="265"/>
                    <a:pt x="51" y="265"/>
                  </a:cubicBezTo>
                  <a:cubicBezTo>
                    <a:pt x="51" y="272"/>
                    <a:pt x="46" y="277"/>
                    <a:pt x="39" y="277"/>
                  </a:cubicBezTo>
                  <a:cubicBezTo>
                    <a:pt x="32" y="277"/>
                    <a:pt x="26" y="272"/>
                    <a:pt x="26" y="265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149"/>
                    <a:pt x="18" y="149"/>
                    <a:pt x="18" y="149"/>
                  </a:cubicBezTo>
                  <a:cubicBezTo>
                    <a:pt x="18" y="162"/>
                    <a:pt x="0" y="162"/>
                    <a:pt x="0" y="149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65"/>
                    <a:pt x="12" y="50"/>
                    <a:pt x="29" y="50"/>
                  </a:cubicBezTo>
                  <a:cubicBezTo>
                    <a:pt x="40" y="50"/>
                    <a:pt x="40" y="50"/>
                    <a:pt x="40" y="50"/>
                  </a:cubicBezTo>
                  <a:lnTo>
                    <a:pt x="72" y="50"/>
                  </a:lnTo>
                  <a:close/>
                  <a:moveTo>
                    <a:pt x="56" y="45"/>
                  </a:moveTo>
                  <a:cubicBezTo>
                    <a:pt x="43" y="45"/>
                    <a:pt x="33" y="35"/>
                    <a:pt x="33" y="22"/>
                  </a:cubicBezTo>
                  <a:cubicBezTo>
                    <a:pt x="33" y="10"/>
                    <a:pt x="43" y="0"/>
                    <a:pt x="56" y="0"/>
                  </a:cubicBezTo>
                  <a:cubicBezTo>
                    <a:pt x="68" y="0"/>
                    <a:pt x="78" y="10"/>
                    <a:pt x="78" y="22"/>
                  </a:cubicBezTo>
                  <a:cubicBezTo>
                    <a:pt x="78" y="35"/>
                    <a:pt x="68" y="45"/>
                    <a:pt x="56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33" name="Oval 13"/>
            <p:cNvSpPr>
              <a:spLocks noChangeArrowheads="1"/>
            </p:cNvSpPr>
            <p:nvPr/>
          </p:nvSpPr>
          <p:spPr bwMode="auto">
            <a:xfrm>
              <a:off x="-4256088" y="4789488"/>
              <a:ext cx="127000" cy="1270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34" name="Freeform 14"/>
            <p:cNvSpPr>
              <a:spLocks/>
            </p:cNvSpPr>
            <p:nvPr/>
          </p:nvSpPr>
          <p:spPr bwMode="auto">
            <a:xfrm>
              <a:off x="-4383088" y="4929188"/>
              <a:ext cx="371475" cy="635000"/>
            </a:xfrm>
            <a:custGeom>
              <a:avLst/>
              <a:gdLst/>
              <a:ahLst/>
              <a:cxnLst>
                <a:cxn ang="0">
                  <a:pos x="131" y="85"/>
                </a:cxn>
                <a:cxn ang="0">
                  <a:pos x="112" y="20"/>
                </a:cxn>
                <a:cxn ang="0">
                  <a:pos x="80" y="0"/>
                </a:cxn>
                <a:cxn ang="0">
                  <a:pos x="58" y="0"/>
                </a:cxn>
                <a:cxn ang="0">
                  <a:pos x="26" y="20"/>
                </a:cxn>
                <a:cxn ang="0">
                  <a:pos x="4" y="96"/>
                </a:cxn>
                <a:cxn ang="0">
                  <a:pos x="21" y="102"/>
                </a:cxn>
                <a:cxn ang="0">
                  <a:pos x="44" y="32"/>
                </a:cxn>
                <a:cxn ang="0">
                  <a:pos x="46" y="32"/>
                </a:cxn>
                <a:cxn ang="0">
                  <a:pos x="18" y="142"/>
                </a:cxn>
                <a:cxn ang="0">
                  <a:pos x="20" y="146"/>
                </a:cxn>
                <a:cxn ang="0">
                  <a:pos x="44" y="146"/>
                </a:cxn>
                <a:cxn ang="0">
                  <a:pos x="44" y="216"/>
                </a:cxn>
                <a:cxn ang="0">
                  <a:pos x="65" y="216"/>
                </a:cxn>
                <a:cxn ang="0">
                  <a:pos x="65" y="145"/>
                </a:cxn>
                <a:cxn ang="0">
                  <a:pos x="73" y="145"/>
                </a:cxn>
                <a:cxn ang="0">
                  <a:pos x="73" y="216"/>
                </a:cxn>
                <a:cxn ang="0">
                  <a:pos x="94" y="216"/>
                </a:cxn>
                <a:cxn ang="0">
                  <a:pos x="94" y="146"/>
                </a:cxn>
                <a:cxn ang="0">
                  <a:pos x="118" y="146"/>
                </a:cxn>
                <a:cxn ang="0">
                  <a:pos x="120" y="142"/>
                </a:cxn>
                <a:cxn ang="0">
                  <a:pos x="92" y="32"/>
                </a:cxn>
                <a:cxn ang="0">
                  <a:pos x="94" y="32"/>
                </a:cxn>
                <a:cxn ang="0">
                  <a:pos x="115" y="91"/>
                </a:cxn>
                <a:cxn ang="0">
                  <a:pos x="131" y="85"/>
                </a:cxn>
              </a:cxnLst>
              <a:rect l="0" t="0" r="r" b="b"/>
              <a:pathLst>
                <a:path w="135" h="230">
                  <a:moveTo>
                    <a:pt x="131" y="85"/>
                  </a:moveTo>
                  <a:cubicBezTo>
                    <a:pt x="112" y="20"/>
                    <a:pt x="112" y="20"/>
                    <a:pt x="112" y="20"/>
                  </a:cubicBezTo>
                  <a:cubicBezTo>
                    <a:pt x="108" y="9"/>
                    <a:pt x="96" y="0"/>
                    <a:pt x="80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42" y="0"/>
                    <a:pt x="30" y="9"/>
                    <a:pt x="26" y="20"/>
                  </a:cubicBezTo>
                  <a:cubicBezTo>
                    <a:pt x="4" y="96"/>
                    <a:pt x="4" y="96"/>
                    <a:pt x="4" y="96"/>
                  </a:cubicBezTo>
                  <a:cubicBezTo>
                    <a:pt x="0" y="110"/>
                    <a:pt x="17" y="115"/>
                    <a:pt x="21" y="10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19" y="138"/>
                    <a:pt x="18" y="142"/>
                  </a:cubicBezTo>
                  <a:cubicBezTo>
                    <a:pt x="17" y="144"/>
                    <a:pt x="18" y="146"/>
                    <a:pt x="20" y="146"/>
                  </a:cubicBezTo>
                  <a:cubicBezTo>
                    <a:pt x="21" y="146"/>
                    <a:pt x="44" y="146"/>
                    <a:pt x="44" y="146"/>
                  </a:cubicBezTo>
                  <a:cubicBezTo>
                    <a:pt x="44" y="216"/>
                    <a:pt x="44" y="216"/>
                    <a:pt x="44" y="216"/>
                  </a:cubicBezTo>
                  <a:cubicBezTo>
                    <a:pt x="44" y="230"/>
                    <a:pt x="65" y="230"/>
                    <a:pt x="65" y="216"/>
                  </a:cubicBezTo>
                  <a:cubicBezTo>
                    <a:pt x="65" y="145"/>
                    <a:pt x="65" y="145"/>
                    <a:pt x="65" y="145"/>
                  </a:cubicBezTo>
                  <a:cubicBezTo>
                    <a:pt x="73" y="145"/>
                    <a:pt x="73" y="145"/>
                    <a:pt x="73" y="145"/>
                  </a:cubicBezTo>
                  <a:cubicBezTo>
                    <a:pt x="73" y="216"/>
                    <a:pt x="73" y="216"/>
                    <a:pt x="73" y="216"/>
                  </a:cubicBezTo>
                  <a:cubicBezTo>
                    <a:pt x="73" y="230"/>
                    <a:pt x="94" y="230"/>
                    <a:pt x="94" y="216"/>
                  </a:cubicBezTo>
                  <a:cubicBezTo>
                    <a:pt x="94" y="146"/>
                    <a:pt x="94" y="146"/>
                    <a:pt x="94" y="146"/>
                  </a:cubicBezTo>
                  <a:cubicBezTo>
                    <a:pt x="94" y="146"/>
                    <a:pt x="117" y="146"/>
                    <a:pt x="118" y="146"/>
                  </a:cubicBezTo>
                  <a:cubicBezTo>
                    <a:pt x="120" y="146"/>
                    <a:pt x="121" y="144"/>
                    <a:pt x="120" y="142"/>
                  </a:cubicBezTo>
                  <a:cubicBezTo>
                    <a:pt x="119" y="138"/>
                    <a:pt x="92" y="32"/>
                    <a:pt x="92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115" y="91"/>
                    <a:pt x="115" y="91"/>
                    <a:pt x="115" y="91"/>
                  </a:cubicBezTo>
                  <a:cubicBezTo>
                    <a:pt x="119" y="104"/>
                    <a:pt x="135" y="99"/>
                    <a:pt x="131" y="8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35" name="Freeform 15"/>
            <p:cNvSpPr>
              <a:spLocks/>
            </p:cNvSpPr>
            <p:nvPr/>
          </p:nvSpPr>
          <p:spPr bwMode="auto">
            <a:xfrm>
              <a:off x="-4021138" y="5205413"/>
              <a:ext cx="157163" cy="347662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0" y="0"/>
                </a:cxn>
                <a:cxn ang="0">
                  <a:pos x="2" y="20"/>
                </a:cxn>
                <a:cxn ang="0">
                  <a:pos x="2" y="20"/>
                </a:cxn>
                <a:cxn ang="0">
                  <a:pos x="2" y="118"/>
                </a:cxn>
                <a:cxn ang="0">
                  <a:pos x="10" y="126"/>
                </a:cxn>
                <a:cxn ang="0">
                  <a:pos x="18" y="118"/>
                </a:cxn>
                <a:cxn ang="0">
                  <a:pos x="18" y="70"/>
                </a:cxn>
                <a:cxn ang="0">
                  <a:pos x="24" y="70"/>
                </a:cxn>
                <a:cxn ang="0">
                  <a:pos x="24" y="118"/>
                </a:cxn>
                <a:cxn ang="0">
                  <a:pos x="32" y="126"/>
                </a:cxn>
                <a:cxn ang="0">
                  <a:pos x="40" y="118"/>
                </a:cxn>
                <a:cxn ang="0">
                  <a:pos x="40" y="20"/>
                </a:cxn>
                <a:cxn ang="0">
                  <a:pos x="46" y="20"/>
                </a:cxn>
                <a:cxn ang="0">
                  <a:pos x="46" y="52"/>
                </a:cxn>
                <a:cxn ang="0">
                  <a:pos x="57" y="52"/>
                </a:cxn>
                <a:cxn ang="0">
                  <a:pos x="57" y="19"/>
                </a:cxn>
                <a:cxn ang="0">
                  <a:pos x="39" y="0"/>
                </a:cxn>
              </a:cxnLst>
              <a:rect l="0" t="0" r="r" b="b"/>
              <a:pathLst>
                <a:path w="57" h="126">
                  <a:moveTo>
                    <a:pt x="3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18"/>
                    <a:pt x="2" y="118"/>
                    <a:pt x="2" y="118"/>
                  </a:cubicBezTo>
                  <a:cubicBezTo>
                    <a:pt x="2" y="123"/>
                    <a:pt x="6" y="126"/>
                    <a:pt x="10" y="126"/>
                  </a:cubicBezTo>
                  <a:cubicBezTo>
                    <a:pt x="15" y="126"/>
                    <a:pt x="18" y="123"/>
                    <a:pt x="18" y="118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4" y="123"/>
                    <a:pt x="28" y="126"/>
                    <a:pt x="32" y="126"/>
                  </a:cubicBezTo>
                  <a:cubicBezTo>
                    <a:pt x="37" y="126"/>
                    <a:pt x="40" y="123"/>
                    <a:pt x="40" y="118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6" y="60"/>
                    <a:pt x="57" y="60"/>
                    <a:pt x="57" y="52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9"/>
                    <a:pt x="49" y="0"/>
                    <a:pt x="3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36" name="Oval 16"/>
            <p:cNvSpPr>
              <a:spLocks noChangeArrowheads="1"/>
            </p:cNvSpPr>
            <p:nvPr/>
          </p:nvSpPr>
          <p:spPr bwMode="auto">
            <a:xfrm>
              <a:off x="-4002088" y="5116513"/>
              <a:ext cx="79375" cy="80962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37" name="Freeform 17"/>
            <p:cNvSpPr>
              <a:spLocks/>
            </p:cNvSpPr>
            <p:nvPr/>
          </p:nvSpPr>
          <p:spPr bwMode="auto">
            <a:xfrm>
              <a:off x="-4064001" y="5141913"/>
              <a:ext cx="47625" cy="119062"/>
            </a:xfrm>
            <a:custGeom>
              <a:avLst/>
              <a:gdLst/>
              <a:ahLst/>
              <a:cxnLst>
                <a:cxn ang="0">
                  <a:pos x="17" y="43"/>
                </a:cxn>
                <a:cxn ang="0">
                  <a:pos x="0" y="24"/>
                </a:cxn>
                <a:cxn ang="0">
                  <a:pos x="0" y="9"/>
                </a:cxn>
                <a:cxn ang="0">
                  <a:pos x="12" y="9"/>
                </a:cxn>
                <a:cxn ang="0">
                  <a:pos x="12" y="23"/>
                </a:cxn>
                <a:cxn ang="0">
                  <a:pos x="15" y="23"/>
                </a:cxn>
                <a:cxn ang="0">
                  <a:pos x="17" y="43"/>
                </a:cxn>
              </a:cxnLst>
              <a:rect l="0" t="0" r="r" b="b"/>
              <a:pathLst>
                <a:path w="17" h="43">
                  <a:moveTo>
                    <a:pt x="17" y="43"/>
                  </a:moveTo>
                  <a:cubicBezTo>
                    <a:pt x="8" y="43"/>
                    <a:pt x="0" y="33"/>
                    <a:pt x="0" y="2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0"/>
                    <a:pt x="12" y="0"/>
                    <a:pt x="12" y="9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3"/>
                    <a:pt x="15" y="23"/>
                    <a:pt x="15" y="23"/>
                  </a:cubicBezTo>
                  <a:lnTo>
                    <a:pt x="17" y="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103429" name="Picture 4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21413" y="2719388"/>
            <a:ext cx="1077912" cy="191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4" name="Group 40"/>
          <p:cNvGrpSpPr/>
          <p:nvPr/>
        </p:nvGrpSpPr>
        <p:grpSpPr>
          <a:xfrm>
            <a:off x="6309390" y="3414770"/>
            <a:ext cx="794957" cy="585844"/>
            <a:chOff x="-5727701" y="3333750"/>
            <a:chExt cx="965201" cy="717550"/>
          </a:xfrm>
          <a:solidFill>
            <a:schemeClr val="bg1"/>
          </a:solidFill>
        </p:grpSpPr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-5727701" y="3430588"/>
              <a:ext cx="836613" cy="396875"/>
            </a:xfrm>
            <a:custGeom>
              <a:avLst/>
              <a:gdLst/>
              <a:ahLst/>
              <a:cxnLst>
                <a:cxn ang="0">
                  <a:pos x="118" y="144"/>
                </a:cxn>
                <a:cxn ang="0">
                  <a:pos x="290" y="144"/>
                </a:cxn>
                <a:cxn ang="0">
                  <a:pos x="303" y="130"/>
                </a:cxn>
                <a:cxn ang="0">
                  <a:pos x="290" y="117"/>
                </a:cxn>
                <a:cxn ang="0">
                  <a:pos x="126" y="117"/>
                </a:cxn>
                <a:cxn ang="0">
                  <a:pos x="79" y="8"/>
                </a:cxn>
                <a:cxn ang="0">
                  <a:pos x="67" y="0"/>
                </a:cxn>
                <a:cxn ang="0">
                  <a:pos x="13" y="0"/>
                </a:cxn>
                <a:cxn ang="0">
                  <a:pos x="0" y="14"/>
                </a:cxn>
                <a:cxn ang="0">
                  <a:pos x="13" y="28"/>
                </a:cxn>
                <a:cxn ang="0">
                  <a:pos x="59" y="28"/>
                </a:cxn>
                <a:cxn ang="0">
                  <a:pos x="106" y="136"/>
                </a:cxn>
                <a:cxn ang="0">
                  <a:pos x="118" y="144"/>
                </a:cxn>
              </a:cxnLst>
              <a:rect l="0" t="0" r="r" b="b"/>
              <a:pathLst>
                <a:path w="303" h="144">
                  <a:moveTo>
                    <a:pt x="118" y="144"/>
                  </a:moveTo>
                  <a:cubicBezTo>
                    <a:pt x="290" y="144"/>
                    <a:pt x="290" y="144"/>
                    <a:pt x="290" y="144"/>
                  </a:cubicBezTo>
                  <a:cubicBezTo>
                    <a:pt x="298" y="144"/>
                    <a:pt x="303" y="138"/>
                    <a:pt x="303" y="130"/>
                  </a:cubicBezTo>
                  <a:cubicBezTo>
                    <a:pt x="303" y="123"/>
                    <a:pt x="298" y="117"/>
                    <a:pt x="290" y="117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79" y="8"/>
                    <a:pt x="79" y="8"/>
                    <a:pt x="79" y="8"/>
                  </a:cubicBezTo>
                  <a:cubicBezTo>
                    <a:pt x="77" y="3"/>
                    <a:pt x="72" y="0"/>
                    <a:pt x="67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21"/>
                    <a:pt x="6" y="28"/>
                    <a:pt x="13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106" y="136"/>
                    <a:pt x="106" y="136"/>
                    <a:pt x="106" y="136"/>
                  </a:cubicBezTo>
                  <a:cubicBezTo>
                    <a:pt x="108" y="141"/>
                    <a:pt x="113" y="144"/>
                    <a:pt x="118" y="1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-5491163" y="3333750"/>
              <a:ext cx="728663" cy="384175"/>
            </a:xfrm>
            <a:custGeom>
              <a:avLst/>
              <a:gdLst/>
              <a:ahLst/>
              <a:cxnLst>
                <a:cxn ang="0">
                  <a:pos x="261" y="6"/>
                </a:cxn>
                <a:cxn ang="0">
                  <a:pos x="250" y="0"/>
                </a:cxn>
                <a:cxn ang="0">
                  <a:pos x="14" y="0"/>
                </a:cxn>
                <a:cxn ang="0">
                  <a:pos x="3" y="6"/>
                </a:cxn>
                <a:cxn ang="0">
                  <a:pos x="2" y="19"/>
                </a:cxn>
                <a:cxn ang="0">
                  <a:pos x="44" y="131"/>
                </a:cxn>
                <a:cxn ang="0">
                  <a:pos x="56" y="139"/>
                </a:cxn>
                <a:cxn ang="0">
                  <a:pos x="219" y="139"/>
                </a:cxn>
                <a:cxn ang="0">
                  <a:pos x="232" y="129"/>
                </a:cxn>
                <a:cxn ang="0">
                  <a:pos x="263" y="18"/>
                </a:cxn>
                <a:cxn ang="0">
                  <a:pos x="261" y="6"/>
                </a:cxn>
              </a:cxnLst>
              <a:rect l="0" t="0" r="r" b="b"/>
              <a:pathLst>
                <a:path w="264" h="139">
                  <a:moveTo>
                    <a:pt x="261" y="6"/>
                  </a:moveTo>
                  <a:cubicBezTo>
                    <a:pt x="258" y="2"/>
                    <a:pt x="255" y="0"/>
                    <a:pt x="25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9" y="0"/>
                    <a:pt x="5" y="3"/>
                    <a:pt x="3" y="6"/>
                  </a:cubicBezTo>
                  <a:cubicBezTo>
                    <a:pt x="1" y="10"/>
                    <a:pt x="0" y="15"/>
                    <a:pt x="2" y="19"/>
                  </a:cubicBezTo>
                  <a:cubicBezTo>
                    <a:pt x="44" y="131"/>
                    <a:pt x="44" y="131"/>
                    <a:pt x="44" y="131"/>
                  </a:cubicBezTo>
                  <a:cubicBezTo>
                    <a:pt x="46" y="136"/>
                    <a:pt x="50" y="139"/>
                    <a:pt x="56" y="139"/>
                  </a:cubicBezTo>
                  <a:cubicBezTo>
                    <a:pt x="219" y="139"/>
                    <a:pt x="219" y="139"/>
                    <a:pt x="219" y="139"/>
                  </a:cubicBezTo>
                  <a:cubicBezTo>
                    <a:pt x="225" y="139"/>
                    <a:pt x="230" y="135"/>
                    <a:pt x="232" y="129"/>
                  </a:cubicBezTo>
                  <a:cubicBezTo>
                    <a:pt x="263" y="18"/>
                    <a:pt x="263" y="18"/>
                    <a:pt x="263" y="18"/>
                  </a:cubicBezTo>
                  <a:cubicBezTo>
                    <a:pt x="264" y="14"/>
                    <a:pt x="263" y="9"/>
                    <a:pt x="261" y="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-5446713" y="3852863"/>
              <a:ext cx="187325" cy="198437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0" y="36"/>
                </a:cxn>
                <a:cxn ang="0">
                  <a:pos x="34" y="72"/>
                </a:cxn>
                <a:cxn ang="0">
                  <a:pos x="68" y="36"/>
                </a:cxn>
                <a:cxn ang="0">
                  <a:pos x="68" y="36"/>
                </a:cxn>
                <a:cxn ang="0">
                  <a:pos x="34" y="0"/>
                </a:cxn>
              </a:cxnLst>
              <a:rect l="0" t="0" r="r" b="b"/>
              <a:pathLst>
                <a:path w="68" h="72">
                  <a:moveTo>
                    <a:pt x="34" y="0"/>
                  </a:moveTo>
                  <a:cubicBezTo>
                    <a:pt x="15" y="0"/>
                    <a:pt x="0" y="17"/>
                    <a:pt x="0" y="36"/>
                  </a:cubicBezTo>
                  <a:cubicBezTo>
                    <a:pt x="0" y="56"/>
                    <a:pt x="15" y="72"/>
                    <a:pt x="34" y="72"/>
                  </a:cubicBezTo>
                  <a:cubicBezTo>
                    <a:pt x="53" y="72"/>
                    <a:pt x="68" y="5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17"/>
                    <a:pt x="53" y="0"/>
                    <a:pt x="34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8" name="Oval 10"/>
            <p:cNvSpPr>
              <a:spLocks noChangeArrowheads="1"/>
            </p:cNvSpPr>
            <p:nvPr/>
          </p:nvSpPr>
          <p:spPr bwMode="auto">
            <a:xfrm>
              <a:off x="-5006976" y="3852863"/>
              <a:ext cx="187325" cy="198437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/>
          </p:nvSpPr>
          <p:spPr bwMode="auto">
            <a:xfrm>
              <a:off x="-5727701" y="3333750"/>
              <a:ext cx="965200" cy="346075"/>
            </a:xfrm>
            <a:custGeom>
              <a:avLst/>
              <a:gdLst/>
              <a:ahLst/>
              <a:cxnLst>
                <a:cxn ang="0">
                  <a:pos x="67" y="35"/>
                </a:cxn>
                <a:cxn ang="0">
                  <a:pos x="13" y="35"/>
                </a:cxn>
                <a:cxn ang="0">
                  <a:pos x="0" y="49"/>
                </a:cxn>
                <a:cxn ang="0">
                  <a:pos x="13" y="63"/>
                </a:cxn>
                <a:cxn ang="0">
                  <a:pos x="59" y="63"/>
                </a:cxn>
                <a:cxn ang="0">
                  <a:pos x="86" y="125"/>
                </a:cxn>
                <a:cxn ang="0">
                  <a:pos x="113" y="121"/>
                </a:cxn>
                <a:cxn ang="0">
                  <a:pos x="79" y="43"/>
                </a:cxn>
                <a:cxn ang="0">
                  <a:pos x="67" y="35"/>
                </a:cxn>
                <a:cxn ang="0">
                  <a:pos x="347" y="6"/>
                </a:cxn>
                <a:cxn ang="0">
                  <a:pos x="336" y="0"/>
                </a:cxn>
                <a:cxn ang="0">
                  <a:pos x="100" y="0"/>
                </a:cxn>
                <a:cxn ang="0">
                  <a:pos x="89" y="6"/>
                </a:cxn>
                <a:cxn ang="0">
                  <a:pos x="88" y="19"/>
                </a:cxn>
                <a:cxn ang="0">
                  <a:pos x="125" y="119"/>
                </a:cxn>
                <a:cxn ang="0">
                  <a:pos x="342" y="42"/>
                </a:cxn>
                <a:cxn ang="0">
                  <a:pos x="349" y="18"/>
                </a:cxn>
                <a:cxn ang="0">
                  <a:pos x="347" y="6"/>
                </a:cxn>
              </a:cxnLst>
              <a:rect l="0" t="0" r="r" b="b"/>
              <a:pathLst>
                <a:path w="350" h="125">
                  <a:moveTo>
                    <a:pt x="67" y="35"/>
                  </a:moveTo>
                  <a:cubicBezTo>
                    <a:pt x="13" y="35"/>
                    <a:pt x="13" y="35"/>
                    <a:pt x="13" y="35"/>
                  </a:cubicBezTo>
                  <a:cubicBezTo>
                    <a:pt x="6" y="35"/>
                    <a:pt x="0" y="41"/>
                    <a:pt x="0" y="49"/>
                  </a:cubicBezTo>
                  <a:cubicBezTo>
                    <a:pt x="0" y="56"/>
                    <a:pt x="6" y="63"/>
                    <a:pt x="13" y="63"/>
                  </a:cubicBezTo>
                  <a:cubicBezTo>
                    <a:pt x="59" y="63"/>
                    <a:pt x="59" y="63"/>
                    <a:pt x="59" y="63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5" y="124"/>
                    <a:pt x="104" y="123"/>
                    <a:pt x="113" y="121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7" y="38"/>
                    <a:pt x="72" y="35"/>
                    <a:pt x="67" y="35"/>
                  </a:cubicBezTo>
                  <a:close/>
                  <a:moveTo>
                    <a:pt x="347" y="6"/>
                  </a:moveTo>
                  <a:cubicBezTo>
                    <a:pt x="344" y="2"/>
                    <a:pt x="341" y="0"/>
                    <a:pt x="336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95" y="0"/>
                    <a:pt x="91" y="3"/>
                    <a:pt x="89" y="6"/>
                  </a:cubicBezTo>
                  <a:cubicBezTo>
                    <a:pt x="87" y="10"/>
                    <a:pt x="86" y="15"/>
                    <a:pt x="88" y="19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207" y="103"/>
                    <a:pt x="281" y="76"/>
                    <a:pt x="342" y="42"/>
                  </a:cubicBezTo>
                  <a:cubicBezTo>
                    <a:pt x="349" y="18"/>
                    <a:pt x="349" y="18"/>
                    <a:pt x="349" y="18"/>
                  </a:cubicBezTo>
                  <a:cubicBezTo>
                    <a:pt x="350" y="14"/>
                    <a:pt x="349" y="9"/>
                    <a:pt x="347" y="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03431" name="Rectangle 5"/>
          <p:cNvSpPr>
            <a:spLocks noChangeArrowheads="1"/>
          </p:cNvSpPr>
          <p:nvPr/>
        </p:nvSpPr>
        <p:spPr bwMode="auto">
          <a:xfrm>
            <a:off x="276225" y="5559425"/>
            <a:ext cx="3149600" cy="93503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3432" name="Rectangle 20"/>
          <p:cNvSpPr>
            <a:spLocks noChangeArrowheads="1"/>
          </p:cNvSpPr>
          <p:nvPr/>
        </p:nvSpPr>
        <p:spPr bwMode="auto">
          <a:xfrm>
            <a:off x="152400" y="428625"/>
            <a:ext cx="3151188" cy="933450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2" name="Title 2"/>
          <p:cNvSpPr txBox="1">
            <a:spLocks/>
          </p:cNvSpPr>
          <p:nvPr/>
        </p:nvSpPr>
        <p:spPr bwMode="auto">
          <a:xfrm>
            <a:off x="565150" y="2629938"/>
            <a:ext cx="3993202" cy="1684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hu-HU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AZ OKOSTELEFONOK </a:t>
            </a:r>
            <a:r>
              <a:rPr lang="hu-HU" smtClean="0"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mtClean="0">
                <a:latin typeface="Arial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hu-HU" sz="2000" b="1" smtClean="0">
                <a:solidFill>
                  <a:schemeClr val="accent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MEGVÁLTOZTATJÁK </a:t>
            </a:r>
            <a:br>
              <a:rPr lang="hu-HU" sz="2000" b="1" smtClean="0">
                <a:solidFill>
                  <a:schemeClr val="accent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hu-HU" sz="2000" b="1" smtClean="0">
                <a:solidFill>
                  <a:schemeClr val="accent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A FOGYASZTÓK </a:t>
            </a:r>
            <a:br>
              <a:rPr lang="hu-HU" sz="2000" b="1" smtClean="0">
                <a:solidFill>
                  <a:schemeClr val="accent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hu-HU" sz="2000" b="1" smtClean="0">
                <a:solidFill>
                  <a:schemeClr val="accent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VÁSÁRLÁSI MÓDSZEREIT</a:t>
            </a:r>
          </a:p>
        </p:txBody>
      </p:sp>
      <p:sp>
        <p:nvSpPr>
          <p:cNvPr id="23" name="Text Box 54"/>
          <p:cNvSpPr txBox="1">
            <a:spLocks noChangeArrowheads="1"/>
          </p:cNvSpPr>
          <p:nvPr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no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hu-HU" sz="800" baseline="0" noProof="0" dirty="0" smtClean="0">
                <a:solidFill>
                  <a:srgbClr val="7D7D7D"/>
                </a:solidFill>
                <a:ea typeface="Arial Unicode MS" pitchFamily="34" charset="-128"/>
                <a:cs typeface="Arial Unicode MS" pitchFamily="34" charset="-128"/>
              </a:rPr>
              <a:t>A Google bizalmas és saját tulajdonú információi</a:t>
            </a:r>
            <a:endParaRPr lang="hu-HU" sz="800" baseline="0" noProof="0" dirty="0">
              <a:solidFill>
                <a:srgbClr val="7D7D7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3" name="Title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509379" cy="476250"/>
          </a:xfrm>
        </p:spPr>
        <p:txBody>
          <a:bodyPr>
            <a:noAutofit/>
          </a:bodyPr>
          <a:lstStyle/>
          <a:p>
            <a:r>
              <a:rPr lang="hu-HU" smtClean="0"/>
              <a:t>Az okostelefonok segítségével a felhasználók bármikor és bárhol utánanézhetnek termékeknek</a:t>
            </a:r>
          </a:p>
        </p:txBody>
      </p:sp>
      <p:sp>
        <p:nvSpPr>
          <p:cNvPr id="105474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CD40662C-483C-455B-91D8-C3ADC47E80DD}" type="slidenum">
              <a:rPr lang="hu-HU"/>
              <a:pPr/>
              <a:t>12</a:t>
            </a:fld>
            <a:endParaRPr lang="hu-HU"/>
          </a:p>
        </p:txBody>
      </p:sp>
      <p:pic>
        <p:nvPicPr>
          <p:cNvPr id="10547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347788"/>
            <a:ext cx="9144000" cy="496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" name="TextBox 86"/>
          <p:cNvSpPr txBox="1"/>
          <p:nvPr/>
        </p:nvSpPr>
        <p:spPr>
          <a:xfrm>
            <a:off x="1279525" y="2905125"/>
            <a:ext cx="1598613" cy="2286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hu-HU" sz="1050" smtClean="0">
                <a:ea typeface="Arial Unicode MS" pitchFamily="34" charset="-128"/>
                <a:cs typeface="Arial Unicode MS" pitchFamily="34" charset="-128"/>
              </a:rPr>
              <a:t>Otthon</a:t>
            </a:r>
            <a:endParaRPr lang="hu-HU" sz="105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1244600" y="2422525"/>
            <a:ext cx="1098550" cy="585788"/>
          </a:xfrm>
          <a:prstGeom prst="rect">
            <a:avLst/>
          </a:prstGeom>
          <a:noFill/>
          <a:ln>
            <a:noFill/>
          </a:ln>
        </p:spPr>
        <p:txBody>
          <a:bodyPr wrap="none" anchor="ctr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hu-HU" sz="3600" smtClean="0">
                <a:solidFill>
                  <a:schemeClr val="accent3">
                    <a:lumMod val="75000"/>
                  </a:schemeClr>
                </a:solidFill>
                <a:ea typeface="Arial Unicode MS" pitchFamily="34" charset="-128"/>
                <a:cs typeface="Arial Unicode MS" pitchFamily="34" charset="-128"/>
              </a:rPr>
              <a:t>54%</a:t>
            </a:r>
            <a:endParaRPr lang="hu-HU" sz="3600">
              <a:solidFill>
                <a:schemeClr val="accent3">
                  <a:lumMod val="75000"/>
                </a:schemeClr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0" y="4089400"/>
            <a:ext cx="1235075" cy="2286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/>
          <a:p>
            <a:pPr algn="r">
              <a:lnSpc>
                <a:spcPct val="90000"/>
              </a:lnSpc>
              <a:defRPr/>
            </a:pPr>
            <a:r>
              <a:rPr lang="hu-HU" sz="1050" smtClean="0">
                <a:ea typeface="Arial Unicode MS" pitchFamily="34" charset="-128"/>
                <a:cs typeface="Arial Unicode MS" pitchFamily="34" charset="-128"/>
              </a:rPr>
              <a:t>Menet közben</a:t>
            </a:r>
            <a:endParaRPr lang="hu-HU" sz="105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136525" y="3608388"/>
            <a:ext cx="1098550" cy="585787"/>
          </a:xfrm>
          <a:prstGeom prst="rect">
            <a:avLst/>
          </a:prstGeom>
          <a:noFill/>
          <a:ln>
            <a:noFill/>
          </a:ln>
        </p:spPr>
        <p:txBody>
          <a:bodyPr wrap="none" anchor="ctr">
            <a:noAutofit/>
          </a:bodyPr>
          <a:lstStyle/>
          <a:p>
            <a:pPr algn="r">
              <a:lnSpc>
                <a:spcPct val="90000"/>
              </a:lnSpc>
              <a:defRPr/>
            </a:pPr>
            <a:r>
              <a:rPr lang="hu-HU" sz="3600" smtClea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26%</a:t>
            </a:r>
            <a:endParaRPr lang="hu-HU" sz="360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1697038" y="5461000"/>
            <a:ext cx="1266825" cy="2286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hu-HU" sz="1050" smtClean="0">
                <a:ea typeface="Arial Unicode MS" pitchFamily="34" charset="-128"/>
                <a:cs typeface="Arial Unicode MS" pitchFamily="34" charset="-128"/>
              </a:rPr>
              <a:t>Boltban</a:t>
            </a:r>
            <a:endParaRPr lang="hu-HU" sz="105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1663700" y="4979988"/>
            <a:ext cx="844550" cy="585787"/>
          </a:xfrm>
          <a:prstGeom prst="rect">
            <a:avLst/>
          </a:prstGeom>
          <a:noFill/>
          <a:ln>
            <a:noFill/>
          </a:ln>
        </p:spPr>
        <p:txBody>
          <a:bodyPr wrap="none" anchor="ctr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hu-HU" sz="3600" smtClea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9%</a:t>
            </a:r>
            <a:endParaRPr lang="hu-HU" sz="360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5482" name="TextBox 7"/>
          <p:cNvSpPr txBox="1">
            <a:spLocks noChangeArrowheads="1"/>
          </p:cNvSpPr>
          <p:nvPr/>
        </p:nvSpPr>
        <p:spPr bwMode="auto">
          <a:xfrm>
            <a:off x="499115" y="6400800"/>
            <a:ext cx="68326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5000"/>
              </a:lnSpc>
              <a:tabLst>
                <a:tab pos="627063" algn="l"/>
              </a:tabLst>
            </a:pP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Alapja:	Okostelefon-használók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, akik az internetet általánosságban használják okostelefonjukon, n=1000 </a:t>
            </a:r>
          </a:p>
          <a:p>
            <a:pPr defTabSz="587375">
              <a:lnSpc>
                <a:spcPct val="95000"/>
              </a:lnSpc>
              <a:tabLst>
                <a:tab pos="627063" algn="l"/>
              </a:tabLst>
            </a:pP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51/a </a:t>
            </a: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kérdés:	Hol 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tartózkodott, amikor okostelefonján a termékekre vagy szolgáltatásokra keresett?</a:t>
            </a:r>
          </a:p>
        </p:txBody>
      </p:sp>
      <p:sp>
        <p:nvSpPr>
          <p:cNvPr id="105484" name="Content Placeholder 3"/>
          <p:cNvSpPr>
            <a:spLocks noGrp="1"/>
          </p:cNvSpPr>
          <p:nvPr>
            <p:ph idx="1"/>
          </p:nvPr>
        </p:nvSpPr>
        <p:spPr>
          <a:xfrm>
            <a:off x="1484313" y="1573213"/>
            <a:ext cx="1495425" cy="293687"/>
          </a:xfrm>
        </p:spPr>
        <p:txBody>
          <a:bodyPr wrap="none">
            <a:noAutofit/>
          </a:bodyPr>
          <a:lstStyle/>
          <a:p>
            <a:pPr marL="0" indent="0" algn="ctr"/>
            <a:r>
              <a:rPr lang="hu-HU" sz="1400" smtClean="0"/>
              <a:t>A keresés helye </a:t>
            </a:r>
          </a:p>
        </p:txBody>
      </p:sp>
      <p:sp>
        <p:nvSpPr>
          <p:cNvPr id="105485" name="AutoShape 5"/>
          <p:cNvSpPr>
            <a:spLocks noChangeAspect="1" noChangeArrowheads="1" noTextEdit="1"/>
          </p:cNvSpPr>
          <p:nvPr/>
        </p:nvSpPr>
        <p:spPr bwMode="auto">
          <a:xfrm>
            <a:off x="-133350" y="1484313"/>
            <a:ext cx="1397000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1" name="Freeform 7"/>
          <p:cNvSpPr>
            <a:spLocks/>
          </p:cNvSpPr>
          <p:nvPr/>
        </p:nvSpPr>
        <p:spPr bwMode="auto">
          <a:xfrm>
            <a:off x="-139700" y="1479550"/>
            <a:ext cx="1409700" cy="1385888"/>
          </a:xfrm>
          <a:custGeom>
            <a:avLst/>
            <a:gdLst/>
            <a:ahLst/>
            <a:cxnLst>
              <a:cxn ang="0">
                <a:pos x="24" y="209"/>
              </a:cxn>
              <a:cxn ang="0">
                <a:pos x="24" y="209"/>
              </a:cxn>
              <a:cxn ang="0">
                <a:pos x="24" y="140"/>
              </a:cxn>
              <a:cxn ang="0">
                <a:pos x="19" y="134"/>
              </a:cxn>
              <a:cxn ang="0">
                <a:pos x="6" y="134"/>
              </a:cxn>
              <a:cxn ang="0">
                <a:pos x="1" y="131"/>
              </a:cxn>
              <a:cxn ang="0">
                <a:pos x="2" y="124"/>
              </a:cxn>
              <a:cxn ang="0">
                <a:pos x="120" y="2"/>
              </a:cxn>
              <a:cxn ang="0">
                <a:pos x="128" y="2"/>
              </a:cxn>
              <a:cxn ang="0">
                <a:pos x="246" y="124"/>
              </a:cxn>
              <a:cxn ang="0">
                <a:pos x="248" y="131"/>
              </a:cxn>
              <a:cxn ang="0">
                <a:pos x="242" y="134"/>
              </a:cxn>
              <a:cxn ang="0">
                <a:pos x="230" y="134"/>
              </a:cxn>
              <a:cxn ang="0">
                <a:pos x="224" y="140"/>
              </a:cxn>
              <a:cxn ang="0">
                <a:pos x="224" y="209"/>
              </a:cxn>
              <a:cxn ang="0">
                <a:pos x="225" y="209"/>
              </a:cxn>
              <a:cxn ang="0">
                <a:pos x="236" y="222"/>
              </a:cxn>
              <a:cxn ang="0">
                <a:pos x="236" y="244"/>
              </a:cxn>
              <a:cxn ang="0">
                <a:pos x="12" y="244"/>
              </a:cxn>
              <a:cxn ang="0">
                <a:pos x="12" y="222"/>
              </a:cxn>
              <a:cxn ang="0">
                <a:pos x="24" y="209"/>
              </a:cxn>
            </a:cxnLst>
            <a:rect l="0" t="0" r="r" b="b"/>
            <a:pathLst>
              <a:path w="248" h="244">
                <a:moveTo>
                  <a:pt x="24" y="209"/>
                </a:moveTo>
                <a:cubicBezTo>
                  <a:pt x="24" y="209"/>
                  <a:pt x="24" y="209"/>
                  <a:pt x="24" y="209"/>
                </a:cubicBezTo>
                <a:cubicBezTo>
                  <a:pt x="24" y="140"/>
                  <a:pt x="24" y="140"/>
                  <a:pt x="24" y="140"/>
                </a:cubicBezTo>
                <a:cubicBezTo>
                  <a:pt x="24" y="137"/>
                  <a:pt x="22" y="134"/>
                  <a:pt x="19" y="134"/>
                </a:cubicBezTo>
                <a:cubicBezTo>
                  <a:pt x="6" y="134"/>
                  <a:pt x="6" y="134"/>
                  <a:pt x="6" y="134"/>
                </a:cubicBezTo>
                <a:cubicBezTo>
                  <a:pt x="4" y="134"/>
                  <a:pt x="2" y="133"/>
                  <a:pt x="1" y="131"/>
                </a:cubicBezTo>
                <a:cubicBezTo>
                  <a:pt x="0" y="129"/>
                  <a:pt x="0" y="126"/>
                  <a:pt x="2" y="124"/>
                </a:cubicBezTo>
                <a:cubicBezTo>
                  <a:pt x="120" y="2"/>
                  <a:pt x="120" y="2"/>
                  <a:pt x="120" y="2"/>
                </a:cubicBezTo>
                <a:cubicBezTo>
                  <a:pt x="122" y="0"/>
                  <a:pt x="126" y="0"/>
                  <a:pt x="128" y="2"/>
                </a:cubicBezTo>
                <a:cubicBezTo>
                  <a:pt x="246" y="124"/>
                  <a:pt x="246" y="124"/>
                  <a:pt x="246" y="124"/>
                </a:cubicBezTo>
                <a:cubicBezTo>
                  <a:pt x="248" y="126"/>
                  <a:pt x="248" y="129"/>
                  <a:pt x="248" y="131"/>
                </a:cubicBezTo>
                <a:cubicBezTo>
                  <a:pt x="247" y="133"/>
                  <a:pt x="245" y="134"/>
                  <a:pt x="242" y="134"/>
                </a:cubicBezTo>
                <a:cubicBezTo>
                  <a:pt x="230" y="134"/>
                  <a:pt x="230" y="134"/>
                  <a:pt x="230" y="134"/>
                </a:cubicBezTo>
                <a:cubicBezTo>
                  <a:pt x="226" y="134"/>
                  <a:pt x="224" y="137"/>
                  <a:pt x="224" y="140"/>
                </a:cubicBezTo>
                <a:cubicBezTo>
                  <a:pt x="224" y="209"/>
                  <a:pt x="224" y="209"/>
                  <a:pt x="224" y="209"/>
                </a:cubicBezTo>
                <a:cubicBezTo>
                  <a:pt x="225" y="209"/>
                  <a:pt x="225" y="209"/>
                  <a:pt x="225" y="209"/>
                </a:cubicBezTo>
                <a:cubicBezTo>
                  <a:pt x="231" y="209"/>
                  <a:pt x="236" y="215"/>
                  <a:pt x="236" y="222"/>
                </a:cubicBezTo>
                <a:cubicBezTo>
                  <a:pt x="236" y="244"/>
                  <a:pt x="236" y="244"/>
                  <a:pt x="236" y="244"/>
                </a:cubicBezTo>
                <a:cubicBezTo>
                  <a:pt x="12" y="244"/>
                  <a:pt x="12" y="244"/>
                  <a:pt x="12" y="244"/>
                </a:cubicBezTo>
                <a:cubicBezTo>
                  <a:pt x="12" y="222"/>
                  <a:pt x="12" y="222"/>
                  <a:pt x="12" y="222"/>
                </a:cubicBezTo>
                <a:cubicBezTo>
                  <a:pt x="12" y="215"/>
                  <a:pt x="17" y="209"/>
                  <a:pt x="24" y="209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5487" name="Freeform 8"/>
          <p:cNvSpPr>
            <a:spLocks noEditPoints="1"/>
          </p:cNvSpPr>
          <p:nvPr/>
        </p:nvSpPr>
        <p:spPr bwMode="auto">
          <a:xfrm>
            <a:off x="400050" y="2255838"/>
            <a:ext cx="334963" cy="393700"/>
          </a:xfrm>
          <a:custGeom>
            <a:avLst/>
            <a:gdLst>
              <a:gd name="T0" fmla="*/ 0 w 139"/>
              <a:gd name="T1" fmla="*/ 0 h 163"/>
              <a:gd name="T2" fmla="*/ 59 w 139"/>
              <a:gd name="T3" fmla="*/ 0 h 163"/>
              <a:gd name="T4" fmla="*/ 59 w 139"/>
              <a:gd name="T5" fmla="*/ 163 h 163"/>
              <a:gd name="T6" fmla="*/ 0 w 139"/>
              <a:gd name="T7" fmla="*/ 163 h 163"/>
              <a:gd name="T8" fmla="*/ 0 w 139"/>
              <a:gd name="T9" fmla="*/ 0 h 163"/>
              <a:gd name="T10" fmla="*/ 0 w 139"/>
              <a:gd name="T11" fmla="*/ 0 h 163"/>
              <a:gd name="T12" fmla="*/ 78 w 139"/>
              <a:gd name="T13" fmla="*/ 0 h 163"/>
              <a:gd name="T14" fmla="*/ 139 w 139"/>
              <a:gd name="T15" fmla="*/ 0 h 163"/>
              <a:gd name="T16" fmla="*/ 139 w 139"/>
              <a:gd name="T17" fmla="*/ 163 h 163"/>
              <a:gd name="T18" fmla="*/ 78 w 139"/>
              <a:gd name="T19" fmla="*/ 163 h 163"/>
              <a:gd name="T20" fmla="*/ 78 w 139"/>
              <a:gd name="T21" fmla="*/ 0 h 16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39"/>
              <a:gd name="T34" fmla="*/ 0 h 163"/>
              <a:gd name="T35" fmla="*/ 139 w 139"/>
              <a:gd name="T36" fmla="*/ 163 h 16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39" h="163">
                <a:moveTo>
                  <a:pt x="0" y="0"/>
                </a:moveTo>
                <a:lnTo>
                  <a:pt x="59" y="0"/>
                </a:lnTo>
                <a:lnTo>
                  <a:pt x="59" y="163"/>
                </a:lnTo>
                <a:lnTo>
                  <a:pt x="0" y="163"/>
                </a:lnTo>
                <a:lnTo>
                  <a:pt x="0" y="0"/>
                </a:lnTo>
                <a:close/>
                <a:moveTo>
                  <a:pt x="78" y="0"/>
                </a:moveTo>
                <a:lnTo>
                  <a:pt x="139" y="0"/>
                </a:lnTo>
                <a:lnTo>
                  <a:pt x="139" y="163"/>
                </a:lnTo>
                <a:lnTo>
                  <a:pt x="78" y="163"/>
                </a:lnTo>
                <a:lnTo>
                  <a:pt x="78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5488" name="Freeform 9"/>
          <p:cNvSpPr>
            <a:spLocks/>
          </p:cNvSpPr>
          <p:nvPr/>
        </p:nvSpPr>
        <p:spPr bwMode="auto">
          <a:xfrm>
            <a:off x="508000" y="1854200"/>
            <a:ext cx="114300" cy="130175"/>
          </a:xfrm>
          <a:custGeom>
            <a:avLst/>
            <a:gdLst>
              <a:gd name="T0" fmla="*/ 8 w 20"/>
              <a:gd name="T1" fmla="*/ 0 h 23"/>
              <a:gd name="T2" fmla="*/ 12 w 20"/>
              <a:gd name="T3" fmla="*/ 0 h 23"/>
              <a:gd name="T4" fmla="*/ 20 w 20"/>
              <a:gd name="T5" fmla="*/ 8 h 23"/>
              <a:gd name="T6" fmla="*/ 20 w 20"/>
              <a:gd name="T7" fmla="*/ 15 h 23"/>
              <a:gd name="T8" fmla="*/ 12 w 20"/>
              <a:gd name="T9" fmla="*/ 23 h 23"/>
              <a:gd name="T10" fmla="*/ 8 w 20"/>
              <a:gd name="T11" fmla="*/ 23 h 23"/>
              <a:gd name="T12" fmla="*/ 0 w 20"/>
              <a:gd name="T13" fmla="*/ 15 h 23"/>
              <a:gd name="T14" fmla="*/ 0 w 20"/>
              <a:gd name="T15" fmla="*/ 8 h 23"/>
              <a:gd name="T16" fmla="*/ 8 w 20"/>
              <a:gd name="T17" fmla="*/ 0 h 2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"/>
              <a:gd name="T28" fmla="*/ 0 h 23"/>
              <a:gd name="T29" fmla="*/ 20 w 20"/>
              <a:gd name="T30" fmla="*/ 23 h 2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" h="23">
                <a:moveTo>
                  <a:pt x="8" y="0"/>
                </a:moveTo>
                <a:cubicBezTo>
                  <a:pt x="12" y="0"/>
                  <a:pt x="12" y="0"/>
                  <a:pt x="12" y="0"/>
                </a:cubicBezTo>
                <a:cubicBezTo>
                  <a:pt x="16" y="0"/>
                  <a:pt x="20" y="3"/>
                  <a:pt x="20" y="8"/>
                </a:cubicBezTo>
                <a:cubicBezTo>
                  <a:pt x="20" y="15"/>
                  <a:pt x="20" y="15"/>
                  <a:pt x="20" y="15"/>
                </a:cubicBezTo>
                <a:cubicBezTo>
                  <a:pt x="20" y="19"/>
                  <a:pt x="16" y="23"/>
                  <a:pt x="12" y="23"/>
                </a:cubicBezTo>
                <a:cubicBezTo>
                  <a:pt x="8" y="23"/>
                  <a:pt x="8" y="23"/>
                  <a:pt x="8" y="23"/>
                </a:cubicBezTo>
                <a:cubicBezTo>
                  <a:pt x="4" y="23"/>
                  <a:pt x="0" y="19"/>
                  <a:pt x="0" y="15"/>
                </a:cubicBezTo>
                <a:cubicBezTo>
                  <a:pt x="0" y="8"/>
                  <a:pt x="0" y="8"/>
                  <a:pt x="0" y="8"/>
                </a:cubicBezTo>
                <a:cubicBezTo>
                  <a:pt x="0" y="3"/>
                  <a:pt x="4" y="0"/>
                  <a:pt x="8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5489" name="AutoShape 10"/>
          <p:cNvSpPr>
            <a:spLocks noChangeAspect="1" noChangeArrowheads="1" noTextEdit="1"/>
          </p:cNvSpPr>
          <p:nvPr/>
        </p:nvSpPr>
        <p:spPr bwMode="auto">
          <a:xfrm>
            <a:off x="1258888" y="3119438"/>
            <a:ext cx="1674812" cy="145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284" name="Oval 12"/>
          <p:cNvSpPr>
            <a:spLocks noChangeArrowheads="1"/>
          </p:cNvSpPr>
          <p:nvPr/>
        </p:nvSpPr>
        <p:spPr bwMode="auto">
          <a:xfrm>
            <a:off x="2016125" y="3124200"/>
            <a:ext cx="220663" cy="225425"/>
          </a:xfrm>
          <a:prstGeom prst="ellipse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5491" name="Freeform 13"/>
          <p:cNvSpPr>
            <a:spLocks/>
          </p:cNvSpPr>
          <p:nvPr/>
        </p:nvSpPr>
        <p:spPr bwMode="auto">
          <a:xfrm>
            <a:off x="2327275" y="3713163"/>
            <a:ext cx="611188" cy="860425"/>
          </a:xfrm>
          <a:custGeom>
            <a:avLst/>
            <a:gdLst>
              <a:gd name="T0" fmla="*/ 137 w 141"/>
              <a:gd name="T1" fmla="*/ 74 h 199"/>
              <a:gd name="T2" fmla="*/ 103 w 141"/>
              <a:gd name="T3" fmla="*/ 61 h 199"/>
              <a:gd name="T4" fmla="*/ 89 w 141"/>
              <a:gd name="T5" fmla="*/ 25 h 199"/>
              <a:gd name="T6" fmla="*/ 69 w 141"/>
              <a:gd name="T7" fmla="*/ 16 h 199"/>
              <a:gd name="T8" fmla="*/ 36 w 141"/>
              <a:gd name="T9" fmla="*/ 26 h 199"/>
              <a:gd name="T10" fmla="*/ 36 w 141"/>
              <a:gd name="T11" fmla="*/ 26 h 199"/>
              <a:gd name="T12" fmla="*/ 36 w 141"/>
              <a:gd name="T13" fmla="*/ 26 h 199"/>
              <a:gd name="T14" fmla="*/ 37 w 141"/>
              <a:gd name="T15" fmla="*/ 7 h 199"/>
              <a:gd name="T16" fmla="*/ 30 w 141"/>
              <a:gd name="T17" fmla="*/ 0 h 199"/>
              <a:gd name="T18" fmla="*/ 22 w 141"/>
              <a:gd name="T19" fmla="*/ 3 h 199"/>
              <a:gd name="T20" fmla="*/ 17 w 141"/>
              <a:gd name="T21" fmla="*/ 28 h 199"/>
              <a:gd name="T22" fmla="*/ 19 w 141"/>
              <a:gd name="T23" fmla="*/ 28 h 199"/>
              <a:gd name="T24" fmla="*/ 20 w 141"/>
              <a:gd name="T25" fmla="*/ 33 h 199"/>
              <a:gd name="T26" fmla="*/ 23 w 141"/>
              <a:gd name="T27" fmla="*/ 46 h 199"/>
              <a:gd name="T28" fmla="*/ 36 w 141"/>
              <a:gd name="T29" fmla="*/ 46 h 199"/>
              <a:gd name="T30" fmla="*/ 46 w 141"/>
              <a:gd name="T31" fmla="*/ 44 h 199"/>
              <a:gd name="T32" fmla="*/ 36 w 141"/>
              <a:gd name="T33" fmla="*/ 80 h 199"/>
              <a:gd name="T34" fmla="*/ 36 w 141"/>
              <a:gd name="T35" fmla="*/ 89 h 199"/>
              <a:gd name="T36" fmla="*/ 40 w 141"/>
              <a:gd name="T37" fmla="*/ 97 h 199"/>
              <a:gd name="T38" fmla="*/ 3 w 141"/>
              <a:gd name="T39" fmla="*/ 182 h 199"/>
              <a:gd name="T40" fmla="*/ 8 w 141"/>
              <a:gd name="T41" fmla="*/ 196 h 199"/>
              <a:gd name="T42" fmla="*/ 23 w 141"/>
              <a:gd name="T43" fmla="*/ 191 h 199"/>
              <a:gd name="T44" fmla="*/ 56 w 141"/>
              <a:gd name="T45" fmla="*/ 120 h 199"/>
              <a:gd name="T46" fmla="*/ 73 w 141"/>
              <a:gd name="T47" fmla="*/ 140 h 199"/>
              <a:gd name="T48" fmla="*/ 78 w 141"/>
              <a:gd name="T49" fmla="*/ 187 h 199"/>
              <a:gd name="T50" fmla="*/ 89 w 141"/>
              <a:gd name="T51" fmla="*/ 198 h 199"/>
              <a:gd name="T52" fmla="*/ 100 w 141"/>
              <a:gd name="T53" fmla="*/ 189 h 199"/>
              <a:gd name="T54" fmla="*/ 96 w 141"/>
              <a:gd name="T55" fmla="*/ 133 h 199"/>
              <a:gd name="T56" fmla="*/ 72 w 141"/>
              <a:gd name="T57" fmla="*/ 100 h 199"/>
              <a:gd name="T58" fmla="*/ 85 w 141"/>
              <a:gd name="T59" fmla="*/ 68 h 199"/>
              <a:gd name="T60" fmla="*/ 91 w 141"/>
              <a:gd name="T61" fmla="*/ 75 h 199"/>
              <a:gd name="T62" fmla="*/ 129 w 141"/>
              <a:gd name="T63" fmla="*/ 89 h 199"/>
              <a:gd name="T64" fmla="*/ 140 w 141"/>
              <a:gd name="T65" fmla="*/ 84 h 199"/>
              <a:gd name="T66" fmla="*/ 137 w 141"/>
              <a:gd name="T67" fmla="*/ 74 h 19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41"/>
              <a:gd name="T103" fmla="*/ 0 h 199"/>
              <a:gd name="T104" fmla="*/ 141 w 141"/>
              <a:gd name="T105" fmla="*/ 199 h 199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41" h="199">
                <a:moveTo>
                  <a:pt x="137" y="74"/>
                </a:moveTo>
                <a:cubicBezTo>
                  <a:pt x="137" y="74"/>
                  <a:pt x="104" y="62"/>
                  <a:pt x="103" y="61"/>
                </a:cubicBezTo>
                <a:cubicBezTo>
                  <a:pt x="102" y="60"/>
                  <a:pt x="91" y="28"/>
                  <a:pt x="89" y="25"/>
                </a:cubicBezTo>
                <a:cubicBezTo>
                  <a:pt x="86" y="23"/>
                  <a:pt x="74" y="15"/>
                  <a:pt x="69" y="16"/>
                </a:cubicBezTo>
                <a:cubicBezTo>
                  <a:pt x="66" y="16"/>
                  <a:pt x="49" y="21"/>
                  <a:pt x="36" y="26"/>
                </a:cubicBezTo>
                <a:cubicBezTo>
                  <a:pt x="36" y="26"/>
                  <a:pt x="36" y="26"/>
                  <a:pt x="36" y="26"/>
                </a:cubicBezTo>
                <a:cubicBezTo>
                  <a:pt x="36" y="26"/>
                  <a:pt x="36" y="26"/>
                  <a:pt x="36" y="26"/>
                </a:cubicBezTo>
                <a:cubicBezTo>
                  <a:pt x="37" y="7"/>
                  <a:pt x="37" y="7"/>
                  <a:pt x="37" y="7"/>
                </a:cubicBezTo>
                <a:cubicBezTo>
                  <a:pt x="37" y="7"/>
                  <a:pt x="36" y="1"/>
                  <a:pt x="30" y="0"/>
                </a:cubicBezTo>
                <a:cubicBezTo>
                  <a:pt x="26" y="0"/>
                  <a:pt x="23" y="1"/>
                  <a:pt x="22" y="3"/>
                </a:cubicBezTo>
                <a:cubicBezTo>
                  <a:pt x="17" y="28"/>
                  <a:pt x="17" y="28"/>
                  <a:pt x="17" y="28"/>
                </a:cubicBezTo>
                <a:cubicBezTo>
                  <a:pt x="18" y="28"/>
                  <a:pt x="19" y="28"/>
                  <a:pt x="19" y="28"/>
                </a:cubicBezTo>
                <a:cubicBezTo>
                  <a:pt x="19" y="30"/>
                  <a:pt x="20" y="32"/>
                  <a:pt x="20" y="33"/>
                </a:cubicBezTo>
                <a:cubicBezTo>
                  <a:pt x="20" y="35"/>
                  <a:pt x="22" y="46"/>
                  <a:pt x="23" y="46"/>
                </a:cubicBezTo>
                <a:cubicBezTo>
                  <a:pt x="24" y="50"/>
                  <a:pt x="32" y="48"/>
                  <a:pt x="36" y="46"/>
                </a:cubicBezTo>
                <a:cubicBezTo>
                  <a:pt x="46" y="44"/>
                  <a:pt x="46" y="44"/>
                  <a:pt x="46" y="44"/>
                </a:cubicBezTo>
                <a:cubicBezTo>
                  <a:pt x="46" y="44"/>
                  <a:pt x="36" y="77"/>
                  <a:pt x="36" y="80"/>
                </a:cubicBezTo>
                <a:cubicBezTo>
                  <a:pt x="36" y="83"/>
                  <a:pt x="36" y="87"/>
                  <a:pt x="36" y="89"/>
                </a:cubicBezTo>
                <a:cubicBezTo>
                  <a:pt x="37" y="92"/>
                  <a:pt x="40" y="97"/>
                  <a:pt x="40" y="97"/>
                </a:cubicBezTo>
                <a:cubicBezTo>
                  <a:pt x="3" y="182"/>
                  <a:pt x="3" y="182"/>
                  <a:pt x="3" y="182"/>
                </a:cubicBezTo>
                <a:cubicBezTo>
                  <a:pt x="3" y="182"/>
                  <a:pt x="0" y="192"/>
                  <a:pt x="8" y="196"/>
                </a:cubicBezTo>
                <a:cubicBezTo>
                  <a:pt x="17" y="199"/>
                  <a:pt x="23" y="191"/>
                  <a:pt x="23" y="191"/>
                </a:cubicBezTo>
                <a:cubicBezTo>
                  <a:pt x="56" y="120"/>
                  <a:pt x="56" y="120"/>
                  <a:pt x="56" y="120"/>
                </a:cubicBezTo>
                <a:cubicBezTo>
                  <a:pt x="56" y="120"/>
                  <a:pt x="73" y="137"/>
                  <a:pt x="73" y="140"/>
                </a:cubicBezTo>
                <a:cubicBezTo>
                  <a:pt x="74" y="143"/>
                  <a:pt x="78" y="187"/>
                  <a:pt x="78" y="187"/>
                </a:cubicBezTo>
                <a:cubicBezTo>
                  <a:pt x="78" y="187"/>
                  <a:pt x="79" y="198"/>
                  <a:pt x="89" y="198"/>
                </a:cubicBezTo>
                <a:cubicBezTo>
                  <a:pt x="99" y="198"/>
                  <a:pt x="100" y="189"/>
                  <a:pt x="100" y="189"/>
                </a:cubicBezTo>
                <a:cubicBezTo>
                  <a:pt x="100" y="189"/>
                  <a:pt x="97" y="137"/>
                  <a:pt x="96" y="133"/>
                </a:cubicBezTo>
                <a:cubicBezTo>
                  <a:pt x="95" y="129"/>
                  <a:pt x="72" y="100"/>
                  <a:pt x="72" y="100"/>
                </a:cubicBezTo>
                <a:cubicBezTo>
                  <a:pt x="85" y="68"/>
                  <a:pt x="85" y="68"/>
                  <a:pt x="85" y="68"/>
                </a:cubicBezTo>
                <a:cubicBezTo>
                  <a:pt x="85" y="68"/>
                  <a:pt x="88" y="73"/>
                  <a:pt x="91" y="75"/>
                </a:cubicBezTo>
                <a:cubicBezTo>
                  <a:pt x="94" y="77"/>
                  <a:pt x="129" y="89"/>
                  <a:pt x="129" y="89"/>
                </a:cubicBezTo>
                <a:cubicBezTo>
                  <a:pt x="129" y="89"/>
                  <a:pt x="138" y="90"/>
                  <a:pt x="140" y="84"/>
                </a:cubicBezTo>
                <a:cubicBezTo>
                  <a:pt x="141" y="79"/>
                  <a:pt x="137" y="74"/>
                  <a:pt x="137" y="74"/>
                </a:cubicBezTo>
                <a:close/>
              </a:path>
            </a:pathLst>
          </a:custGeom>
          <a:solidFill>
            <a:srgbClr val="999999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286" name="Freeform 14"/>
          <p:cNvSpPr>
            <a:spLocks noEditPoints="1"/>
          </p:cNvSpPr>
          <p:nvPr/>
        </p:nvSpPr>
        <p:spPr bwMode="auto">
          <a:xfrm>
            <a:off x="1250950" y="3332163"/>
            <a:ext cx="1171575" cy="1250950"/>
          </a:xfrm>
          <a:custGeom>
            <a:avLst/>
            <a:gdLst/>
            <a:ahLst/>
            <a:cxnLst>
              <a:cxn ang="0">
                <a:pos x="271" y="91"/>
              </a:cxn>
              <a:cxn ang="0">
                <a:pos x="219" y="71"/>
              </a:cxn>
              <a:cxn ang="0">
                <a:pos x="197" y="16"/>
              </a:cxn>
              <a:cxn ang="0">
                <a:pos x="166" y="0"/>
              </a:cxn>
              <a:cxn ang="0">
                <a:pos x="90" y="27"/>
              </a:cxn>
              <a:cxn ang="0">
                <a:pos x="49" y="90"/>
              </a:cxn>
              <a:cxn ang="0">
                <a:pos x="48" y="92"/>
              </a:cxn>
              <a:cxn ang="0">
                <a:pos x="45" y="91"/>
              </a:cxn>
              <a:cxn ang="0">
                <a:pos x="24" y="102"/>
              </a:cxn>
              <a:cxn ang="0">
                <a:pos x="3" y="148"/>
              </a:cxn>
              <a:cxn ang="0">
                <a:pos x="13" y="168"/>
              </a:cxn>
              <a:cxn ang="0">
                <a:pos x="53" y="182"/>
              </a:cxn>
              <a:cxn ang="0">
                <a:pos x="71" y="173"/>
              </a:cxn>
              <a:cxn ang="0">
                <a:pos x="81" y="119"/>
              </a:cxn>
              <a:cxn ang="0">
                <a:pos x="72" y="99"/>
              </a:cxn>
              <a:cxn ang="0">
                <a:pos x="72" y="99"/>
              </a:cxn>
              <a:cxn ang="0">
                <a:pos x="110" y="48"/>
              </a:cxn>
              <a:cxn ang="0">
                <a:pos x="130" y="45"/>
              </a:cxn>
              <a:cxn ang="0">
                <a:pos x="113" y="101"/>
              </a:cxn>
              <a:cxn ang="0">
                <a:pos x="114" y="116"/>
              </a:cxn>
              <a:cxn ang="0">
                <a:pos x="121" y="128"/>
              </a:cxn>
              <a:cxn ang="0">
                <a:pos x="61" y="262"/>
              </a:cxn>
              <a:cxn ang="0">
                <a:pos x="70" y="284"/>
              </a:cxn>
              <a:cxn ang="0">
                <a:pos x="93" y="277"/>
              </a:cxn>
              <a:cxn ang="0">
                <a:pos x="145" y="164"/>
              </a:cxn>
              <a:cxn ang="0">
                <a:pos x="173" y="196"/>
              </a:cxn>
              <a:cxn ang="0">
                <a:pos x="180" y="271"/>
              </a:cxn>
              <a:cxn ang="0">
                <a:pos x="197" y="288"/>
              </a:cxn>
              <a:cxn ang="0">
                <a:pos x="215" y="273"/>
              </a:cxn>
              <a:cxn ang="0">
                <a:pos x="208" y="185"/>
              </a:cxn>
              <a:cxn ang="0">
                <a:pos x="171" y="133"/>
              </a:cxn>
              <a:cxn ang="0">
                <a:pos x="191" y="83"/>
              </a:cxn>
              <a:cxn ang="0">
                <a:pos x="200" y="93"/>
              </a:cxn>
              <a:cxn ang="0">
                <a:pos x="260" y="116"/>
              </a:cxn>
              <a:cxn ang="0">
                <a:pos x="266" y="116"/>
              </a:cxn>
              <a:cxn ang="0">
                <a:pos x="271" y="91"/>
              </a:cxn>
              <a:cxn ang="0">
                <a:pos x="271" y="91"/>
              </a:cxn>
              <a:cxn ang="0">
                <a:pos x="54" y="107"/>
              </a:cxn>
              <a:cxn ang="0">
                <a:pos x="41" y="99"/>
              </a:cxn>
              <a:cxn ang="0">
                <a:pos x="49" y="97"/>
              </a:cxn>
              <a:cxn ang="0">
                <a:pos x="54" y="105"/>
              </a:cxn>
              <a:cxn ang="0">
                <a:pos x="67" y="103"/>
              </a:cxn>
              <a:cxn ang="0">
                <a:pos x="69" y="107"/>
              </a:cxn>
              <a:cxn ang="0">
                <a:pos x="54" y="107"/>
              </a:cxn>
            </a:cxnLst>
            <a:rect l="0" t="0" r="r" b="b"/>
            <a:pathLst>
              <a:path w="271" h="289">
                <a:moveTo>
                  <a:pt x="271" y="91"/>
                </a:moveTo>
                <a:cubicBezTo>
                  <a:pt x="262" y="88"/>
                  <a:pt x="221" y="72"/>
                  <a:pt x="219" y="71"/>
                </a:cubicBezTo>
                <a:cubicBezTo>
                  <a:pt x="217" y="69"/>
                  <a:pt x="200" y="19"/>
                  <a:pt x="197" y="16"/>
                </a:cubicBezTo>
                <a:cubicBezTo>
                  <a:pt x="193" y="12"/>
                  <a:pt x="173" y="0"/>
                  <a:pt x="166" y="0"/>
                </a:cubicBezTo>
                <a:cubicBezTo>
                  <a:pt x="159" y="1"/>
                  <a:pt x="95" y="22"/>
                  <a:pt x="90" y="27"/>
                </a:cubicBezTo>
                <a:cubicBezTo>
                  <a:pt x="85" y="33"/>
                  <a:pt x="49" y="90"/>
                  <a:pt x="49" y="90"/>
                </a:cubicBezTo>
                <a:cubicBezTo>
                  <a:pt x="49" y="90"/>
                  <a:pt x="48" y="91"/>
                  <a:pt x="48" y="92"/>
                </a:cubicBezTo>
                <a:cubicBezTo>
                  <a:pt x="45" y="91"/>
                  <a:pt x="45" y="91"/>
                  <a:pt x="45" y="91"/>
                </a:cubicBezTo>
                <a:cubicBezTo>
                  <a:pt x="36" y="88"/>
                  <a:pt x="27" y="93"/>
                  <a:pt x="24" y="102"/>
                </a:cubicBezTo>
                <a:cubicBezTo>
                  <a:pt x="3" y="148"/>
                  <a:pt x="3" y="148"/>
                  <a:pt x="3" y="148"/>
                </a:cubicBezTo>
                <a:cubicBezTo>
                  <a:pt x="0" y="157"/>
                  <a:pt x="4" y="165"/>
                  <a:pt x="13" y="168"/>
                </a:cubicBezTo>
                <a:cubicBezTo>
                  <a:pt x="53" y="182"/>
                  <a:pt x="53" y="182"/>
                  <a:pt x="53" y="182"/>
                </a:cubicBezTo>
                <a:cubicBezTo>
                  <a:pt x="61" y="185"/>
                  <a:pt x="69" y="182"/>
                  <a:pt x="71" y="173"/>
                </a:cubicBezTo>
                <a:cubicBezTo>
                  <a:pt x="81" y="119"/>
                  <a:pt x="81" y="119"/>
                  <a:pt x="81" y="119"/>
                </a:cubicBezTo>
                <a:cubicBezTo>
                  <a:pt x="83" y="111"/>
                  <a:pt x="79" y="103"/>
                  <a:pt x="72" y="99"/>
                </a:cubicBezTo>
                <a:cubicBezTo>
                  <a:pt x="72" y="99"/>
                  <a:pt x="72" y="99"/>
                  <a:pt x="72" y="99"/>
                </a:cubicBezTo>
                <a:cubicBezTo>
                  <a:pt x="110" y="48"/>
                  <a:pt x="110" y="48"/>
                  <a:pt x="110" y="48"/>
                </a:cubicBezTo>
                <a:cubicBezTo>
                  <a:pt x="130" y="45"/>
                  <a:pt x="130" y="45"/>
                  <a:pt x="130" y="45"/>
                </a:cubicBezTo>
                <a:cubicBezTo>
                  <a:pt x="130" y="45"/>
                  <a:pt x="113" y="96"/>
                  <a:pt x="113" y="101"/>
                </a:cubicBezTo>
                <a:cubicBezTo>
                  <a:pt x="113" y="106"/>
                  <a:pt x="114" y="113"/>
                  <a:pt x="114" y="116"/>
                </a:cubicBezTo>
                <a:cubicBezTo>
                  <a:pt x="115" y="120"/>
                  <a:pt x="121" y="128"/>
                  <a:pt x="121" y="128"/>
                </a:cubicBezTo>
                <a:cubicBezTo>
                  <a:pt x="61" y="262"/>
                  <a:pt x="61" y="262"/>
                  <a:pt x="61" y="262"/>
                </a:cubicBezTo>
                <a:cubicBezTo>
                  <a:pt x="61" y="262"/>
                  <a:pt x="57" y="278"/>
                  <a:pt x="70" y="284"/>
                </a:cubicBezTo>
                <a:cubicBezTo>
                  <a:pt x="83" y="289"/>
                  <a:pt x="93" y="277"/>
                  <a:pt x="93" y="277"/>
                </a:cubicBezTo>
                <a:cubicBezTo>
                  <a:pt x="145" y="164"/>
                  <a:pt x="145" y="164"/>
                  <a:pt x="145" y="164"/>
                </a:cubicBezTo>
                <a:cubicBezTo>
                  <a:pt x="145" y="164"/>
                  <a:pt x="172" y="192"/>
                  <a:pt x="173" y="196"/>
                </a:cubicBezTo>
                <a:cubicBezTo>
                  <a:pt x="173" y="200"/>
                  <a:pt x="180" y="271"/>
                  <a:pt x="180" y="271"/>
                </a:cubicBezTo>
                <a:cubicBezTo>
                  <a:pt x="180" y="271"/>
                  <a:pt x="181" y="288"/>
                  <a:pt x="197" y="288"/>
                </a:cubicBezTo>
                <a:cubicBezTo>
                  <a:pt x="213" y="288"/>
                  <a:pt x="215" y="273"/>
                  <a:pt x="215" y="273"/>
                </a:cubicBezTo>
                <a:cubicBezTo>
                  <a:pt x="215" y="273"/>
                  <a:pt x="210" y="192"/>
                  <a:pt x="208" y="185"/>
                </a:cubicBezTo>
                <a:cubicBezTo>
                  <a:pt x="207" y="178"/>
                  <a:pt x="171" y="133"/>
                  <a:pt x="171" y="133"/>
                </a:cubicBezTo>
                <a:cubicBezTo>
                  <a:pt x="191" y="83"/>
                  <a:pt x="191" y="83"/>
                  <a:pt x="191" y="83"/>
                </a:cubicBezTo>
                <a:cubicBezTo>
                  <a:pt x="191" y="83"/>
                  <a:pt x="196" y="90"/>
                  <a:pt x="200" y="93"/>
                </a:cubicBezTo>
                <a:cubicBezTo>
                  <a:pt x="204" y="96"/>
                  <a:pt x="260" y="116"/>
                  <a:pt x="260" y="116"/>
                </a:cubicBezTo>
                <a:cubicBezTo>
                  <a:pt x="260" y="116"/>
                  <a:pt x="263" y="116"/>
                  <a:pt x="266" y="116"/>
                </a:cubicBezTo>
                <a:cubicBezTo>
                  <a:pt x="271" y="91"/>
                  <a:pt x="271" y="91"/>
                  <a:pt x="271" y="91"/>
                </a:cubicBezTo>
                <a:cubicBezTo>
                  <a:pt x="271" y="91"/>
                  <a:pt x="271" y="91"/>
                  <a:pt x="271" y="91"/>
                </a:cubicBezTo>
                <a:close/>
                <a:moveTo>
                  <a:pt x="54" y="107"/>
                </a:moveTo>
                <a:cubicBezTo>
                  <a:pt x="46" y="105"/>
                  <a:pt x="40" y="101"/>
                  <a:pt x="41" y="99"/>
                </a:cubicBezTo>
                <a:cubicBezTo>
                  <a:pt x="41" y="97"/>
                  <a:pt x="44" y="97"/>
                  <a:pt x="49" y="97"/>
                </a:cubicBezTo>
                <a:cubicBezTo>
                  <a:pt x="49" y="100"/>
                  <a:pt x="51" y="103"/>
                  <a:pt x="54" y="105"/>
                </a:cubicBezTo>
                <a:cubicBezTo>
                  <a:pt x="59" y="107"/>
                  <a:pt x="63" y="105"/>
                  <a:pt x="67" y="103"/>
                </a:cubicBezTo>
                <a:cubicBezTo>
                  <a:pt x="69" y="104"/>
                  <a:pt x="70" y="106"/>
                  <a:pt x="69" y="107"/>
                </a:cubicBezTo>
                <a:cubicBezTo>
                  <a:pt x="69" y="109"/>
                  <a:pt x="62" y="109"/>
                  <a:pt x="54" y="107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5493" name="Oval 15"/>
          <p:cNvSpPr>
            <a:spLocks noChangeArrowheads="1"/>
          </p:cNvSpPr>
          <p:nvPr/>
        </p:nvSpPr>
        <p:spPr bwMode="auto">
          <a:xfrm>
            <a:off x="2657475" y="3648075"/>
            <a:ext cx="142875" cy="142875"/>
          </a:xfrm>
          <a:prstGeom prst="ellipse">
            <a:avLst/>
          </a:prstGeom>
          <a:solidFill>
            <a:srgbClr val="999999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05494" name="Group 124"/>
          <p:cNvGrpSpPr>
            <a:grpSpLocks/>
          </p:cNvGrpSpPr>
          <p:nvPr/>
        </p:nvGrpSpPr>
        <p:grpSpPr bwMode="auto">
          <a:xfrm>
            <a:off x="-455613" y="4652963"/>
            <a:ext cx="2041526" cy="1577975"/>
            <a:chOff x="-2816225" y="5973763"/>
            <a:chExt cx="2284412" cy="1766887"/>
          </a:xfrm>
        </p:grpSpPr>
        <p:sp>
          <p:nvSpPr>
            <p:cNvPr id="105495" name="AutoShape 22"/>
            <p:cNvSpPr>
              <a:spLocks noChangeAspect="1" noChangeArrowheads="1" noTextEdit="1"/>
            </p:cNvSpPr>
            <p:nvPr/>
          </p:nvSpPr>
          <p:spPr bwMode="auto">
            <a:xfrm>
              <a:off x="-2816225" y="5973763"/>
              <a:ext cx="2284412" cy="1766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4296" name="Freeform 24"/>
            <p:cNvSpPr>
              <a:spLocks/>
            </p:cNvSpPr>
            <p:nvPr/>
          </p:nvSpPr>
          <p:spPr bwMode="auto">
            <a:xfrm>
              <a:off x="-1270783" y="6172849"/>
              <a:ext cx="738970" cy="814119"/>
            </a:xfrm>
            <a:custGeom>
              <a:avLst/>
              <a:gdLst/>
              <a:ahLst/>
              <a:cxnLst>
                <a:cxn ang="0">
                  <a:pos x="197" y="140"/>
                </a:cxn>
                <a:cxn ang="0">
                  <a:pos x="194" y="121"/>
                </a:cxn>
                <a:cxn ang="0">
                  <a:pos x="194" y="120"/>
                </a:cxn>
                <a:cxn ang="0">
                  <a:pos x="194" y="119"/>
                </a:cxn>
                <a:cxn ang="0">
                  <a:pos x="194" y="118"/>
                </a:cxn>
                <a:cxn ang="0">
                  <a:pos x="190" y="109"/>
                </a:cxn>
                <a:cxn ang="0">
                  <a:pos x="127" y="0"/>
                </a:cxn>
                <a:cxn ang="0">
                  <a:pos x="0" y="0"/>
                </a:cxn>
                <a:cxn ang="0">
                  <a:pos x="56" y="181"/>
                </a:cxn>
                <a:cxn ang="0">
                  <a:pos x="121" y="217"/>
                </a:cxn>
                <a:cxn ang="0">
                  <a:pos x="121" y="217"/>
                </a:cxn>
                <a:cxn ang="0">
                  <a:pos x="121" y="217"/>
                </a:cxn>
                <a:cxn ang="0">
                  <a:pos x="197" y="146"/>
                </a:cxn>
                <a:cxn ang="0">
                  <a:pos x="197" y="142"/>
                </a:cxn>
                <a:cxn ang="0">
                  <a:pos x="197" y="140"/>
                </a:cxn>
              </a:cxnLst>
              <a:rect l="0" t="0" r="r" b="b"/>
              <a:pathLst>
                <a:path w="197" h="217">
                  <a:moveTo>
                    <a:pt x="197" y="140"/>
                  </a:moveTo>
                  <a:cubicBezTo>
                    <a:pt x="197" y="134"/>
                    <a:pt x="196" y="127"/>
                    <a:pt x="194" y="121"/>
                  </a:cubicBezTo>
                  <a:cubicBezTo>
                    <a:pt x="194" y="120"/>
                    <a:pt x="194" y="120"/>
                    <a:pt x="194" y="120"/>
                  </a:cubicBezTo>
                  <a:cubicBezTo>
                    <a:pt x="194" y="119"/>
                    <a:pt x="194" y="119"/>
                    <a:pt x="194" y="119"/>
                  </a:cubicBezTo>
                  <a:cubicBezTo>
                    <a:pt x="194" y="119"/>
                    <a:pt x="194" y="119"/>
                    <a:pt x="194" y="118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6" y="181"/>
                    <a:pt x="56" y="181"/>
                    <a:pt x="56" y="181"/>
                  </a:cubicBezTo>
                  <a:cubicBezTo>
                    <a:pt x="70" y="202"/>
                    <a:pt x="94" y="217"/>
                    <a:pt x="121" y="217"/>
                  </a:cubicBezTo>
                  <a:cubicBezTo>
                    <a:pt x="121" y="217"/>
                    <a:pt x="121" y="217"/>
                    <a:pt x="121" y="217"/>
                  </a:cubicBezTo>
                  <a:cubicBezTo>
                    <a:pt x="121" y="217"/>
                    <a:pt x="121" y="217"/>
                    <a:pt x="121" y="217"/>
                  </a:cubicBezTo>
                  <a:cubicBezTo>
                    <a:pt x="162" y="217"/>
                    <a:pt x="195" y="186"/>
                    <a:pt x="197" y="146"/>
                  </a:cubicBezTo>
                  <a:cubicBezTo>
                    <a:pt x="197" y="145"/>
                    <a:pt x="197" y="143"/>
                    <a:pt x="197" y="142"/>
                  </a:cubicBezTo>
                  <a:cubicBezTo>
                    <a:pt x="197" y="141"/>
                    <a:pt x="197" y="141"/>
                    <a:pt x="197" y="140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4297" name="Freeform 25"/>
            <p:cNvSpPr>
              <a:spLocks/>
            </p:cNvSpPr>
            <p:nvPr/>
          </p:nvSpPr>
          <p:spPr bwMode="auto">
            <a:xfrm>
              <a:off x="-2196272" y="6172849"/>
              <a:ext cx="520477" cy="814119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0" y="183"/>
                </a:cxn>
                <a:cxn ang="0">
                  <a:pos x="63" y="217"/>
                </a:cxn>
                <a:cxn ang="0">
                  <a:pos x="63" y="217"/>
                </a:cxn>
                <a:cxn ang="0">
                  <a:pos x="63" y="217"/>
                </a:cxn>
                <a:cxn ang="0">
                  <a:pos x="127" y="181"/>
                </a:cxn>
                <a:cxn ang="0">
                  <a:pos x="139" y="0"/>
                </a:cxn>
                <a:cxn ang="0">
                  <a:pos x="34" y="0"/>
                </a:cxn>
              </a:cxnLst>
              <a:rect l="0" t="0" r="r" b="b"/>
              <a:pathLst>
                <a:path w="139" h="217">
                  <a:moveTo>
                    <a:pt x="34" y="0"/>
                  </a:moveTo>
                  <a:cubicBezTo>
                    <a:pt x="0" y="183"/>
                    <a:pt x="0" y="183"/>
                    <a:pt x="0" y="183"/>
                  </a:cubicBezTo>
                  <a:cubicBezTo>
                    <a:pt x="14" y="203"/>
                    <a:pt x="37" y="217"/>
                    <a:pt x="63" y="217"/>
                  </a:cubicBezTo>
                  <a:cubicBezTo>
                    <a:pt x="63" y="217"/>
                    <a:pt x="63" y="217"/>
                    <a:pt x="63" y="217"/>
                  </a:cubicBezTo>
                  <a:cubicBezTo>
                    <a:pt x="63" y="217"/>
                    <a:pt x="63" y="217"/>
                    <a:pt x="63" y="217"/>
                  </a:cubicBezTo>
                  <a:cubicBezTo>
                    <a:pt x="90" y="217"/>
                    <a:pt x="114" y="202"/>
                    <a:pt x="127" y="181"/>
                  </a:cubicBezTo>
                  <a:cubicBezTo>
                    <a:pt x="139" y="0"/>
                    <a:pt x="139" y="0"/>
                    <a:pt x="139" y="0"/>
                  </a:cubicBezTo>
                  <a:lnTo>
                    <a:pt x="34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4298" name="Freeform 26"/>
            <p:cNvSpPr>
              <a:spLocks/>
            </p:cNvSpPr>
            <p:nvPr/>
          </p:nvSpPr>
          <p:spPr bwMode="auto">
            <a:xfrm>
              <a:off x="-2816225" y="6172849"/>
              <a:ext cx="738971" cy="814119"/>
            </a:xfrm>
            <a:custGeom>
              <a:avLst/>
              <a:gdLst/>
              <a:ahLst/>
              <a:cxnLst>
                <a:cxn ang="0">
                  <a:pos x="76" y="217"/>
                </a:cxn>
                <a:cxn ang="0">
                  <a:pos x="76" y="217"/>
                </a:cxn>
                <a:cxn ang="0">
                  <a:pos x="140" y="181"/>
                </a:cxn>
                <a:cxn ang="0">
                  <a:pos x="197" y="0"/>
                </a:cxn>
                <a:cxn ang="0">
                  <a:pos x="70" y="0"/>
                </a:cxn>
                <a:cxn ang="0">
                  <a:pos x="6" y="109"/>
                </a:cxn>
                <a:cxn ang="0">
                  <a:pos x="3" y="118"/>
                </a:cxn>
                <a:cxn ang="0">
                  <a:pos x="3" y="119"/>
                </a:cxn>
                <a:cxn ang="0">
                  <a:pos x="2" y="120"/>
                </a:cxn>
                <a:cxn ang="0">
                  <a:pos x="2" y="121"/>
                </a:cxn>
                <a:cxn ang="0">
                  <a:pos x="0" y="140"/>
                </a:cxn>
                <a:cxn ang="0">
                  <a:pos x="0" y="142"/>
                </a:cxn>
                <a:cxn ang="0">
                  <a:pos x="0" y="146"/>
                </a:cxn>
                <a:cxn ang="0">
                  <a:pos x="76" y="217"/>
                </a:cxn>
                <a:cxn ang="0">
                  <a:pos x="76" y="217"/>
                </a:cxn>
              </a:cxnLst>
              <a:rect l="0" t="0" r="r" b="b"/>
              <a:pathLst>
                <a:path w="197" h="217">
                  <a:moveTo>
                    <a:pt x="76" y="217"/>
                  </a:moveTo>
                  <a:cubicBezTo>
                    <a:pt x="76" y="217"/>
                    <a:pt x="76" y="217"/>
                    <a:pt x="76" y="217"/>
                  </a:cubicBezTo>
                  <a:cubicBezTo>
                    <a:pt x="103" y="217"/>
                    <a:pt x="127" y="202"/>
                    <a:pt x="140" y="181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3" y="118"/>
                    <a:pt x="3" y="118"/>
                    <a:pt x="3" y="118"/>
                  </a:cubicBezTo>
                  <a:cubicBezTo>
                    <a:pt x="3" y="119"/>
                    <a:pt x="3" y="119"/>
                    <a:pt x="3" y="119"/>
                  </a:cubicBezTo>
                  <a:cubicBezTo>
                    <a:pt x="2" y="120"/>
                    <a:pt x="2" y="120"/>
                    <a:pt x="2" y="120"/>
                  </a:cubicBezTo>
                  <a:cubicBezTo>
                    <a:pt x="2" y="120"/>
                    <a:pt x="2" y="120"/>
                    <a:pt x="2" y="121"/>
                  </a:cubicBezTo>
                  <a:cubicBezTo>
                    <a:pt x="1" y="127"/>
                    <a:pt x="0" y="134"/>
                    <a:pt x="0" y="140"/>
                  </a:cubicBezTo>
                  <a:cubicBezTo>
                    <a:pt x="0" y="141"/>
                    <a:pt x="0" y="141"/>
                    <a:pt x="0" y="142"/>
                  </a:cubicBezTo>
                  <a:cubicBezTo>
                    <a:pt x="0" y="143"/>
                    <a:pt x="0" y="145"/>
                    <a:pt x="0" y="146"/>
                  </a:cubicBezTo>
                  <a:cubicBezTo>
                    <a:pt x="2" y="186"/>
                    <a:pt x="35" y="217"/>
                    <a:pt x="76" y="217"/>
                  </a:cubicBezTo>
                  <a:cubicBezTo>
                    <a:pt x="76" y="217"/>
                    <a:pt x="76" y="217"/>
                    <a:pt x="76" y="217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4299" name="Freeform 27"/>
            <p:cNvSpPr>
              <a:spLocks/>
            </p:cNvSpPr>
            <p:nvPr/>
          </p:nvSpPr>
          <p:spPr bwMode="auto">
            <a:xfrm>
              <a:off x="-1668689" y="6172849"/>
              <a:ext cx="516923" cy="814119"/>
            </a:xfrm>
            <a:custGeom>
              <a:avLst/>
              <a:gdLst/>
              <a:ahLst/>
              <a:cxnLst>
                <a:cxn ang="0">
                  <a:pos x="138" y="183"/>
                </a:cxn>
                <a:cxn ang="0">
                  <a:pos x="104" y="0"/>
                </a:cxn>
                <a:cxn ang="0">
                  <a:pos x="0" y="0"/>
                </a:cxn>
                <a:cxn ang="0">
                  <a:pos x="12" y="183"/>
                </a:cxn>
                <a:cxn ang="0">
                  <a:pos x="12" y="183"/>
                </a:cxn>
                <a:cxn ang="0">
                  <a:pos x="74" y="217"/>
                </a:cxn>
                <a:cxn ang="0">
                  <a:pos x="75" y="217"/>
                </a:cxn>
                <a:cxn ang="0">
                  <a:pos x="75" y="217"/>
                </a:cxn>
                <a:cxn ang="0">
                  <a:pos x="138" y="183"/>
                </a:cxn>
              </a:cxnLst>
              <a:rect l="0" t="0" r="r" b="b"/>
              <a:pathLst>
                <a:path w="138" h="217">
                  <a:moveTo>
                    <a:pt x="138" y="183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25" y="203"/>
                    <a:pt x="48" y="217"/>
                    <a:pt x="74" y="217"/>
                  </a:cubicBezTo>
                  <a:cubicBezTo>
                    <a:pt x="75" y="217"/>
                    <a:pt x="75" y="217"/>
                    <a:pt x="75" y="217"/>
                  </a:cubicBezTo>
                  <a:cubicBezTo>
                    <a:pt x="75" y="217"/>
                    <a:pt x="75" y="217"/>
                    <a:pt x="75" y="217"/>
                  </a:cubicBezTo>
                  <a:cubicBezTo>
                    <a:pt x="101" y="217"/>
                    <a:pt x="124" y="203"/>
                    <a:pt x="138" y="183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5500" name="Freeform 28"/>
            <p:cNvSpPr>
              <a:spLocks/>
            </p:cNvSpPr>
            <p:nvPr/>
          </p:nvSpPr>
          <p:spPr bwMode="auto">
            <a:xfrm>
              <a:off x="-2654300" y="6964363"/>
              <a:ext cx="1957387" cy="776287"/>
            </a:xfrm>
            <a:custGeom>
              <a:avLst/>
              <a:gdLst>
                <a:gd name="T0" fmla="*/ 490 w 522"/>
                <a:gd name="T1" fmla="*/ 33 h 207"/>
                <a:gd name="T2" fmla="*/ 488 w 522"/>
                <a:gd name="T3" fmla="*/ 33 h 207"/>
                <a:gd name="T4" fmla="*/ 414 w 522"/>
                <a:gd name="T5" fmla="*/ 0 h 207"/>
                <a:gd name="T6" fmla="*/ 372 w 522"/>
                <a:gd name="T7" fmla="*/ 27 h 207"/>
                <a:gd name="T8" fmla="*/ 372 w 522"/>
                <a:gd name="T9" fmla="*/ 162 h 207"/>
                <a:gd name="T10" fmla="*/ 48 w 522"/>
                <a:gd name="T11" fmla="*/ 162 h 207"/>
                <a:gd name="T12" fmla="*/ 48 w 522"/>
                <a:gd name="T13" fmla="*/ 32 h 207"/>
                <a:gd name="T14" fmla="*/ 34 w 522"/>
                <a:gd name="T15" fmla="*/ 33 h 207"/>
                <a:gd name="T16" fmla="*/ 31 w 522"/>
                <a:gd name="T17" fmla="*/ 33 h 207"/>
                <a:gd name="T18" fmla="*/ 0 w 522"/>
                <a:gd name="T19" fmla="*/ 28 h 207"/>
                <a:gd name="T20" fmla="*/ 0 w 522"/>
                <a:gd name="T21" fmla="*/ 207 h 207"/>
                <a:gd name="T22" fmla="*/ 522 w 522"/>
                <a:gd name="T23" fmla="*/ 207 h 207"/>
                <a:gd name="T24" fmla="*/ 522 w 522"/>
                <a:gd name="T25" fmla="*/ 28 h 207"/>
                <a:gd name="T26" fmla="*/ 491 w 522"/>
                <a:gd name="T27" fmla="*/ 33 h 207"/>
                <a:gd name="T28" fmla="*/ 490 w 522"/>
                <a:gd name="T29" fmla="*/ 33 h 2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22"/>
                <a:gd name="T46" fmla="*/ 0 h 207"/>
                <a:gd name="T47" fmla="*/ 522 w 522"/>
                <a:gd name="T48" fmla="*/ 207 h 20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22" h="207">
                  <a:moveTo>
                    <a:pt x="490" y="33"/>
                  </a:moveTo>
                  <a:cubicBezTo>
                    <a:pt x="488" y="33"/>
                    <a:pt x="488" y="33"/>
                    <a:pt x="488" y="33"/>
                  </a:cubicBezTo>
                  <a:cubicBezTo>
                    <a:pt x="459" y="33"/>
                    <a:pt x="432" y="20"/>
                    <a:pt x="414" y="0"/>
                  </a:cubicBezTo>
                  <a:cubicBezTo>
                    <a:pt x="402" y="12"/>
                    <a:pt x="388" y="22"/>
                    <a:pt x="372" y="27"/>
                  </a:cubicBezTo>
                  <a:cubicBezTo>
                    <a:pt x="372" y="162"/>
                    <a:pt x="372" y="162"/>
                    <a:pt x="372" y="162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4" y="33"/>
                    <a:pt x="39" y="33"/>
                    <a:pt x="34" y="33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1" y="33"/>
                    <a:pt x="10" y="31"/>
                    <a:pt x="0" y="28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522" y="207"/>
                    <a:pt x="522" y="207"/>
                    <a:pt x="522" y="207"/>
                  </a:cubicBezTo>
                  <a:cubicBezTo>
                    <a:pt x="522" y="28"/>
                    <a:pt x="522" y="28"/>
                    <a:pt x="522" y="28"/>
                  </a:cubicBezTo>
                  <a:cubicBezTo>
                    <a:pt x="512" y="31"/>
                    <a:pt x="502" y="33"/>
                    <a:pt x="491" y="33"/>
                  </a:cubicBezTo>
                  <a:cubicBezTo>
                    <a:pt x="491" y="33"/>
                    <a:pt x="490" y="33"/>
                    <a:pt x="490" y="33"/>
                  </a:cubicBezTo>
                  <a:close/>
                </a:path>
              </a:pathLst>
            </a:custGeom>
            <a:solidFill>
              <a:srgbClr val="BBBDBF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4305" name="Freeform 33"/>
            <p:cNvSpPr>
              <a:spLocks/>
            </p:cNvSpPr>
            <p:nvPr/>
          </p:nvSpPr>
          <p:spPr bwMode="auto">
            <a:xfrm>
              <a:off x="-2599508" y="5973763"/>
              <a:ext cx="1922033" cy="126206"/>
            </a:xfrm>
            <a:custGeom>
              <a:avLst/>
              <a:gdLst/>
              <a:ahLst/>
              <a:cxnLst>
                <a:cxn ang="0">
                  <a:pos x="16" y="34"/>
                </a:cxn>
                <a:cxn ang="0">
                  <a:pos x="495" y="34"/>
                </a:cxn>
                <a:cxn ang="0">
                  <a:pos x="512" y="17"/>
                </a:cxn>
                <a:cxn ang="0">
                  <a:pos x="495" y="0"/>
                </a:cxn>
                <a:cxn ang="0">
                  <a:pos x="16" y="0"/>
                </a:cxn>
                <a:cxn ang="0">
                  <a:pos x="0" y="17"/>
                </a:cxn>
                <a:cxn ang="0">
                  <a:pos x="16" y="34"/>
                </a:cxn>
              </a:cxnLst>
              <a:rect l="0" t="0" r="r" b="b"/>
              <a:pathLst>
                <a:path w="512" h="34">
                  <a:moveTo>
                    <a:pt x="16" y="34"/>
                  </a:moveTo>
                  <a:cubicBezTo>
                    <a:pt x="495" y="34"/>
                    <a:pt x="495" y="34"/>
                    <a:pt x="495" y="34"/>
                  </a:cubicBezTo>
                  <a:cubicBezTo>
                    <a:pt x="504" y="34"/>
                    <a:pt x="512" y="26"/>
                    <a:pt x="512" y="17"/>
                  </a:cubicBezTo>
                  <a:cubicBezTo>
                    <a:pt x="512" y="8"/>
                    <a:pt x="504" y="0"/>
                    <a:pt x="49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6"/>
                    <a:pt x="7" y="34"/>
                    <a:pt x="16" y="34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4306" name="Freeform 34"/>
            <p:cNvSpPr>
              <a:spLocks/>
            </p:cNvSpPr>
            <p:nvPr/>
          </p:nvSpPr>
          <p:spPr bwMode="auto">
            <a:xfrm>
              <a:off x="-2420094" y="7061625"/>
              <a:ext cx="1104902" cy="45860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122"/>
                </a:cxn>
                <a:cxn ang="0">
                  <a:pos x="294" y="122"/>
                </a:cxn>
                <a:cxn ang="0">
                  <a:pos x="294" y="5"/>
                </a:cxn>
                <a:cxn ang="0">
                  <a:pos x="287" y="6"/>
                </a:cxn>
                <a:cxn ang="0">
                  <a:pos x="287" y="115"/>
                </a:cxn>
                <a:cxn ang="0">
                  <a:pos x="7" y="115"/>
                </a:cxn>
                <a:cxn ang="0">
                  <a:pos x="7" y="0"/>
                </a:cxn>
                <a:cxn ang="0">
                  <a:pos x="0" y="3"/>
                </a:cxn>
              </a:cxnLst>
              <a:rect l="0" t="0" r="r" b="b"/>
              <a:pathLst>
                <a:path w="294" h="122">
                  <a:moveTo>
                    <a:pt x="0" y="3"/>
                  </a:moveTo>
                  <a:cubicBezTo>
                    <a:pt x="0" y="122"/>
                    <a:pt x="0" y="122"/>
                    <a:pt x="0" y="122"/>
                  </a:cubicBezTo>
                  <a:cubicBezTo>
                    <a:pt x="294" y="122"/>
                    <a:pt x="294" y="122"/>
                    <a:pt x="294" y="122"/>
                  </a:cubicBezTo>
                  <a:cubicBezTo>
                    <a:pt x="294" y="5"/>
                    <a:pt x="294" y="5"/>
                    <a:pt x="294" y="5"/>
                  </a:cubicBezTo>
                  <a:cubicBezTo>
                    <a:pt x="291" y="6"/>
                    <a:pt x="289" y="6"/>
                    <a:pt x="287" y="6"/>
                  </a:cubicBezTo>
                  <a:cubicBezTo>
                    <a:pt x="287" y="115"/>
                    <a:pt x="287" y="115"/>
                    <a:pt x="287" y="115"/>
                  </a:cubicBezTo>
                  <a:cubicBezTo>
                    <a:pt x="7" y="115"/>
                    <a:pt x="7" y="115"/>
                    <a:pt x="7" y="115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"/>
                    <a:pt x="3" y="2"/>
                    <a:pt x="0" y="3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aphicFrame>
        <p:nvGraphicFramePr>
          <p:cNvPr id="37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1544101"/>
              </p:ext>
            </p:extLst>
          </p:nvPr>
        </p:nvGraphicFramePr>
        <p:xfrm>
          <a:off x="2424237" y="1747837"/>
          <a:ext cx="5761774" cy="4364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6" name="TextBox 35"/>
          <p:cNvSpPr txBox="1"/>
          <p:nvPr/>
        </p:nvSpPr>
        <p:spPr>
          <a:xfrm>
            <a:off x="-4541" y="5694028"/>
            <a:ext cx="885599" cy="2923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hu-HU" sz="1900" b="1" smtClean="0">
                <a:solidFill>
                  <a:schemeClr val="tx2">
                    <a:lumMod val="60000"/>
                    <a:lumOff val="40000"/>
                  </a:schemeClr>
                </a:solidFill>
                <a:ea typeface="Arial Unicode MS" pitchFamily="34" charset="-128"/>
                <a:cs typeface="Arial Unicode MS" pitchFamily="34" charset="-128"/>
              </a:rPr>
              <a:t>NYITVA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 bwMode="gray">
          <a:xfrm flipV="1">
            <a:off x="0" y="5695950"/>
            <a:ext cx="6069013" cy="116205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1"/>
            <a:tileRect/>
          </a:gradFill>
          <a:ln w="6350">
            <a:noFill/>
            <a:round/>
            <a:headEnd/>
            <a:tailEnd/>
          </a:ln>
        </p:spPr>
        <p:txBody>
          <a:bodyPr anchor="ctr"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07522" name="Group 9"/>
          <p:cNvGrpSpPr>
            <a:grpSpLocks/>
          </p:cNvGrpSpPr>
          <p:nvPr/>
        </p:nvGrpSpPr>
        <p:grpSpPr bwMode="auto">
          <a:xfrm>
            <a:off x="0" y="12700"/>
            <a:ext cx="9144000" cy="6867525"/>
            <a:chOff x="0" y="0"/>
            <a:chExt cx="9144000" cy="6868395"/>
          </a:xfrm>
        </p:grpSpPr>
        <p:pic>
          <p:nvPicPr>
            <p:cNvPr id="107529" name="Picture 10" descr="shutterstock_27404284.png"/>
            <p:cNvPicPr>
              <a:picLocks noChangeAspect="1"/>
            </p:cNvPicPr>
            <p:nvPr/>
          </p:nvPicPr>
          <p:blipFill>
            <a:blip r:embed="rId3" cstate="print"/>
            <a:srcRect t="23846" r="27689" b="12717"/>
            <a:stretch>
              <a:fillRect/>
            </a:stretch>
          </p:blipFill>
          <p:spPr bwMode="auto">
            <a:xfrm>
              <a:off x="3305174" y="0"/>
              <a:ext cx="5838826" cy="68564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" name="Rectangle 13"/>
            <p:cNvSpPr/>
            <p:nvPr/>
          </p:nvSpPr>
          <p:spPr bwMode="auto">
            <a:xfrm>
              <a:off x="0" y="11982"/>
              <a:ext cx="7924799" cy="6856413"/>
            </a:xfrm>
            <a:prstGeom prst="rect">
              <a:avLst/>
            </a:prstGeom>
            <a:gradFill flip="none" rotWithShape="1">
              <a:gsLst>
                <a:gs pos="46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07523" name="Group 38"/>
          <p:cNvGrpSpPr>
            <a:grpSpLocks/>
          </p:cNvGrpSpPr>
          <p:nvPr/>
        </p:nvGrpSpPr>
        <p:grpSpPr bwMode="auto">
          <a:xfrm>
            <a:off x="434975" y="2030413"/>
            <a:ext cx="3913188" cy="2168525"/>
            <a:chOff x="464179" y="1511250"/>
            <a:chExt cx="3911799" cy="2168490"/>
          </a:xfrm>
        </p:grpSpPr>
        <p:sp>
          <p:nvSpPr>
            <p:cNvPr id="16" name="Content Placeholder 2"/>
            <p:cNvSpPr txBox="1">
              <a:spLocks/>
            </p:cNvSpPr>
            <p:nvPr/>
          </p:nvSpPr>
          <p:spPr bwMode="auto">
            <a:xfrm>
              <a:off x="503853" y="2687568"/>
              <a:ext cx="3872125" cy="992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5000"/>
                </a:lnSpc>
                <a:spcBef>
                  <a:spcPct val="100000"/>
                </a:spcBef>
                <a:spcAft>
                  <a:spcPct val="5000"/>
                </a:spcAft>
              </a:pPr>
              <a:r>
                <a:rPr lang="hu-HU" sz="2100" spc="-20">
                  <a:ea typeface="Arial Unicode MS" pitchFamily="34" charset="-128"/>
                  <a:cs typeface="Arial Unicode MS" pitchFamily="34" charset="-128"/>
                </a:rPr>
                <a:t>végzett már keresést</a:t>
              </a:r>
              <a:br>
                <a:rPr lang="hu-HU" sz="2100" spc="-20">
                  <a:ea typeface="Arial Unicode MS" pitchFamily="34" charset="-128"/>
                  <a:cs typeface="Arial Unicode MS" pitchFamily="34" charset="-128"/>
                </a:rPr>
              </a:br>
              <a:r>
                <a:rPr lang="hu-HU" sz="2100" spc="-20">
                  <a:ea typeface="Arial Unicode MS" pitchFamily="34" charset="-128"/>
                  <a:cs typeface="Arial Unicode MS" pitchFamily="34" charset="-128"/>
                </a:rPr>
                <a:t>telefonján egy termékre</a:t>
              </a:r>
              <a:br>
                <a:rPr lang="hu-HU" sz="2100" spc="-20">
                  <a:ea typeface="Arial Unicode MS" pitchFamily="34" charset="-128"/>
                  <a:cs typeface="Arial Unicode MS" pitchFamily="34" charset="-128"/>
                </a:rPr>
              </a:br>
              <a:r>
                <a:rPr lang="hu-HU" sz="2100" spc="-20">
                  <a:ea typeface="Arial Unicode MS" pitchFamily="34" charset="-128"/>
                  <a:cs typeface="Arial Unicode MS" pitchFamily="34" charset="-128"/>
                </a:rPr>
                <a:t>vagy szolgáltatásra </a:t>
              </a:r>
            </a:p>
            <a:p>
              <a:pPr>
                <a:lnSpc>
                  <a:spcPct val="95000"/>
                </a:lnSpc>
                <a:spcBef>
                  <a:spcPct val="100000"/>
                </a:spcBef>
                <a:spcAft>
                  <a:spcPct val="5000"/>
                </a:spcAft>
              </a:pPr>
              <a:endParaRPr lang="hu-HU" spc="-2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64179" y="1511250"/>
              <a:ext cx="2623207" cy="1409677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hu-HU" sz="9600" b="1" smtClean="0">
                  <a:solidFill>
                    <a:schemeClr val="accent4"/>
                  </a:solidFill>
                  <a:ea typeface="Arial Unicode MS" pitchFamily="34" charset="-128"/>
                  <a:cs typeface="Arial Unicode MS" pitchFamily="34" charset="-128"/>
                </a:rPr>
                <a:t>75%</a:t>
              </a:r>
              <a:endParaRPr lang="hu-HU" sz="9600" b="1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107525" name="Picture 18" descr="HTC_VideoPhone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240407">
            <a:off x="3340100" y="1741488"/>
            <a:ext cx="2006600" cy="291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7526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71CCA4BC-B802-4C87-A9BF-CF3C2251637E}" type="slidenum">
              <a:rPr lang="hu-HU" smtClean="0"/>
              <a:pPr/>
              <a:t>13</a:t>
            </a:fld>
            <a:endParaRPr lang="hu-HU" smtClean="0"/>
          </a:p>
        </p:txBody>
      </p:sp>
      <p:sp>
        <p:nvSpPr>
          <p:cNvPr id="12" name="TextBox 7"/>
          <p:cNvSpPr txBox="1">
            <a:spLocks noChangeArrowheads="1"/>
          </p:cNvSpPr>
          <p:nvPr/>
        </p:nvSpPr>
        <p:spPr bwMode="auto">
          <a:xfrm>
            <a:off x="499115" y="6400800"/>
            <a:ext cx="683260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5000"/>
              </a:lnSpc>
              <a:tabLst>
                <a:tab pos="627063" algn="l"/>
              </a:tabLst>
            </a:pP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Alapja:	Okostelefon-használók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, akik az internetet általánosságban használják okostelefonjukon, n=1000 </a:t>
            </a:r>
          </a:p>
          <a:p>
            <a:pPr defTabSz="587375">
              <a:lnSpc>
                <a:spcPct val="95000"/>
              </a:lnSpc>
              <a:tabLst>
                <a:tab pos="627063" algn="l"/>
              </a:tabLst>
            </a:pP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51/a </a:t>
            </a: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kérdés:	Hol 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tartózkodott, amikor okostelefonján a termékekre vagy szolgáltatásokra keresett?</a:t>
            </a:r>
          </a:p>
        </p:txBody>
      </p:sp>
      <p:sp>
        <p:nvSpPr>
          <p:cNvPr id="13" name="Text Box 54"/>
          <p:cNvSpPr txBox="1">
            <a:spLocks noChangeArrowheads="1"/>
          </p:cNvSpPr>
          <p:nvPr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no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hu-HU" sz="800" baseline="0" noProof="0" dirty="0" smtClean="0">
                <a:solidFill>
                  <a:srgbClr val="7D7D7D"/>
                </a:solidFill>
                <a:ea typeface="Arial Unicode MS" pitchFamily="34" charset="-128"/>
                <a:cs typeface="Arial Unicode MS" pitchFamily="34" charset="-128"/>
              </a:rPr>
              <a:t>A Google bizalmas és saját tulajdonú információi</a:t>
            </a:r>
            <a:endParaRPr lang="hu-HU" sz="800" baseline="0" noProof="0" dirty="0">
              <a:solidFill>
                <a:srgbClr val="7D7D7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56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347788"/>
            <a:ext cx="9144000" cy="496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9570" name="Title 2"/>
          <p:cNvSpPr>
            <a:spLocks noGrp="1"/>
          </p:cNvSpPr>
          <p:nvPr>
            <p:ph type="title"/>
          </p:nvPr>
        </p:nvSpPr>
        <p:spPr>
          <a:xfrm>
            <a:off x="457200" y="201168"/>
            <a:ext cx="8686800" cy="476250"/>
          </a:xfrm>
        </p:spPr>
        <p:txBody>
          <a:bodyPr>
            <a:noAutofit/>
          </a:bodyPr>
          <a:lstStyle/>
          <a:p>
            <a:r>
              <a:rPr lang="hu-HU" smtClean="0"/>
              <a:t>Az okostelefonok elsődleges partnereink </a:t>
            </a:r>
            <a:br>
              <a:rPr lang="hu-HU" smtClean="0"/>
            </a:br>
            <a:r>
              <a:rPr lang="hu-HU" smtClean="0"/>
              <a:t>a vásárlásban</a:t>
            </a:r>
          </a:p>
        </p:txBody>
      </p:sp>
      <p:sp>
        <p:nvSpPr>
          <p:cNvPr id="109571" name="Slide Number Placeholder 40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87F0FE10-13F9-421E-B602-95D05882439D}" type="slidenum">
              <a:rPr lang="hu-HU"/>
              <a:pPr/>
              <a:t>14</a:t>
            </a:fld>
            <a:endParaRPr lang="hu-HU"/>
          </a:p>
        </p:txBody>
      </p:sp>
      <p:sp>
        <p:nvSpPr>
          <p:cNvPr id="109573" name="TextBox 7"/>
          <p:cNvSpPr txBox="1">
            <a:spLocks noChangeArrowheads="1"/>
          </p:cNvSpPr>
          <p:nvPr/>
        </p:nvSpPr>
        <p:spPr bwMode="auto">
          <a:xfrm>
            <a:off x="482600" y="6324600"/>
            <a:ext cx="650875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5000"/>
              </a:lnSpc>
              <a:tabLst>
                <a:tab pos="576263" algn="l"/>
              </a:tabLst>
            </a:pP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Alapja:	Okostelefon-használók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, akik az internetet általánosságban használják okostelefonjukon, n=1000 </a:t>
            </a:r>
          </a:p>
          <a:p>
            <a:pPr defTabSz="533400">
              <a:lnSpc>
                <a:spcPct val="95000"/>
              </a:lnSpc>
              <a:tabLst>
                <a:tab pos="576263" algn="l"/>
              </a:tabLst>
            </a:pP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52. </a:t>
            </a: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kérdés:	Mennyire 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ért egyet a következő kijelentésekkel? Válaszoljon 1-től 5-ig terjedő osztályzattal. Az „1” jelenti, </a:t>
            </a: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	hogy egyáltalán 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nem ért egyet az állítással, az „5” jelenti, hogy teljes mértékben egyetért vele.</a:t>
            </a:r>
          </a:p>
        </p:txBody>
      </p:sp>
      <p:sp>
        <p:nvSpPr>
          <p:cNvPr id="109574" name="AutoShape 4"/>
          <p:cNvSpPr>
            <a:spLocks noChangeAspect="1" noChangeArrowheads="1" noTextEdit="1"/>
          </p:cNvSpPr>
          <p:nvPr/>
        </p:nvSpPr>
        <p:spPr bwMode="auto">
          <a:xfrm>
            <a:off x="-2876550" y="4999038"/>
            <a:ext cx="1990725" cy="324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5302" name="Freeform 6"/>
          <p:cNvSpPr>
            <a:spLocks noEditPoints="1"/>
          </p:cNvSpPr>
          <p:nvPr/>
        </p:nvSpPr>
        <p:spPr bwMode="auto">
          <a:xfrm>
            <a:off x="-1814992" y="1402489"/>
            <a:ext cx="4161377" cy="4383714"/>
          </a:xfrm>
          <a:custGeom>
            <a:avLst/>
            <a:gdLst/>
            <a:ahLst/>
            <a:cxnLst>
              <a:cxn ang="0">
                <a:pos x="36" y="249"/>
              </a:cxn>
              <a:cxn ang="0">
                <a:pos x="0" y="559"/>
              </a:cxn>
              <a:cxn ang="0">
                <a:pos x="310" y="559"/>
              </a:cxn>
              <a:cxn ang="0">
                <a:pos x="274" y="249"/>
              </a:cxn>
              <a:cxn ang="0">
                <a:pos x="36" y="249"/>
              </a:cxn>
              <a:cxn ang="0">
                <a:pos x="98" y="273"/>
              </a:cxn>
              <a:cxn ang="0">
                <a:pos x="116" y="291"/>
              </a:cxn>
              <a:cxn ang="0">
                <a:pos x="103" y="309"/>
              </a:cxn>
              <a:cxn ang="0">
                <a:pos x="117" y="369"/>
              </a:cxn>
              <a:cxn ang="0">
                <a:pos x="160" y="386"/>
              </a:cxn>
              <a:cxn ang="0">
                <a:pos x="188" y="369"/>
              </a:cxn>
              <a:cxn ang="0">
                <a:pos x="206" y="309"/>
              </a:cxn>
              <a:cxn ang="0">
                <a:pos x="193" y="291"/>
              </a:cxn>
              <a:cxn ang="0">
                <a:pos x="211" y="273"/>
              </a:cxn>
              <a:cxn ang="0">
                <a:pos x="230" y="291"/>
              </a:cxn>
              <a:cxn ang="0">
                <a:pos x="218" y="308"/>
              </a:cxn>
              <a:cxn ang="0">
                <a:pos x="198" y="377"/>
              </a:cxn>
              <a:cxn ang="0">
                <a:pos x="160" y="398"/>
              </a:cxn>
              <a:cxn ang="0">
                <a:pos x="107" y="376"/>
              </a:cxn>
              <a:cxn ang="0">
                <a:pos x="91" y="308"/>
              </a:cxn>
              <a:cxn ang="0">
                <a:pos x="79" y="291"/>
              </a:cxn>
              <a:cxn ang="0">
                <a:pos x="98" y="273"/>
              </a:cxn>
              <a:cxn ang="0">
                <a:pos x="298" y="538"/>
              </a:cxn>
              <a:cxn ang="0">
                <a:pos x="291" y="545"/>
              </a:cxn>
              <a:cxn ang="0">
                <a:pos x="17" y="545"/>
              </a:cxn>
              <a:cxn ang="0">
                <a:pos x="49" y="264"/>
              </a:cxn>
              <a:cxn ang="0">
                <a:pos x="56" y="258"/>
              </a:cxn>
              <a:cxn ang="0">
                <a:pos x="62" y="266"/>
              </a:cxn>
              <a:cxn ang="0">
                <a:pos x="32" y="532"/>
              </a:cxn>
              <a:cxn ang="0">
                <a:pos x="291" y="532"/>
              </a:cxn>
              <a:cxn ang="0">
                <a:pos x="298" y="538"/>
              </a:cxn>
              <a:cxn ang="0">
                <a:pos x="424" y="133"/>
              </a:cxn>
              <a:cxn ang="0">
                <a:pos x="403" y="30"/>
              </a:cxn>
              <a:cxn ang="0">
                <a:pos x="333" y="2"/>
              </a:cxn>
              <a:cxn ang="0">
                <a:pos x="285" y="29"/>
              </a:cxn>
              <a:cxn ang="0">
                <a:pos x="257" y="133"/>
              </a:cxn>
              <a:cxn ang="0">
                <a:pos x="147" y="133"/>
              </a:cxn>
              <a:cxn ang="0">
                <a:pos x="147" y="222"/>
              </a:cxn>
              <a:cxn ang="0">
                <a:pos x="298" y="222"/>
              </a:cxn>
              <a:cxn ang="0">
                <a:pos x="337" y="559"/>
              </a:cxn>
              <a:cxn ang="0">
                <a:pos x="531" y="559"/>
              </a:cxn>
              <a:cxn ang="0">
                <a:pos x="531" y="133"/>
              </a:cxn>
              <a:cxn ang="0">
                <a:pos x="424" y="133"/>
              </a:cxn>
              <a:cxn ang="0">
                <a:pos x="268" y="207"/>
              </a:cxn>
              <a:cxn ang="0">
                <a:pos x="245" y="185"/>
              </a:cxn>
              <a:cxn ang="0">
                <a:pos x="268" y="163"/>
              </a:cxn>
              <a:cxn ang="0">
                <a:pos x="290" y="185"/>
              </a:cxn>
              <a:cxn ang="0">
                <a:pos x="268" y="207"/>
              </a:cxn>
              <a:cxn ang="0">
                <a:pos x="273" y="133"/>
              </a:cxn>
              <a:cxn ang="0">
                <a:pos x="297" y="39"/>
              </a:cxn>
              <a:cxn ang="0">
                <a:pos x="334" y="17"/>
              </a:cxn>
              <a:cxn ang="0">
                <a:pos x="391" y="40"/>
              </a:cxn>
              <a:cxn ang="0">
                <a:pos x="409" y="133"/>
              </a:cxn>
              <a:cxn ang="0">
                <a:pos x="273" y="133"/>
              </a:cxn>
              <a:cxn ang="0">
                <a:pos x="409" y="207"/>
              </a:cxn>
              <a:cxn ang="0">
                <a:pos x="386" y="185"/>
              </a:cxn>
              <a:cxn ang="0">
                <a:pos x="409" y="163"/>
              </a:cxn>
              <a:cxn ang="0">
                <a:pos x="431" y="185"/>
              </a:cxn>
              <a:cxn ang="0">
                <a:pos x="409" y="207"/>
              </a:cxn>
            </a:cxnLst>
            <a:rect l="0" t="0" r="r" b="b"/>
            <a:pathLst>
              <a:path w="531" h="559">
                <a:moveTo>
                  <a:pt x="36" y="249"/>
                </a:moveTo>
                <a:cubicBezTo>
                  <a:pt x="0" y="559"/>
                  <a:pt x="0" y="559"/>
                  <a:pt x="0" y="559"/>
                </a:cubicBezTo>
                <a:cubicBezTo>
                  <a:pt x="310" y="559"/>
                  <a:pt x="310" y="559"/>
                  <a:pt x="310" y="559"/>
                </a:cubicBezTo>
                <a:cubicBezTo>
                  <a:pt x="274" y="249"/>
                  <a:pt x="274" y="249"/>
                  <a:pt x="274" y="249"/>
                </a:cubicBezTo>
                <a:lnTo>
                  <a:pt x="36" y="249"/>
                </a:lnTo>
                <a:close/>
                <a:moveTo>
                  <a:pt x="98" y="273"/>
                </a:moveTo>
                <a:cubicBezTo>
                  <a:pt x="108" y="273"/>
                  <a:pt x="116" y="281"/>
                  <a:pt x="116" y="291"/>
                </a:cubicBezTo>
                <a:cubicBezTo>
                  <a:pt x="116" y="300"/>
                  <a:pt x="110" y="307"/>
                  <a:pt x="103" y="309"/>
                </a:cubicBezTo>
                <a:cubicBezTo>
                  <a:pt x="102" y="332"/>
                  <a:pt x="106" y="354"/>
                  <a:pt x="117" y="369"/>
                </a:cubicBezTo>
                <a:cubicBezTo>
                  <a:pt x="126" y="381"/>
                  <a:pt x="141" y="387"/>
                  <a:pt x="160" y="386"/>
                </a:cubicBezTo>
                <a:cubicBezTo>
                  <a:pt x="171" y="385"/>
                  <a:pt x="180" y="380"/>
                  <a:pt x="188" y="369"/>
                </a:cubicBezTo>
                <a:cubicBezTo>
                  <a:pt x="198" y="356"/>
                  <a:pt x="204" y="334"/>
                  <a:pt x="206" y="309"/>
                </a:cubicBezTo>
                <a:cubicBezTo>
                  <a:pt x="199" y="306"/>
                  <a:pt x="193" y="299"/>
                  <a:pt x="193" y="291"/>
                </a:cubicBezTo>
                <a:cubicBezTo>
                  <a:pt x="193" y="281"/>
                  <a:pt x="201" y="273"/>
                  <a:pt x="211" y="273"/>
                </a:cubicBezTo>
                <a:cubicBezTo>
                  <a:pt x="222" y="273"/>
                  <a:pt x="230" y="281"/>
                  <a:pt x="230" y="291"/>
                </a:cubicBezTo>
                <a:cubicBezTo>
                  <a:pt x="230" y="299"/>
                  <a:pt x="225" y="306"/>
                  <a:pt x="218" y="308"/>
                </a:cubicBezTo>
                <a:cubicBezTo>
                  <a:pt x="216" y="336"/>
                  <a:pt x="210" y="361"/>
                  <a:pt x="198" y="377"/>
                </a:cubicBezTo>
                <a:cubicBezTo>
                  <a:pt x="188" y="390"/>
                  <a:pt x="175" y="397"/>
                  <a:pt x="160" y="398"/>
                </a:cubicBezTo>
                <a:cubicBezTo>
                  <a:pt x="137" y="399"/>
                  <a:pt x="119" y="392"/>
                  <a:pt x="107" y="376"/>
                </a:cubicBezTo>
                <a:cubicBezTo>
                  <a:pt x="94" y="359"/>
                  <a:pt x="90" y="334"/>
                  <a:pt x="91" y="308"/>
                </a:cubicBezTo>
                <a:cubicBezTo>
                  <a:pt x="84" y="305"/>
                  <a:pt x="79" y="299"/>
                  <a:pt x="79" y="291"/>
                </a:cubicBezTo>
                <a:cubicBezTo>
                  <a:pt x="79" y="281"/>
                  <a:pt x="87" y="273"/>
                  <a:pt x="98" y="273"/>
                </a:cubicBezTo>
                <a:close/>
                <a:moveTo>
                  <a:pt x="298" y="538"/>
                </a:moveTo>
                <a:cubicBezTo>
                  <a:pt x="298" y="542"/>
                  <a:pt x="295" y="545"/>
                  <a:pt x="291" y="545"/>
                </a:cubicBezTo>
                <a:cubicBezTo>
                  <a:pt x="17" y="545"/>
                  <a:pt x="17" y="545"/>
                  <a:pt x="17" y="545"/>
                </a:cubicBezTo>
                <a:cubicBezTo>
                  <a:pt x="49" y="264"/>
                  <a:pt x="49" y="264"/>
                  <a:pt x="49" y="264"/>
                </a:cubicBezTo>
                <a:cubicBezTo>
                  <a:pt x="49" y="260"/>
                  <a:pt x="53" y="258"/>
                  <a:pt x="56" y="258"/>
                </a:cubicBezTo>
                <a:cubicBezTo>
                  <a:pt x="60" y="259"/>
                  <a:pt x="63" y="262"/>
                  <a:pt x="62" y="266"/>
                </a:cubicBezTo>
                <a:cubicBezTo>
                  <a:pt x="32" y="532"/>
                  <a:pt x="32" y="532"/>
                  <a:pt x="32" y="532"/>
                </a:cubicBezTo>
                <a:cubicBezTo>
                  <a:pt x="291" y="532"/>
                  <a:pt x="291" y="532"/>
                  <a:pt x="291" y="532"/>
                </a:cubicBezTo>
                <a:cubicBezTo>
                  <a:pt x="295" y="532"/>
                  <a:pt x="298" y="535"/>
                  <a:pt x="298" y="538"/>
                </a:cubicBezTo>
                <a:close/>
                <a:moveTo>
                  <a:pt x="424" y="133"/>
                </a:moveTo>
                <a:cubicBezTo>
                  <a:pt x="428" y="94"/>
                  <a:pt x="423" y="55"/>
                  <a:pt x="403" y="30"/>
                </a:cubicBezTo>
                <a:cubicBezTo>
                  <a:pt x="387" y="9"/>
                  <a:pt x="364" y="0"/>
                  <a:pt x="333" y="2"/>
                </a:cubicBezTo>
                <a:cubicBezTo>
                  <a:pt x="314" y="3"/>
                  <a:pt x="297" y="12"/>
                  <a:pt x="285" y="29"/>
                </a:cubicBezTo>
                <a:cubicBezTo>
                  <a:pt x="267" y="53"/>
                  <a:pt x="257" y="91"/>
                  <a:pt x="257" y="133"/>
                </a:cubicBezTo>
                <a:cubicBezTo>
                  <a:pt x="147" y="133"/>
                  <a:pt x="147" y="133"/>
                  <a:pt x="147" y="133"/>
                </a:cubicBezTo>
                <a:cubicBezTo>
                  <a:pt x="147" y="222"/>
                  <a:pt x="147" y="222"/>
                  <a:pt x="147" y="222"/>
                </a:cubicBezTo>
                <a:cubicBezTo>
                  <a:pt x="298" y="222"/>
                  <a:pt x="298" y="222"/>
                  <a:pt x="298" y="222"/>
                </a:cubicBezTo>
                <a:cubicBezTo>
                  <a:pt x="337" y="559"/>
                  <a:pt x="337" y="559"/>
                  <a:pt x="337" y="559"/>
                </a:cubicBezTo>
                <a:cubicBezTo>
                  <a:pt x="531" y="559"/>
                  <a:pt x="531" y="559"/>
                  <a:pt x="531" y="559"/>
                </a:cubicBezTo>
                <a:cubicBezTo>
                  <a:pt x="531" y="133"/>
                  <a:pt x="531" y="133"/>
                  <a:pt x="531" y="133"/>
                </a:cubicBezTo>
                <a:lnTo>
                  <a:pt x="424" y="133"/>
                </a:lnTo>
                <a:close/>
                <a:moveTo>
                  <a:pt x="268" y="207"/>
                </a:moveTo>
                <a:cubicBezTo>
                  <a:pt x="255" y="207"/>
                  <a:pt x="245" y="197"/>
                  <a:pt x="245" y="185"/>
                </a:cubicBezTo>
                <a:cubicBezTo>
                  <a:pt x="245" y="173"/>
                  <a:pt x="255" y="163"/>
                  <a:pt x="268" y="163"/>
                </a:cubicBezTo>
                <a:cubicBezTo>
                  <a:pt x="280" y="163"/>
                  <a:pt x="290" y="173"/>
                  <a:pt x="290" y="185"/>
                </a:cubicBezTo>
                <a:cubicBezTo>
                  <a:pt x="290" y="197"/>
                  <a:pt x="280" y="207"/>
                  <a:pt x="268" y="207"/>
                </a:cubicBezTo>
                <a:close/>
                <a:moveTo>
                  <a:pt x="273" y="133"/>
                </a:moveTo>
                <a:cubicBezTo>
                  <a:pt x="273" y="94"/>
                  <a:pt x="282" y="60"/>
                  <a:pt x="297" y="39"/>
                </a:cubicBezTo>
                <a:cubicBezTo>
                  <a:pt x="307" y="26"/>
                  <a:pt x="320" y="18"/>
                  <a:pt x="334" y="17"/>
                </a:cubicBezTo>
                <a:cubicBezTo>
                  <a:pt x="359" y="16"/>
                  <a:pt x="378" y="23"/>
                  <a:pt x="391" y="40"/>
                </a:cubicBezTo>
                <a:cubicBezTo>
                  <a:pt x="408" y="62"/>
                  <a:pt x="412" y="97"/>
                  <a:pt x="409" y="133"/>
                </a:cubicBezTo>
                <a:lnTo>
                  <a:pt x="273" y="133"/>
                </a:lnTo>
                <a:close/>
                <a:moveTo>
                  <a:pt x="409" y="207"/>
                </a:moveTo>
                <a:cubicBezTo>
                  <a:pt x="396" y="207"/>
                  <a:pt x="386" y="197"/>
                  <a:pt x="386" y="185"/>
                </a:cubicBezTo>
                <a:cubicBezTo>
                  <a:pt x="386" y="173"/>
                  <a:pt x="396" y="163"/>
                  <a:pt x="409" y="163"/>
                </a:cubicBezTo>
                <a:cubicBezTo>
                  <a:pt x="421" y="163"/>
                  <a:pt x="431" y="173"/>
                  <a:pt x="431" y="185"/>
                </a:cubicBezTo>
                <a:cubicBezTo>
                  <a:pt x="431" y="197"/>
                  <a:pt x="421" y="207"/>
                  <a:pt x="409" y="207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  <a:effectLst>
            <a:reflection blurRad="6350" stA="52000" endA="300" endPos="35000" dir="5400000" sy="-100000" algn="bl" rotWithShape="0"/>
          </a:effectLst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9576" name="TextBox 16"/>
          <p:cNvSpPr txBox="1">
            <a:spLocks noChangeArrowheads="1"/>
          </p:cNvSpPr>
          <p:nvPr/>
        </p:nvSpPr>
        <p:spPr bwMode="auto">
          <a:xfrm>
            <a:off x="2391508" y="2081213"/>
            <a:ext cx="3526693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1600" b="1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Meggondoltam </a:t>
            </a:r>
            <a:r>
              <a:rPr lang="hu-HU" sz="16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magam egy </a:t>
            </a:r>
            <a:br>
              <a:rPr lang="hu-HU" sz="16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16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termék </a:t>
            </a:r>
            <a:r>
              <a:rPr lang="hu-HU" sz="1600" b="1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vagy </a:t>
            </a:r>
            <a:r>
              <a:rPr lang="hu-HU" sz="16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szolgáltatás bolti </a:t>
            </a:r>
            <a:r>
              <a:rPr lang="hu-HU" sz="16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megvásárlásávalkapcsolatban</a:t>
            </a:r>
            <a:br>
              <a:rPr lang="hu-HU" sz="16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1300" dirty="0" smtClean="0">
                <a:ea typeface="Arial Unicode MS" pitchFamily="34" charset="-128"/>
                <a:cs typeface="Arial Unicode MS" pitchFamily="34" charset="-128"/>
              </a:rPr>
              <a:t>az okostelefonom segítségével szerzett </a:t>
            </a:r>
            <a:r>
              <a:rPr lang="hu-HU" sz="1300" dirty="0">
                <a:ea typeface="Arial Unicode MS" pitchFamily="34" charset="-128"/>
                <a:cs typeface="Arial Unicode MS" pitchFamily="34" charset="-128"/>
              </a:rPr>
              <a:t>információk alapján.</a:t>
            </a:r>
          </a:p>
        </p:txBody>
      </p:sp>
      <p:sp>
        <p:nvSpPr>
          <p:cNvPr id="109577" name="TextBox 17"/>
          <p:cNvSpPr txBox="1">
            <a:spLocks noChangeArrowheads="1"/>
          </p:cNvSpPr>
          <p:nvPr/>
        </p:nvSpPr>
        <p:spPr bwMode="auto">
          <a:xfrm>
            <a:off x="2466975" y="4354513"/>
            <a:ext cx="3451225" cy="1112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1600" b="1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Meggondoltam magam egy termék vagy szolgáltatás online megvásárlásával kapcsolatban </a:t>
            </a:r>
            <a:r>
              <a:rPr lang="hu-HU" sz="1600" b="1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z="1600" b="1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1300" smtClean="0">
                <a:ea typeface="Arial Unicode MS" pitchFamily="34" charset="-128"/>
                <a:cs typeface="Arial Unicode MS" pitchFamily="34" charset="-128"/>
              </a:rPr>
              <a:t>az </a:t>
            </a:r>
            <a:r>
              <a:rPr lang="hu-HU" sz="1300">
                <a:ea typeface="Arial Unicode MS" pitchFamily="34" charset="-128"/>
                <a:cs typeface="Arial Unicode MS" pitchFamily="34" charset="-128"/>
              </a:rPr>
              <a:t>okostelefonom segítségével </a:t>
            </a:r>
            <a:br>
              <a:rPr lang="hu-HU" sz="1300">
                <a:ea typeface="Arial Unicode MS" pitchFamily="34" charset="-128"/>
                <a:cs typeface="Arial Unicode MS" pitchFamily="34" charset="-128"/>
              </a:rPr>
            </a:br>
            <a:r>
              <a:rPr lang="hu-HU" sz="1300">
                <a:ea typeface="Arial Unicode MS" pitchFamily="34" charset="-128"/>
                <a:cs typeface="Arial Unicode MS" pitchFamily="34" charset="-128"/>
              </a:rPr>
              <a:t>szerzett információk alapján.</a:t>
            </a: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11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3520068"/>
              </p:ext>
            </p:extLst>
          </p:nvPr>
        </p:nvGraphicFramePr>
        <p:xfrm>
          <a:off x="2420742" y="1405349"/>
          <a:ext cx="5761774" cy="45752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/>
        </p:nvGrpSpPr>
        <p:grpSpPr>
          <a:xfrm>
            <a:off x="5402079" y="2373841"/>
            <a:ext cx="1424010" cy="1017845"/>
            <a:chOff x="-2949576" y="1819275"/>
            <a:chExt cx="1858963" cy="1328738"/>
          </a:xfrm>
        </p:grpSpPr>
        <p:sp>
          <p:nvSpPr>
            <p:cNvPr id="50" name="Freeform 6"/>
            <p:cNvSpPr>
              <a:spLocks/>
            </p:cNvSpPr>
            <p:nvPr/>
          </p:nvSpPr>
          <p:spPr bwMode="auto">
            <a:xfrm>
              <a:off x="-2763838" y="1819275"/>
              <a:ext cx="1487488" cy="1185863"/>
            </a:xfrm>
            <a:custGeom>
              <a:avLst/>
              <a:gdLst/>
              <a:ahLst/>
              <a:cxnLst>
                <a:cxn ang="0">
                  <a:pos x="104" y="79"/>
                </a:cxn>
                <a:cxn ang="0">
                  <a:pos x="100" y="83"/>
                </a:cxn>
                <a:cxn ang="0">
                  <a:pos x="4" y="83"/>
                </a:cxn>
                <a:cxn ang="0">
                  <a:pos x="0" y="79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100" y="0"/>
                </a:cxn>
                <a:cxn ang="0">
                  <a:pos x="104" y="4"/>
                </a:cxn>
                <a:cxn ang="0">
                  <a:pos x="104" y="79"/>
                </a:cxn>
              </a:cxnLst>
              <a:rect l="0" t="0" r="r" b="b"/>
              <a:pathLst>
                <a:path w="104" h="83">
                  <a:moveTo>
                    <a:pt x="104" y="79"/>
                  </a:moveTo>
                  <a:cubicBezTo>
                    <a:pt x="104" y="81"/>
                    <a:pt x="102" y="83"/>
                    <a:pt x="100" y="8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2" y="83"/>
                    <a:pt x="0" y="81"/>
                    <a:pt x="0" y="7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2" y="0"/>
                    <a:pt x="104" y="1"/>
                    <a:pt x="104" y="4"/>
                  </a:cubicBezTo>
                  <a:lnTo>
                    <a:pt x="104" y="7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" name="Freeform 7"/>
            <p:cNvSpPr>
              <a:spLocks/>
            </p:cNvSpPr>
            <p:nvPr/>
          </p:nvSpPr>
          <p:spPr bwMode="auto">
            <a:xfrm>
              <a:off x="-2706688" y="1862138"/>
              <a:ext cx="1373188" cy="1085850"/>
            </a:xfrm>
            <a:custGeom>
              <a:avLst/>
              <a:gdLst/>
              <a:ahLst/>
              <a:cxnLst>
                <a:cxn ang="0">
                  <a:pos x="96" y="76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1"/>
                </a:cxn>
                <a:cxn ang="0">
                  <a:pos x="96" y="76"/>
                </a:cxn>
                <a:cxn ang="0">
                  <a:pos x="96" y="76"/>
                </a:cxn>
              </a:cxnLst>
              <a:rect l="0" t="0" r="r" b="b"/>
              <a:pathLst>
                <a:path w="96" h="76">
                  <a:moveTo>
                    <a:pt x="96" y="76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0"/>
                    <a:pt x="96" y="1"/>
                    <a:pt x="96" y="1"/>
                  </a:cubicBezTo>
                  <a:cubicBezTo>
                    <a:pt x="96" y="76"/>
                    <a:pt x="96" y="76"/>
                    <a:pt x="96" y="76"/>
                  </a:cubicBezTo>
                  <a:cubicBezTo>
                    <a:pt x="96" y="76"/>
                    <a:pt x="96" y="76"/>
                    <a:pt x="96" y="7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2" name="Freeform 8"/>
            <p:cNvSpPr>
              <a:spLocks/>
            </p:cNvSpPr>
            <p:nvPr/>
          </p:nvSpPr>
          <p:spPr bwMode="auto">
            <a:xfrm>
              <a:off x="-2949576" y="2933700"/>
              <a:ext cx="1858963" cy="214313"/>
            </a:xfrm>
            <a:custGeom>
              <a:avLst/>
              <a:gdLst/>
              <a:ahLst/>
              <a:cxnLst>
                <a:cxn ang="0">
                  <a:pos x="130" y="9"/>
                </a:cxn>
                <a:cxn ang="0">
                  <a:pos x="124" y="15"/>
                </a:cxn>
                <a:cxn ang="0">
                  <a:pos x="6" y="15"/>
                </a:cxn>
                <a:cxn ang="0">
                  <a:pos x="0" y="9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124" y="0"/>
                </a:cxn>
                <a:cxn ang="0">
                  <a:pos x="130" y="6"/>
                </a:cxn>
                <a:cxn ang="0">
                  <a:pos x="130" y="9"/>
                </a:cxn>
              </a:cxnLst>
              <a:rect l="0" t="0" r="r" b="b"/>
              <a:pathLst>
                <a:path w="130" h="15">
                  <a:moveTo>
                    <a:pt x="130" y="9"/>
                  </a:moveTo>
                  <a:cubicBezTo>
                    <a:pt x="130" y="13"/>
                    <a:pt x="127" y="15"/>
                    <a:pt x="124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3" y="15"/>
                    <a:pt x="0" y="13"/>
                    <a:pt x="0" y="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7" y="0"/>
                    <a:pt x="130" y="3"/>
                    <a:pt x="130" y="6"/>
                  </a:cubicBezTo>
                  <a:lnTo>
                    <a:pt x="130" y="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3" name="Oval 9"/>
            <p:cNvSpPr>
              <a:spLocks noChangeArrowheads="1"/>
            </p:cNvSpPr>
            <p:nvPr/>
          </p:nvSpPr>
          <p:spPr bwMode="auto">
            <a:xfrm>
              <a:off x="-2178051" y="3005138"/>
              <a:ext cx="71438" cy="714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4" name="Oval 10"/>
            <p:cNvSpPr>
              <a:spLocks noChangeArrowheads="1"/>
            </p:cNvSpPr>
            <p:nvPr/>
          </p:nvSpPr>
          <p:spPr bwMode="auto">
            <a:xfrm>
              <a:off x="-2063751" y="3005138"/>
              <a:ext cx="85725" cy="714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5" name="Oval 11"/>
            <p:cNvSpPr>
              <a:spLocks noChangeArrowheads="1"/>
            </p:cNvSpPr>
            <p:nvPr/>
          </p:nvSpPr>
          <p:spPr bwMode="auto">
            <a:xfrm>
              <a:off x="-1935163" y="3005138"/>
              <a:ext cx="73025" cy="71438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6" name="Rectangle 12"/>
            <p:cNvSpPr>
              <a:spLocks noChangeArrowheads="1"/>
            </p:cNvSpPr>
            <p:nvPr/>
          </p:nvSpPr>
          <p:spPr bwMode="auto">
            <a:xfrm>
              <a:off x="-1619251" y="3005138"/>
              <a:ext cx="357188" cy="714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11617" name="Title 3"/>
          <p:cNvSpPr>
            <a:spLocks noGrp="1"/>
          </p:cNvSpPr>
          <p:nvPr>
            <p:ph type="title"/>
          </p:nvPr>
        </p:nvSpPr>
        <p:spPr>
          <a:xfrm>
            <a:off x="457200" y="201168"/>
            <a:ext cx="8501178" cy="476250"/>
          </a:xfrm>
        </p:spPr>
        <p:txBody>
          <a:bodyPr>
            <a:noAutofit/>
          </a:bodyPr>
          <a:lstStyle/>
          <a:p>
            <a:r>
              <a:rPr lang="hu-HU" smtClean="0"/>
              <a:t>Az okostelefonokon megkezdett keresések </a:t>
            </a:r>
            <a:br>
              <a:rPr lang="hu-HU" smtClean="0"/>
            </a:br>
            <a:r>
              <a:rPr lang="hu-HU" smtClean="0"/>
              <a:t>különböző csatornákon vezethetnek vásárláshoz</a:t>
            </a:r>
          </a:p>
        </p:txBody>
      </p:sp>
      <p:sp>
        <p:nvSpPr>
          <p:cNvPr id="111618" name="Rectangle 9"/>
          <p:cNvSpPr>
            <a:spLocks noChangeArrowheads="1"/>
          </p:cNvSpPr>
          <p:nvPr/>
        </p:nvSpPr>
        <p:spPr bwMode="auto">
          <a:xfrm>
            <a:off x="479756" y="6419850"/>
            <a:ext cx="6775450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5000"/>
              </a:lnSpc>
              <a:tabLst>
                <a:tab pos="573088" algn="l"/>
              </a:tabLst>
            </a:pP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Alapja:	Okostelefon-használók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, akik az internetet általánosságban használják okostelefonjukon, n=1000 </a:t>
            </a:r>
          </a:p>
          <a:p>
            <a:pPr defTabSz="557213">
              <a:lnSpc>
                <a:spcPct val="90000"/>
              </a:lnSpc>
              <a:tabLst>
                <a:tab pos="573088" algn="l"/>
              </a:tabLst>
            </a:pP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48. </a:t>
            </a: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kérdés:	Az 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alábbiakban termékeket és szolgáltatásokat soroltunk fel. Jelölje be, hogy ezen </a:t>
            </a: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termékekre és </a:t>
            </a:r>
            <a:b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	szolgáltatásokra 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vonatkozóan melyik állítás igaz Önre. </a:t>
            </a:r>
          </a:p>
        </p:txBody>
      </p:sp>
      <p:sp>
        <p:nvSpPr>
          <p:cNvPr id="111619" name="Slide Number Placeholder 69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563E9F45-A9DE-4328-90FD-05F3E39521B3}" type="slidenum">
              <a:rPr lang="hu-HU">
                <a:solidFill>
                  <a:srgbClr val="7D7D7D"/>
                </a:solidFill>
              </a:rPr>
              <a:pPr/>
              <a:t>15</a:t>
            </a:fld>
            <a:endParaRPr lang="hu-HU">
              <a:solidFill>
                <a:srgbClr val="7D7D7D"/>
              </a:solidFill>
            </a:endParaRPr>
          </a:p>
        </p:txBody>
      </p:sp>
      <p:grpSp>
        <p:nvGrpSpPr>
          <p:cNvPr id="111620" name="Group 99"/>
          <p:cNvGrpSpPr>
            <a:grpSpLocks/>
          </p:cNvGrpSpPr>
          <p:nvPr/>
        </p:nvGrpSpPr>
        <p:grpSpPr bwMode="auto">
          <a:xfrm>
            <a:off x="5175250" y="4113213"/>
            <a:ext cx="1160463" cy="896937"/>
            <a:chOff x="-2816225" y="5973763"/>
            <a:chExt cx="2284412" cy="1766887"/>
          </a:xfrm>
        </p:grpSpPr>
        <p:sp>
          <p:nvSpPr>
            <p:cNvPr id="111655" name="AutoShape 22"/>
            <p:cNvSpPr>
              <a:spLocks noChangeAspect="1" noChangeArrowheads="1" noTextEdit="1"/>
            </p:cNvSpPr>
            <p:nvPr/>
          </p:nvSpPr>
          <p:spPr bwMode="auto">
            <a:xfrm>
              <a:off x="-2816225" y="5973763"/>
              <a:ext cx="2284412" cy="1766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1656" name="Freeform 24"/>
            <p:cNvSpPr>
              <a:spLocks/>
            </p:cNvSpPr>
            <p:nvPr/>
          </p:nvSpPr>
          <p:spPr bwMode="auto">
            <a:xfrm>
              <a:off x="-1271588" y="6172200"/>
              <a:ext cx="739775" cy="814387"/>
            </a:xfrm>
            <a:custGeom>
              <a:avLst/>
              <a:gdLst>
                <a:gd name="T0" fmla="*/ 197 w 197"/>
                <a:gd name="T1" fmla="*/ 140 h 217"/>
                <a:gd name="T2" fmla="*/ 194 w 197"/>
                <a:gd name="T3" fmla="*/ 121 h 217"/>
                <a:gd name="T4" fmla="*/ 194 w 197"/>
                <a:gd name="T5" fmla="*/ 120 h 217"/>
                <a:gd name="T6" fmla="*/ 194 w 197"/>
                <a:gd name="T7" fmla="*/ 119 h 217"/>
                <a:gd name="T8" fmla="*/ 194 w 197"/>
                <a:gd name="T9" fmla="*/ 118 h 217"/>
                <a:gd name="T10" fmla="*/ 190 w 197"/>
                <a:gd name="T11" fmla="*/ 109 h 217"/>
                <a:gd name="T12" fmla="*/ 127 w 197"/>
                <a:gd name="T13" fmla="*/ 0 h 217"/>
                <a:gd name="T14" fmla="*/ 0 w 197"/>
                <a:gd name="T15" fmla="*/ 0 h 217"/>
                <a:gd name="T16" fmla="*/ 56 w 197"/>
                <a:gd name="T17" fmla="*/ 181 h 217"/>
                <a:gd name="T18" fmla="*/ 121 w 197"/>
                <a:gd name="T19" fmla="*/ 217 h 217"/>
                <a:gd name="T20" fmla="*/ 121 w 197"/>
                <a:gd name="T21" fmla="*/ 217 h 217"/>
                <a:gd name="T22" fmla="*/ 121 w 197"/>
                <a:gd name="T23" fmla="*/ 217 h 217"/>
                <a:gd name="T24" fmla="*/ 197 w 197"/>
                <a:gd name="T25" fmla="*/ 146 h 217"/>
                <a:gd name="T26" fmla="*/ 197 w 197"/>
                <a:gd name="T27" fmla="*/ 142 h 217"/>
                <a:gd name="T28" fmla="*/ 197 w 197"/>
                <a:gd name="T29" fmla="*/ 140 h 21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7"/>
                <a:gd name="T46" fmla="*/ 0 h 217"/>
                <a:gd name="T47" fmla="*/ 197 w 197"/>
                <a:gd name="T48" fmla="*/ 217 h 21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7" h="217">
                  <a:moveTo>
                    <a:pt x="197" y="140"/>
                  </a:moveTo>
                  <a:cubicBezTo>
                    <a:pt x="197" y="134"/>
                    <a:pt x="196" y="127"/>
                    <a:pt x="194" y="121"/>
                  </a:cubicBezTo>
                  <a:cubicBezTo>
                    <a:pt x="194" y="120"/>
                    <a:pt x="194" y="120"/>
                    <a:pt x="194" y="120"/>
                  </a:cubicBezTo>
                  <a:cubicBezTo>
                    <a:pt x="194" y="119"/>
                    <a:pt x="194" y="119"/>
                    <a:pt x="194" y="119"/>
                  </a:cubicBezTo>
                  <a:cubicBezTo>
                    <a:pt x="194" y="119"/>
                    <a:pt x="194" y="119"/>
                    <a:pt x="194" y="118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6" y="181"/>
                    <a:pt x="56" y="181"/>
                    <a:pt x="56" y="181"/>
                  </a:cubicBezTo>
                  <a:cubicBezTo>
                    <a:pt x="70" y="202"/>
                    <a:pt x="94" y="217"/>
                    <a:pt x="121" y="217"/>
                  </a:cubicBezTo>
                  <a:cubicBezTo>
                    <a:pt x="121" y="217"/>
                    <a:pt x="121" y="217"/>
                    <a:pt x="121" y="217"/>
                  </a:cubicBezTo>
                  <a:cubicBezTo>
                    <a:pt x="121" y="217"/>
                    <a:pt x="121" y="217"/>
                    <a:pt x="121" y="217"/>
                  </a:cubicBezTo>
                  <a:cubicBezTo>
                    <a:pt x="162" y="217"/>
                    <a:pt x="195" y="186"/>
                    <a:pt x="197" y="146"/>
                  </a:cubicBezTo>
                  <a:cubicBezTo>
                    <a:pt x="197" y="145"/>
                    <a:pt x="197" y="143"/>
                    <a:pt x="197" y="142"/>
                  </a:cubicBezTo>
                  <a:cubicBezTo>
                    <a:pt x="197" y="141"/>
                    <a:pt x="197" y="141"/>
                    <a:pt x="197" y="140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1657" name="Freeform 25"/>
            <p:cNvSpPr>
              <a:spLocks/>
            </p:cNvSpPr>
            <p:nvPr/>
          </p:nvSpPr>
          <p:spPr bwMode="auto">
            <a:xfrm>
              <a:off x="-2197100" y="6172200"/>
              <a:ext cx="520700" cy="814387"/>
            </a:xfrm>
            <a:custGeom>
              <a:avLst/>
              <a:gdLst>
                <a:gd name="T0" fmla="*/ 34 w 139"/>
                <a:gd name="T1" fmla="*/ 0 h 217"/>
                <a:gd name="T2" fmla="*/ 0 w 139"/>
                <a:gd name="T3" fmla="*/ 183 h 217"/>
                <a:gd name="T4" fmla="*/ 63 w 139"/>
                <a:gd name="T5" fmla="*/ 217 h 217"/>
                <a:gd name="T6" fmla="*/ 63 w 139"/>
                <a:gd name="T7" fmla="*/ 217 h 217"/>
                <a:gd name="T8" fmla="*/ 63 w 139"/>
                <a:gd name="T9" fmla="*/ 217 h 217"/>
                <a:gd name="T10" fmla="*/ 127 w 139"/>
                <a:gd name="T11" fmla="*/ 181 h 217"/>
                <a:gd name="T12" fmla="*/ 139 w 139"/>
                <a:gd name="T13" fmla="*/ 0 h 217"/>
                <a:gd name="T14" fmla="*/ 34 w 139"/>
                <a:gd name="T15" fmla="*/ 0 h 2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9"/>
                <a:gd name="T25" fmla="*/ 0 h 217"/>
                <a:gd name="T26" fmla="*/ 139 w 139"/>
                <a:gd name="T27" fmla="*/ 217 h 2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9" h="217">
                  <a:moveTo>
                    <a:pt x="34" y="0"/>
                  </a:moveTo>
                  <a:cubicBezTo>
                    <a:pt x="0" y="183"/>
                    <a:pt x="0" y="183"/>
                    <a:pt x="0" y="183"/>
                  </a:cubicBezTo>
                  <a:cubicBezTo>
                    <a:pt x="14" y="203"/>
                    <a:pt x="37" y="217"/>
                    <a:pt x="63" y="217"/>
                  </a:cubicBezTo>
                  <a:cubicBezTo>
                    <a:pt x="63" y="217"/>
                    <a:pt x="63" y="217"/>
                    <a:pt x="63" y="217"/>
                  </a:cubicBezTo>
                  <a:cubicBezTo>
                    <a:pt x="63" y="217"/>
                    <a:pt x="63" y="217"/>
                    <a:pt x="63" y="217"/>
                  </a:cubicBezTo>
                  <a:cubicBezTo>
                    <a:pt x="90" y="217"/>
                    <a:pt x="114" y="202"/>
                    <a:pt x="127" y="181"/>
                  </a:cubicBezTo>
                  <a:cubicBezTo>
                    <a:pt x="139" y="0"/>
                    <a:pt x="139" y="0"/>
                    <a:pt x="139" y="0"/>
                  </a:cubicBezTo>
                  <a:lnTo>
                    <a:pt x="34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1658" name="Freeform 26"/>
            <p:cNvSpPr>
              <a:spLocks/>
            </p:cNvSpPr>
            <p:nvPr/>
          </p:nvSpPr>
          <p:spPr bwMode="auto">
            <a:xfrm>
              <a:off x="-2816225" y="6172200"/>
              <a:ext cx="738187" cy="814387"/>
            </a:xfrm>
            <a:custGeom>
              <a:avLst/>
              <a:gdLst>
                <a:gd name="T0" fmla="*/ 76 w 197"/>
                <a:gd name="T1" fmla="*/ 217 h 217"/>
                <a:gd name="T2" fmla="*/ 76 w 197"/>
                <a:gd name="T3" fmla="*/ 217 h 217"/>
                <a:gd name="T4" fmla="*/ 140 w 197"/>
                <a:gd name="T5" fmla="*/ 181 h 217"/>
                <a:gd name="T6" fmla="*/ 197 w 197"/>
                <a:gd name="T7" fmla="*/ 0 h 217"/>
                <a:gd name="T8" fmla="*/ 70 w 197"/>
                <a:gd name="T9" fmla="*/ 0 h 217"/>
                <a:gd name="T10" fmla="*/ 6 w 197"/>
                <a:gd name="T11" fmla="*/ 109 h 217"/>
                <a:gd name="T12" fmla="*/ 3 w 197"/>
                <a:gd name="T13" fmla="*/ 118 h 217"/>
                <a:gd name="T14" fmla="*/ 3 w 197"/>
                <a:gd name="T15" fmla="*/ 119 h 217"/>
                <a:gd name="T16" fmla="*/ 2 w 197"/>
                <a:gd name="T17" fmla="*/ 120 h 217"/>
                <a:gd name="T18" fmla="*/ 2 w 197"/>
                <a:gd name="T19" fmla="*/ 121 h 217"/>
                <a:gd name="T20" fmla="*/ 0 w 197"/>
                <a:gd name="T21" fmla="*/ 140 h 217"/>
                <a:gd name="T22" fmla="*/ 0 w 197"/>
                <a:gd name="T23" fmla="*/ 142 h 217"/>
                <a:gd name="T24" fmla="*/ 0 w 197"/>
                <a:gd name="T25" fmla="*/ 146 h 217"/>
                <a:gd name="T26" fmla="*/ 76 w 197"/>
                <a:gd name="T27" fmla="*/ 217 h 217"/>
                <a:gd name="T28" fmla="*/ 76 w 197"/>
                <a:gd name="T29" fmla="*/ 217 h 21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7"/>
                <a:gd name="T46" fmla="*/ 0 h 217"/>
                <a:gd name="T47" fmla="*/ 197 w 197"/>
                <a:gd name="T48" fmla="*/ 217 h 21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7" h="217">
                  <a:moveTo>
                    <a:pt x="76" y="217"/>
                  </a:moveTo>
                  <a:cubicBezTo>
                    <a:pt x="76" y="217"/>
                    <a:pt x="76" y="217"/>
                    <a:pt x="76" y="217"/>
                  </a:cubicBezTo>
                  <a:cubicBezTo>
                    <a:pt x="103" y="217"/>
                    <a:pt x="127" y="202"/>
                    <a:pt x="140" y="181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3" y="118"/>
                    <a:pt x="3" y="118"/>
                    <a:pt x="3" y="118"/>
                  </a:cubicBezTo>
                  <a:cubicBezTo>
                    <a:pt x="3" y="119"/>
                    <a:pt x="3" y="119"/>
                    <a:pt x="3" y="119"/>
                  </a:cubicBezTo>
                  <a:cubicBezTo>
                    <a:pt x="2" y="120"/>
                    <a:pt x="2" y="120"/>
                    <a:pt x="2" y="120"/>
                  </a:cubicBezTo>
                  <a:cubicBezTo>
                    <a:pt x="2" y="120"/>
                    <a:pt x="2" y="120"/>
                    <a:pt x="2" y="121"/>
                  </a:cubicBezTo>
                  <a:cubicBezTo>
                    <a:pt x="1" y="127"/>
                    <a:pt x="0" y="134"/>
                    <a:pt x="0" y="140"/>
                  </a:cubicBezTo>
                  <a:cubicBezTo>
                    <a:pt x="0" y="141"/>
                    <a:pt x="0" y="141"/>
                    <a:pt x="0" y="142"/>
                  </a:cubicBezTo>
                  <a:cubicBezTo>
                    <a:pt x="0" y="143"/>
                    <a:pt x="0" y="145"/>
                    <a:pt x="0" y="146"/>
                  </a:cubicBezTo>
                  <a:cubicBezTo>
                    <a:pt x="2" y="186"/>
                    <a:pt x="35" y="217"/>
                    <a:pt x="76" y="217"/>
                  </a:cubicBezTo>
                  <a:cubicBezTo>
                    <a:pt x="76" y="217"/>
                    <a:pt x="76" y="217"/>
                    <a:pt x="76" y="217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1659" name="Freeform 27"/>
            <p:cNvSpPr>
              <a:spLocks/>
            </p:cNvSpPr>
            <p:nvPr/>
          </p:nvSpPr>
          <p:spPr bwMode="auto">
            <a:xfrm>
              <a:off x="-1668463" y="6172200"/>
              <a:ext cx="517525" cy="814387"/>
            </a:xfrm>
            <a:custGeom>
              <a:avLst/>
              <a:gdLst>
                <a:gd name="T0" fmla="*/ 138 w 138"/>
                <a:gd name="T1" fmla="*/ 183 h 217"/>
                <a:gd name="T2" fmla="*/ 104 w 138"/>
                <a:gd name="T3" fmla="*/ 0 h 217"/>
                <a:gd name="T4" fmla="*/ 0 w 138"/>
                <a:gd name="T5" fmla="*/ 0 h 217"/>
                <a:gd name="T6" fmla="*/ 12 w 138"/>
                <a:gd name="T7" fmla="*/ 183 h 217"/>
                <a:gd name="T8" fmla="*/ 12 w 138"/>
                <a:gd name="T9" fmla="*/ 183 h 217"/>
                <a:gd name="T10" fmla="*/ 74 w 138"/>
                <a:gd name="T11" fmla="*/ 217 h 217"/>
                <a:gd name="T12" fmla="*/ 75 w 138"/>
                <a:gd name="T13" fmla="*/ 217 h 217"/>
                <a:gd name="T14" fmla="*/ 75 w 138"/>
                <a:gd name="T15" fmla="*/ 217 h 217"/>
                <a:gd name="T16" fmla="*/ 138 w 138"/>
                <a:gd name="T17" fmla="*/ 183 h 21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8"/>
                <a:gd name="T28" fmla="*/ 0 h 217"/>
                <a:gd name="T29" fmla="*/ 138 w 138"/>
                <a:gd name="T30" fmla="*/ 217 h 21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8" h="217">
                  <a:moveTo>
                    <a:pt x="138" y="183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25" y="203"/>
                    <a:pt x="48" y="217"/>
                    <a:pt x="74" y="217"/>
                  </a:cubicBezTo>
                  <a:cubicBezTo>
                    <a:pt x="75" y="217"/>
                    <a:pt x="75" y="217"/>
                    <a:pt x="75" y="217"/>
                  </a:cubicBezTo>
                  <a:cubicBezTo>
                    <a:pt x="75" y="217"/>
                    <a:pt x="75" y="217"/>
                    <a:pt x="75" y="217"/>
                  </a:cubicBezTo>
                  <a:cubicBezTo>
                    <a:pt x="101" y="217"/>
                    <a:pt x="124" y="203"/>
                    <a:pt x="138" y="183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1660" name="Freeform 28"/>
            <p:cNvSpPr>
              <a:spLocks/>
            </p:cNvSpPr>
            <p:nvPr/>
          </p:nvSpPr>
          <p:spPr bwMode="auto">
            <a:xfrm>
              <a:off x="-2654300" y="6964363"/>
              <a:ext cx="1957387" cy="776287"/>
            </a:xfrm>
            <a:custGeom>
              <a:avLst/>
              <a:gdLst>
                <a:gd name="T0" fmla="*/ 490 w 522"/>
                <a:gd name="T1" fmla="*/ 33 h 207"/>
                <a:gd name="T2" fmla="*/ 488 w 522"/>
                <a:gd name="T3" fmla="*/ 33 h 207"/>
                <a:gd name="T4" fmla="*/ 414 w 522"/>
                <a:gd name="T5" fmla="*/ 0 h 207"/>
                <a:gd name="T6" fmla="*/ 372 w 522"/>
                <a:gd name="T7" fmla="*/ 27 h 207"/>
                <a:gd name="T8" fmla="*/ 372 w 522"/>
                <a:gd name="T9" fmla="*/ 162 h 207"/>
                <a:gd name="T10" fmla="*/ 48 w 522"/>
                <a:gd name="T11" fmla="*/ 162 h 207"/>
                <a:gd name="T12" fmla="*/ 48 w 522"/>
                <a:gd name="T13" fmla="*/ 32 h 207"/>
                <a:gd name="T14" fmla="*/ 34 w 522"/>
                <a:gd name="T15" fmla="*/ 33 h 207"/>
                <a:gd name="T16" fmla="*/ 31 w 522"/>
                <a:gd name="T17" fmla="*/ 33 h 207"/>
                <a:gd name="T18" fmla="*/ 0 w 522"/>
                <a:gd name="T19" fmla="*/ 28 h 207"/>
                <a:gd name="T20" fmla="*/ 0 w 522"/>
                <a:gd name="T21" fmla="*/ 207 h 207"/>
                <a:gd name="T22" fmla="*/ 522 w 522"/>
                <a:gd name="T23" fmla="*/ 207 h 207"/>
                <a:gd name="T24" fmla="*/ 522 w 522"/>
                <a:gd name="T25" fmla="*/ 28 h 207"/>
                <a:gd name="T26" fmla="*/ 491 w 522"/>
                <a:gd name="T27" fmla="*/ 33 h 207"/>
                <a:gd name="T28" fmla="*/ 490 w 522"/>
                <a:gd name="T29" fmla="*/ 33 h 2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22"/>
                <a:gd name="T46" fmla="*/ 0 h 207"/>
                <a:gd name="T47" fmla="*/ 522 w 522"/>
                <a:gd name="T48" fmla="*/ 207 h 20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22" h="207">
                  <a:moveTo>
                    <a:pt x="490" y="33"/>
                  </a:moveTo>
                  <a:cubicBezTo>
                    <a:pt x="488" y="33"/>
                    <a:pt x="488" y="33"/>
                    <a:pt x="488" y="33"/>
                  </a:cubicBezTo>
                  <a:cubicBezTo>
                    <a:pt x="459" y="33"/>
                    <a:pt x="432" y="20"/>
                    <a:pt x="414" y="0"/>
                  </a:cubicBezTo>
                  <a:cubicBezTo>
                    <a:pt x="402" y="12"/>
                    <a:pt x="388" y="22"/>
                    <a:pt x="372" y="27"/>
                  </a:cubicBezTo>
                  <a:cubicBezTo>
                    <a:pt x="372" y="162"/>
                    <a:pt x="372" y="162"/>
                    <a:pt x="372" y="162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4" y="33"/>
                    <a:pt x="39" y="33"/>
                    <a:pt x="34" y="33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1" y="33"/>
                    <a:pt x="10" y="31"/>
                    <a:pt x="0" y="28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522" y="207"/>
                    <a:pt x="522" y="207"/>
                    <a:pt x="522" y="207"/>
                  </a:cubicBezTo>
                  <a:cubicBezTo>
                    <a:pt x="522" y="28"/>
                    <a:pt x="522" y="28"/>
                    <a:pt x="522" y="28"/>
                  </a:cubicBezTo>
                  <a:cubicBezTo>
                    <a:pt x="512" y="31"/>
                    <a:pt x="502" y="33"/>
                    <a:pt x="491" y="33"/>
                  </a:cubicBezTo>
                  <a:cubicBezTo>
                    <a:pt x="491" y="33"/>
                    <a:pt x="490" y="33"/>
                    <a:pt x="490" y="33"/>
                  </a:cubicBezTo>
                  <a:close/>
                </a:path>
              </a:pathLst>
            </a:custGeom>
            <a:solidFill>
              <a:srgbClr val="BBBDBF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1665" name="Freeform 33"/>
            <p:cNvSpPr>
              <a:spLocks/>
            </p:cNvSpPr>
            <p:nvPr/>
          </p:nvSpPr>
          <p:spPr bwMode="auto">
            <a:xfrm>
              <a:off x="-2598738" y="5973763"/>
              <a:ext cx="1920875" cy="127000"/>
            </a:xfrm>
            <a:custGeom>
              <a:avLst/>
              <a:gdLst>
                <a:gd name="T0" fmla="*/ 16 w 512"/>
                <a:gd name="T1" fmla="*/ 34 h 34"/>
                <a:gd name="T2" fmla="*/ 495 w 512"/>
                <a:gd name="T3" fmla="*/ 34 h 34"/>
                <a:gd name="T4" fmla="*/ 512 w 512"/>
                <a:gd name="T5" fmla="*/ 17 h 34"/>
                <a:gd name="T6" fmla="*/ 495 w 512"/>
                <a:gd name="T7" fmla="*/ 0 h 34"/>
                <a:gd name="T8" fmla="*/ 16 w 512"/>
                <a:gd name="T9" fmla="*/ 0 h 34"/>
                <a:gd name="T10" fmla="*/ 0 w 512"/>
                <a:gd name="T11" fmla="*/ 17 h 34"/>
                <a:gd name="T12" fmla="*/ 16 w 512"/>
                <a:gd name="T13" fmla="*/ 34 h 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2"/>
                <a:gd name="T22" fmla="*/ 0 h 34"/>
                <a:gd name="T23" fmla="*/ 512 w 512"/>
                <a:gd name="T24" fmla="*/ 34 h 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2" h="34">
                  <a:moveTo>
                    <a:pt x="16" y="34"/>
                  </a:moveTo>
                  <a:cubicBezTo>
                    <a:pt x="495" y="34"/>
                    <a:pt x="495" y="34"/>
                    <a:pt x="495" y="34"/>
                  </a:cubicBezTo>
                  <a:cubicBezTo>
                    <a:pt x="504" y="34"/>
                    <a:pt x="512" y="26"/>
                    <a:pt x="512" y="17"/>
                  </a:cubicBezTo>
                  <a:cubicBezTo>
                    <a:pt x="512" y="8"/>
                    <a:pt x="504" y="0"/>
                    <a:pt x="49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6"/>
                    <a:pt x="7" y="34"/>
                    <a:pt x="16" y="34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4" name="Freeform 34"/>
            <p:cNvSpPr>
              <a:spLocks/>
            </p:cNvSpPr>
            <p:nvPr/>
          </p:nvSpPr>
          <p:spPr bwMode="auto">
            <a:xfrm>
              <a:off x="-2419343" y="7062041"/>
              <a:ext cx="1103141" cy="456576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122"/>
                </a:cxn>
                <a:cxn ang="0">
                  <a:pos x="294" y="122"/>
                </a:cxn>
                <a:cxn ang="0">
                  <a:pos x="294" y="5"/>
                </a:cxn>
                <a:cxn ang="0">
                  <a:pos x="287" y="6"/>
                </a:cxn>
                <a:cxn ang="0">
                  <a:pos x="287" y="115"/>
                </a:cxn>
                <a:cxn ang="0">
                  <a:pos x="7" y="115"/>
                </a:cxn>
                <a:cxn ang="0">
                  <a:pos x="7" y="0"/>
                </a:cxn>
                <a:cxn ang="0">
                  <a:pos x="0" y="3"/>
                </a:cxn>
              </a:cxnLst>
              <a:rect l="0" t="0" r="r" b="b"/>
              <a:pathLst>
                <a:path w="294" h="122">
                  <a:moveTo>
                    <a:pt x="0" y="3"/>
                  </a:moveTo>
                  <a:cubicBezTo>
                    <a:pt x="0" y="122"/>
                    <a:pt x="0" y="122"/>
                    <a:pt x="0" y="122"/>
                  </a:cubicBezTo>
                  <a:cubicBezTo>
                    <a:pt x="294" y="122"/>
                    <a:pt x="294" y="122"/>
                    <a:pt x="294" y="122"/>
                  </a:cubicBezTo>
                  <a:cubicBezTo>
                    <a:pt x="294" y="5"/>
                    <a:pt x="294" y="5"/>
                    <a:pt x="294" y="5"/>
                  </a:cubicBezTo>
                  <a:cubicBezTo>
                    <a:pt x="291" y="6"/>
                    <a:pt x="289" y="6"/>
                    <a:pt x="287" y="6"/>
                  </a:cubicBezTo>
                  <a:cubicBezTo>
                    <a:pt x="287" y="115"/>
                    <a:pt x="287" y="115"/>
                    <a:pt x="287" y="115"/>
                  </a:cubicBezTo>
                  <a:cubicBezTo>
                    <a:pt x="7" y="115"/>
                    <a:pt x="7" y="115"/>
                    <a:pt x="7" y="115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"/>
                    <a:pt x="3" y="2"/>
                    <a:pt x="0" y="3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23" name="Freeform 107"/>
          <p:cNvSpPr>
            <a:spLocks/>
          </p:cNvSpPr>
          <p:nvPr/>
        </p:nvSpPr>
        <p:spPr bwMode="auto">
          <a:xfrm>
            <a:off x="368300" y="1163638"/>
            <a:ext cx="2887663" cy="5226050"/>
          </a:xfrm>
          <a:custGeom>
            <a:avLst/>
            <a:gdLst/>
            <a:ahLst/>
            <a:cxnLst>
              <a:cxn ang="0">
                <a:pos x="225" y="374"/>
              </a:cxn>
              <a:cxn ang="0">
                <a:pos x="193" y="407"/>
              </a:cxn>
              <a:cxn ang="0">
                <a:pos x="33" y="407"/>
              </a:cxn>
              <a:cxn ang="0">
                <a:pos x="0" y="374"/>
              </a:cxn>
              <a:cxn ang="0">
                <a:pos x="0" y="32"/>
              </a:cxn>
              <a:cxn ang="0">
                <a:pos x="33" y="0"/>
              </a:cxn>
              <a:cxn ang="0">
                <a:pos x="193" y="0"/>
              </a:cxn>
              <a:cxn ang="0">
                <a:pos x="225" y="32"/>
              </a:cxn>
              <a:cxn ang="0">
                <a:pos x="225" y="374"/>
              </a:cxn>
            </a:cxnLst>
            <a:rect l="0" t="0" r="r" b="b"/>
            <a:pathLst>
              <a:path w="225" h="407">
                <a:moveTo>
                  <a:pt x="225" y="374"/>
                </a:moveTo>
                <a:cubicBezTo>
                  <a:pt x="225" y="392"/>
                  <a:pt x="211" y="407"/>
                  <a:pt x="193" y="407"/>
                </a:cubicBezTo>
                <a:cubicBezTo>
                  <a:pt x="33" y="407"/>
                  <a:pt x="33" y="407"/>
                  <a:pt x="33" y="407"/>
                </a:cubicBezTo>
                <a:cubicBezTo>
                  <a:pt x="15" y="407"/>
                  <a:pt x="0" y="392"/>
                  <a:pt x="0" y="374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5"/>
                  <a:pt x="15" y="0"/>
                  <a:pt x="33" y="0"/>
                </a:cubicBezTo>
                <a:cubicBezTo>
                  <a:pt x="193" y="0"/>
                  <a:pt x="193" y="0"/>
                  <a:pt x="193" y="0"/>
                </a:cubicBezTo>
                <a:cubicBezTo>
                  <a:pt x="211" y="0"/>
                  <a:pt x="225" y="15"/>
                  <a:pt x="225" y="32"/>
                </a:cubicBezTo>
                <a:cubicBezTo>
                  <a:pt x="225" y="374"/>
                  <a:pt x="225" y="374"/>
                  <a:pt x="225" y="374"/>
                </a:cubicBezTo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1623" name="Freeform 109"/>
          <p:cNvSpPr>
            <a:spLocks/>
          </p:cNvSpPr>
          <p:nvPr/>
        </p:nvSpPr>
        <p:spPr bwMode="auto">
          <a:xfrm>
            <a:off x="2090738" y="1109663"/>
            <a:ext cx="746125" cy="38100"/>
          </a:xfrm>
          <a:custGeom>
            <a:avLst/>
            <a:gdLst>
              <a:gd name="T0" fmla="*/ 0 w 58"/>
              <a:gd name="T1" fmla="*/ 3 h 3"/>
              <a:gd name="T2" fmla="*/ 3 w 58"/>
              <a:gd name="T3" fmla="*/ 0 h 3"/>
              <a:gd name="T4" fmla="*/ 55 w 58"/>
              <a:gd name="T5" fmla="*/ 0 h 3"/>
              <a:gd name="T6" fmla="*/ 58 w 58"/>
              <a:gd name="T7" fmla="*/ 3 h 3"/>
              <a:gd name="T8" fmla="*/ 0 w 58"/>
              <a:gd name="T9" fmla="*/ 3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8"/>
              <a:gd name="T16" fmla="*/ 0 h 3"/>
              <a:gd name="T17" fmla="*/ 58 w 58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8" h="3">
                <a:moveTo>
                  <a:pt x="0" y="3"/>
                </a:moveTo>
                <a:cubicBezTo>
                  <a:pt x="0" y="1"/>
                  <a:pt x="2" y="0"/>
                  <a:pt x="3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57" y="0"/>
                  <a:pt x="58" y="1"/>
                  <a:pt x="58" y="3"/>
                </a:cubicBezTo>
                <a:lnTo>
                  <a:pt x="0" y="3"/>
                </a:lnTo>
                <a:close/>
              </a:path>
            </a:pathLst>
          </a:custGeom>
          <a:solidFill>
            <a:srgbClr val="B3B2B3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1625" name="Freeform 20"/>
          <p:cNvSpPr>
            <a:spLocks/>
          </p:cNvSpPr>
          <p:nvPr/>
        </p:nvSpPr>
        <p:spPr bwMode="auto">
          <a:xfrm>
            <a:off x="2525713" y="4013200"/>
            <a:ext cx="2632075" cy="1141413"/>
          </a:xfrm>
          <a:custGeom>
            <a:avLst/>
            <a:gdLst>
              <a:gd name="T0" fmla="*/ 0 w 2942"/>
              <a:gd name="T1" fmla="*/ 198 h 762"/>
              <a:gd name="T2" fmla="*/ 2392 w 2942"/>
              <a:gd name="T3" fmla="*/ 198 h 762"/>
              <a:gd name="T4" fmla="*/ 2252 w 2942"/>
              <a:gd name="T5" fmla="*/ 54 h 762"/>
              <a:gd name="T6" fmla="*/ 2288 w 2942"/>
              <a:gd name="T7" fmla="*/ 30 h 762"/>
              <a:gd name="T8" fmla="*/ 2452 w 2942"/>
              <a:gd name="T9" fmla="*/ 30 h 762"/>
              <a:gd name="T10" fmla="*/ 2897 w 2942"/>
              <a:gd name="T11" fmla="*/ 327 h 762"/>
              <a:gd name="T12" fmla="*/ 2897 w 2942"/>
              <a:gd name="T13" fmla="*/ 436 h 762"/>
              <a:gd name="T14" fmla="*/ 2897 w 2942"/>
              <a:gd name="T15" fmla="*/ 436 h 762"/>
              <a:gd name="T16" fmla="*/ 2452 w 2942"/>
              <a:gd name="T17" fmla="*/ 732 h 762"/>
              <a:gd name="T18" fmla="*/ 2288 w 2942"/>
              <a:gd name="T19" fmla="*/ 732 h 762"/>
              <a:gd name="T20" fmla="*/ 2252 w 2942"/>
              <a:gd name="T21" fmla="*/ 708 h 762"/>
              <a:gd name="T22" fmla="*/ 2392 w 2942"/>
              <a:gd name="T23" fmla="*/ 564 h 762"/>
              <a:gd name="T24" fmla="*/ 0 w 2942"/>
              <a:gd name="T25" fmla="*/ 564 h 7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942"/>
              <a:gd name="T40" fmla="*/ 0 h 762"/>
              <a:gd name="T41" fmla="*/ 2942 w 2942"/>
              <a:gd name="T42" fmla="*/ 762 h 76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942" h="762">
                <a:moveTo>
                  <a:pt x="0" y="198"/>
                </a:moveTo>
                <a:cubicBezTo>
                  <a:pt x="2392" y="198"/>
                  <a:pt x="2392" y="198"/>
                  <a:pt x="2392" y="198"/>
                </a:cubicBezTo>
                <a:cubicBezTo>
                  <a:pt x="2252" y="54"/>
                  <a:pt x="2252" y="54"/>
                  <a:pt x="2252" y="54"/>
                </a:cubicBezTo>
                <a:cubicBezTo>
                  <a:pt x="2288" y="30"/>
                  <a:pt x="2288" y="30"/>
                  <a:pt x="2288" y="30"/>
                </a:cubicBezTo>
                <a:cubicBezTo>
                  <a:pt x="2333" y="0"/>
                  <a:pt x="2407" y="0"/>
                  <a:pt x="2452" y="30"/>
                </a:cubicBezTo>
                <a:cubicBezTo>
                  <a:pt x="2897" y="327"/>
                  <a:pt x="2897" y="327"/>
                  <a:pt x="2897" y="327"/>
                </a:cubicBezTo>
                <a:cubicBezTo>
                  <a:pt x="2942" y="357"/>
                  <a:pt x="2942" y="406"/>
                  <a:pt x="2897" y="436"/>
                </a:cubicBezTo>
                <a:cubicBezTo>
                  <a:pt x="2897" y="436"/>
                  <a:pt x="2897" y="436"/>
                  <a:pt x="2897" y="436"/>
                </a:cubicBezTo>
                <a:cubicBezTo>
                  <a:pt x="2452" y="732"/>
                  <a:pt x="2452" y="732"/>
                  <a:pt x="2452" y="732"/>
                </a:cubicBezTo>
                <a:cubicBezTo>
                  <a:pt x="2407" y="762"/>
                  <a:pt x="2333" y="762"/>
                  <a:pt x="2288" y="732"/>
                </a:cubicBezTo>
                <a:cubicBezTo>
                  <a:pt x="2252" y="708"/>
                  <a:pt x="2252" y="708"/>
                  <a:pt x="2252" y="708"/>
                </a:cubicBezTo>
                <a:cubicBezTo>
                  <a:pt x="2392" y="564"/>
                  <a:pt x="2392" y="564"/>
                  <a:pt x="2392" y="564"/>
                </a:cubicBezTo>
                <a:cubicBezTo>
                  <a:pt x="0" y="564"/>
                  <a:pt x="0" y="564"/>
                  <a:pt x="0" y="564"/>
                </a:cubicBezTo>
              </a:path>
            </a:pathLst>
          </a:cu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1626" name="AutoShape 14"/>
          <p:cNvSpPr>
            <a:spLocks noChangeAspect="1" noChangeArrowheads="1" noTextEdit="1"/>
          </p:cNvSpPr>
          <p:nvPr/>
        </p:nvSpPr>
        <p:spPr bwMode="auto">
          <a:xfrm>
            <a:off x="0" y="4432300"/>
            <a:ext cx="500063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1627" name="TextBox 139"/>
          <p:cNvSpPr txBox="1">
            <a:spLocks noChangeArrowheads="1"/>
          </p:cNvSpPr>
          <p:nvPr/>
        </p:nvSpPr>
        <p:spPr bwMode="auto">
          <a:xfrm>
            <a:off x="554038" y="1528763"/>
            <a:ext cx="2493962" cy="53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hu-HU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Keresés </a:t>
            </a:r>
            <a:r>
              <a:rPr lang="hu-HU"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>
                <a:ea typeface="Arial Unicode MS" pitchFamily="34" charset="-128"/>
                <a:cs typeface="Arial Unicode MS" pitchFamily="34" charset="-128"/>
              </a:rPr>
            </a:br>
            <a:r>
              <a:rPr lang="hu-HU" sz="1800" b="1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okostelefonon</a:t>
            </a:r>
          </a:p>
        </p:txBody>
      </p:sp>
      <p:sp>
        <p:nvSpPr>
          <p:cNvPr id="111628" name="Freeform 20"/>
          <p:cNvSpPr>
            <a:spLocks/>
          </p:cNvSpPr>
          <p:nvPr/>
        </p:nvSpPr>
        <p:spPr bwMode="auto">
          <a:xfrm>
            <a:off x="2982913" y="2349500"/>
            <a:ext cx="2632075" cy="1141413"/>
          </a:xfrm>
          <a:custGeom>
            <a:avLst/>
            <a:gdLst>
              <a:gd name="T0" fmla="*/ 0 w 2942"/>
              <a:gd name="T1" fmla="*/ 198 h 762"/>
              <a:gd name="T2" fmla="*/ 2392 w 2942"/>
              <a:gd name="T3" fmla="*/ 198 h 762"/>
              <a:gd name="T4" fmla="*/ 2252 w 2942"/>
              <a:gd name="T5" fmla="*/ 54 h 762"/>
              <a:gd name="T6" fmla="*/ 2288 w 2942"/>
              <a:gd name="T7" fmla="*/ 30 h 762"/>
              <a:gd name="T8" fmla="*/ 2452 w 2942"/>
              <a:gd name="T9" fmla="*/ 30 h 762"/>
              <a:gd name="T10" fmla="*/ 2897 w 2942"/>
              <a:gd name="T11" fmla="*/ 327 h 762"/>
              <a:gd name="T12" fmla="*/ 2897 w 2942"/>
              <a:gd name="T13" fmla="*/ 436 h 762"/>
              <a:gd name="T14" fmla="*/ 2897 w 2942"/>
              <a:gd name="T15" fmla="*/ 436 h 762"/>
              <a:gd name="T16" fmla="*/ 2452 w 2942"/>
              <a:gd name="T17" fmla="*/ 732 h 762"/>
              <a:gd name="T18" fmla="*/ 2288 w 2942"/>
              <a:gd name="T19" fmla="*/ 732 h 762"/>
              <a:gd name="T20" fmla="*/ 2252 w 2942"/>
              <a:gd name="T21" fmla="*/ 708 h 762"/>
              <a:gd name="T22" fmla="*/ 2392 w 2942"/>
              <a:gd name="T23" fmla="*/ 564 h 762"/>
              <a:gd name="T24" fmla="*/ 0 w 2942"/>
              <a:gd name="T25" fmla="*/ 564 h 7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942"/>
              <a:gd name="T40" fmla="*/ 0 h 762"/>
              <a:gd name="T41" fmla="*/ 2942 w 2942"/>
              <a:gd name="T42" fmla="*/ 762 h 76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942" h="762">
                <a:moveTo>
                  <a:pt x="0" y="198"/>
                </a:moveTo>
                <a:cubicBezTo>
                  <a:pt x="2392" y="198"/>
                  <a:pt x="2392" y="198"/>
                  <a:pt x="2392" y="198"/>
                </a:cubicBezTo>
                <a:cubicBezTo>
                  <a:pt x="2252" y="54"/>
                  <a:pt x="2252" y="54"/>
                  <a:pt x="2252" y="54"/>
                </a:cubicBezTo>
                <a:cubicBezTo>
                  <a:pt x="2288" y="30"/>
                  <a:pt x="2288" y="30"/>
                  <a:pt x="2288" y="30"/>
                </a:cubicBezTo>
                <a:cubicBezTo>
                  <a:pt x="2333" y="0"/>
                  <a:pt x="2407" y="0"/>
                  <a:pt x="2452" y="30"/>
                </a:cubicBezTo>
                <a:cubicBezTo>
                  <a:pt x="2897" y="327"/>
                  <a:pt x="2897" y="327"/>
                  <a:pt x="2897" y="327"/>
                </a:cubicBezTo>
                <a:cubicBezTo>
                  <a:pt x="2942" y="357"/>
                  <a:pt x="2942" y="406"/>
                  <a:pt x="2897" y="436"/>
                </a:cubicBezTo>
                <a:cubicBezTo>
                  <a:pt x="2897" y="436"/>
                  <a:pt x="2897" y="436"/>
                  <a:pt x="2897" y="436"/>
                </a:cubicBezTo>
                <a:cubicBezTo>
                  <a:pt x="2452" y="732"/>
                  <a:pt x="2452" y="732"/>
                  <a:pt x="2452" y="732"/>
                </a:cubicBezTo>
                <a:cubicBezTo>
                  <a:pt x="2407" y="762"/>
                  <a:pt x="2333" y="762"/>
                  <a:pt x="2288" y="732"/>
                </a:cubicBezTo>
                <a:cubicBezTo>
                  <a:pt x="2252" y="708"/>
                  <a:pt x="2252" y="708"/>
                  <a:pt x="2252" y="708"/>
                </a:cubicBezTo>
                <a:cubicBezTo>
                  <a:pt x="2392" y="564"/>
                  <a:pt x="2392" y="564"/>
                  <a:pt x="2392" y="564"/>
                </a:cubicBezTo>
                <a:cubicBezTo>
                  <a:pt x="0" y="564"/>
                  <a:pt x="0" y="564"/>
                  <a:pt x="0" y="564"/>
                </a:cubicBezTo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1629" name="Freeform 16"/>
          <p:cNvSpPr>
            <a:spLocks/>
          </p:cNvSpPr>
          <p:nvPr/>
        </p:nvSpPr>
        <p:spPr bwMode="auto">
          <a:xfrm>
            <a:off x="101600" y="2649538"/>
            <a:ext cx="506413" cy="468312"/>
          </a:xfrm>
          <a:custGeom>
            <a:avLst/>
            <a:gdLst>
              <a:gd name="T0" fmla="*/ 0 w 823"/>
              <a:gd name="T1" fmla="*/ 198 h 762"/>
              <a:gd name="T2" fmla="*/ 273 w 823"/>
              <a:gd name="T3" fmla="*/ 198 h 762"/>
              <a:gd name="T4" fmla="*/ 132 w 823"/>
              <a:gd name="T5" fmla="*/ 54 h 762"/>
              <a:gd name="T6" fmla="*/ 168 w 823"/>
              <a:gd name="T7" fmla="*/ 30 h 762"/>
              <a:gd name="T8" fmla="*/ 332 w 823"/>
              <a:gd name="T9" fmla="*/ 30 h 762"/>
              <a:gd name="T10" fmla="*/ 778 w 823"/>
              <a:gd name="T11" fmla="*/ 327 h 762"/>
              <a:gd name="T12" fmla="*/ 778 w 823"/>
              <a:gd name="T13" fmla="*/ 436 h 762"/>
              <a:gd name="T14" fmla="*/ 778 w 823"/>
              <a:gd name="T15" fmla="*/ 436 h 762"/>
              <a:gd name="T16" fmla="*/ 332 w 823"/>
              <a:gd name="T17" fmla="*/ 732 h 762"/>
              <a:gd name="T18" fmla="*/ 168 w 823"/>
              <a:gd name="T19" fmla="*/ 732 h 762"/>
              <a:gd name="T20" fmla="*/ 132 w 823"/>
              <a:gd name="T21" fmla="*/ 708 h 762"/>
              <a:gd name="T22" fmla="*/ 273 w 823"/>
              <a:gd name="T23" fmla="*/ 564 h 762"/>
              <a:gd name="T24" fmla="*/ 1 w 823"/>
              <a:gd name="T25" fmla="*/ 564 h 7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23"/>
              <a:gd name="T40" fmla="*/ 0 h 762"/>
              <a:gd name="T41" fmla="*/ 823 w 823"/>
              <a:gd name="T42" fmla="*/ 762 h 76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23" h="762">
                <a:moveTo>
                  <a:pt x="0" y="198"/>
                </a:moveTo>
                <a:cubicBezTo>
                  <a:pt x="273" y="198"/>
                  <a:pt x="273" y="198"/>
                  <a:pt x="273" y="198"/>
                </a:cubicBezTo>
                <a:cubicBezTo>
                  <a:pt x="132" y="54"/>
                  <a:pt x="132" y="54"/>
                  <a:pt x="132" y="54"/>
                </a:cubicBezTo>
                <a:cubicBezTo>
                  <a:pt x="168" y="30"/>
                  <a:pt x="168" y="30"/>
                  <a:pt x="168" y="30"/>
                </a:cubicBezTo>
                <a:cubicBezTo>
                  <a:pt x="213" y="0"/>
                  <a:pt x="287" y="0"/>
                  <a:pt x="332" y="30"/>
                </a:cubicBezTo>
                <a:cubicBezTo>
                  <a:pt x="778" y="327"/>
                  <a:pt x="778" y="327"/>
                  <a:pt x="778" y="327"/>
                </a:cubicBezTo>
                <a:cubicBezTo>
                  <a:pt x="823" y="357"/>
                  <a:pt x="823" y="406"/>
                  <a:pt x="778" y="436"/>
                </a:cubicBezTo>
                <a:cubicBezTo>
                  <a:pt x="778" y="436"/>
                  <a:pt x="778" y="436"/>
                  <a:pt x="778" y="436"/>
                </a:cubicBezTo>
                <a:cubicBezTo>
                  <a:pt x="332" y="732"/>
                  <a:pt x="332" y="732"/>
                  <a:pt x="332" y="732"/>
                </a:cubicBezTo>
                <a:cubicBezTo>
                  <a:pt x="287" y="762"/>
                  <a:pt x="213" y="762"/>
                  <a:pt x="168" y="732"/>
                </a:cubicBezTo>
                <a:cubicBezTo>
                  <a:pt x="132" y="708"/>
                  <a:pt x="132" y="708"/>
                  <a:pt x="132" y="708"/>
                </a:cubicBezTo>
                <a:cubicBezTo>
                  <a:pt x="273" y="564"/>
                  <a:pt x="273" y="564"/>
                  <a:pt x="273" y="564"/>
                </a:cubicBezTo>
                <a:cubicBezTo>
                  <a:pt x="1" y="564"/>
                  <a:pt x="1" y="564"/>
                  <a:pt x="1" y="564"/>
                </a:cubicBezTo>
              </a:path>
            </a:pathLst>
          </a:custGeom>
          <a:solidFill>
            <a:schemeClr val="bg1">
              <a:alpha val="47058"/>
            </a:schemeClr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1630" name="Freeform 16"/>
          <p:cNvSpPr>
            <a:spLocks/>
          </p:cNvSpPr>
          <p:nvPr/>
        </p:nvSpPr>
        <p:spPr bwMode="auto">
          <a:xfrm>
            <a:off x="101600" y="4313238"/>
            <a:ext cx="506413" cy="468312"/>
          </a:xfrm>
          <a:custGeom>
            <a:avLst/>
            <a:gdLst>
              <a:gd name="T0" fmla="*/ 0 w 823"/>
              <a:gd name="T1" fmla="*/ 198 h 762"/>
              <a:gd name="T2" fmla="*/ 273 w 823"/>
              <a:gd name="T3" fmla="*/ 198 h 762"/>
              <a:gd name="T4" fmla="*/ 132 w 823"/>
              <a:gd name="T5" fmla="*/ 54 h 762"/>
              <a:gd name="T6" fmla="*/ 168 w 823"/>
              <a:gd name="T7" fmla="*/ 30 h 762"/>
              <a:gd name="T8" fmla="*/ 332 w 823"/>
              <a:gd name="T9" fmla="*/ 30 h 762"/>
              <a:gd name="T10" fmla="*/ 778 w 823"/>
              <a:gd name="T11" fmla="*/ 327 h 762"/>
              <a:gd name="T12" fmla="*/ 778 w 823"/>
              <a:gd name="T13" fmla="*/ 436 h 762"/>
              <a:gd name="T14" fmla="*/ 778 w 823"/>
              <a:gd name="T15" fmla="*/ 436 h 762"/>
              <a:gd name="T16" fmla="*/ 332 w 823"/>
              <a:gd name="T17" fmla="*/ 732 h 762"/>
              <a:gd name="T18" fmla="*/ 168 w 823"/>
              <a:gd name="T19" fmla="*/ 732 h 762"/>
              <a:gd name="T20" fmla="*/ 132 w 823"/>
              <a:gd name="T21" fmla="*/ 708 h 762"/>
              <a:gd name="T22" fmla="*/ 273 w 823"/>
              <a:gd name="T23" fmla="*/ 564 h 762"/>
              <a:gd name="T24" fmla="*/ 1 w 823"/>
              <a:gd name="T25" fmla="*/ 564 h 7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23"/>
              <a:gd name="T40" fmla="*/ 0 h 762"/>
              <a:gd name="T41" fmla="*/ 823 w 823"/>
              <a:gd name="T42" fmla="*/ 762 h 76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23" h="762">
                <a:moveTo>
                  <a:pt x="0" y="198"/>
                </a:moveTo>
                <a:cubicBezTo>
                  <a:pt x="273" y="198"/>
                  <a:pt x="273" y="198"/>
                  <a:pt x="273" y="198"/>
                </a:cubicBezTo>
                <a:cubicBezTo>
                  <a:pt x="132" y="54"/>
                  <a:pt x="132" y="54"/>
                  <a:pt x="132" y="54"/>
                </a:cubicBezTo>
                <a:cubicBezTo>
                  <a:pt x="168" y="30"/>
                  <a:pt x="168" y="30"/>
                  <a:pt x="168" y="30"/>
                </a:cubicBezTo>
                <a:cubicBezTo>
                  <a:pt x="213" y="0"/>
                  <a:pt x="287" y="0"/>
                  <a:pt x="332" y="30"/>
                </a:cubicBezTo>
                <a:cubicBezTo>
                  <a:pt x="778" y="327"/>
                  <a:pt x="778" y="327"/>
                  <a:pt x="778" y="327"/>
                </a:cubicBezTo>
                <a:cubicBezTo>
                  <a:pt x="823" y="357"/>
                  <a:pt x="823" y="406"/>
                  <a:pt x="778" y="436"/>
                </a:cubicBezTo>
                <a:cubicBezTo>
                  <a:pt x="778" y="436"/>
                  <a:pt x="778" y="436"/>
                  <a:pt x="778" y="436"/>
                </a:cubicBezTo>
                <a:cubicBezTo>
                  <a:pt x="332" y="732"/>
                  <a:pt x="332" y="732"/>
                  <a:pt x="332" y="732"/>
                </a:cubicBezTo>
                <a:cubicBezTo>
                  <a:pt x="287" y="762"/>
                  <a:pt x="213" y="762"/>
                  <a:pt x="168" y="732"/>
                </a:cubicBezTo>
                <a:cubicBezTo>
                  <a:pt x="132" y="708"/>
                  <a:pt x="132" y="708"/>
                  <a:pt x="132" y="708"/>
                </a:cubicBezTo>
                <a:cubicBezTo>
                  <a:pt x="273" y="564"/>
                  <a:pt x="273" y="564"/>
                  <a:pt x="273" y="564"/>
                </a:cubicBezTo>
                <a:cubicBezTo>
                  <a:pt x="1" y="564"/>
                  <a:pt x="1" y="564"/>
                  <a:pt x="1" y="564"/>
                </a:cubicBezTo>
              </a:path>
            </a:pathLst>
          </a:custGeom>
          <a:solidFill>
            <a:schemeClr val="bg1">
              <a:alpha val="47058"/>
            </a:schemeClr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1631" name="Freeform 16"/>
          <p:cNvSpPr>
            <a:spLocks/>
          </p:cNvSpPr>
          <p:nvPr/>
        </p:nvSpPr>
        <p:spPr bwMode="auto">
          <a:xfrm>
            <a:off x="0" y="4313238"/>
            <a:ext cx="506413" cy="468312"/>
          </a:xfrm>
          <a:custGeom>
            <a:avLst/>
            <a:gdLst>
              <a:gd name="T0" fmla="*/ 0 w 823"/>
              <a:gd name="T1" fmla="*/ 198 h 762"/>
              <a:gd name="T2" fmla="*/ 273 w 823"/>
              <a:gd name="T3" fmla="*/ 198 h 762"/>
              <a:gd name="T4" fmla="*/ 132 w 823"/>
              <a:gd name="T5" fmla="*/ 54 h 762"/>
              <a:gd name="T6" fmla="*/ 168 w 823"/>
              <a:gd name="T7" fmla="*/ 30 h 762"/>
              <a:gd name="T8" fmla="*/ 332 w 823"/>
              <a:gd name="T9" fmla="*/ 30 h 762"/>
              <a:gd name="T10" fmla="*/ 778 w 823"/>
              <a:gd name="T11" fmla="*/ 327 h 762"/>
              <a:gd name="T12" fmla="*/ 778 w 823"/>
              <a:gd name="T13" fmla="*/ 436 h 762"/>
              <a:gd name="T14" fmla="*/ 778 w 823"/>
              <a:gd name="T15" fmla="*/ 436 h 762"/>
              <a:gd name="T16" fmla="*/ 332 w 823"/>
              <a:gd name="T17" fmla="*/ 732 h 762"/>
              <a:gd name="T18" fmla="*/ 168 w 823"/>
              <a:gd name="T19" fmla="*/ 732 h 762"/>
              <a:gd name="T20" fmla="*/ 132 w 823"/>
              <a:gd name="T21" fmla="*/ 708 h 762"/>
              <a:gd name="T22" fmla="*/ 273 w 823"/>
              <a:gd name="T23" fmla="*/ 564 h 762"/>
              <a:gd name="T24" fmla="*/ 1 w 823"/>
              <a:gd name="T25" fmla="*/ 564 h 7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23"/>
              <a:gd name="T40" fmla="*/ 0 h 762"/>
              <a:gd name="T41" fmla="*/ 823 w 823"/>
              <a:gd name="T42" fmla="*/ 762 h 76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23" h="762">
                <a:moveTo>
                  <a:pt x="0" y="198"/>
                </a:moveTo>
                <a:cubicBezTo>
                  <a:pt x="273" y="198"/>
                  <a:pt x="273" y="198"/>
                  <a:pt x="273" y="198"/>
                </a:cubicBezTo>
                <a:cubicBezTo>
                  <a:pt x="132" y="54"/>
                  <a:pt x="132" y="54"/>
                  <a:pt x="132" y="54"/>
                </a:cubicBezTo>
                <a:cubicBezTo>
                  <a:pt x="168" y="30"/>
                  <a:pt x="168" y="30"/>
                  <a:pt x="168" y="30"/>
                </a:cubicBezTo>
                <a:cubicBezTo>
                  <a:pt x="213" y="0"/>
                  <a:pt x="287" y="0"/>
                  <a:pt x="332" y="30"/>
                </a:cubicBezTo>
                <a:cubicBezTo>
                  <a:pt x="778" y="327"/>
                  <a:pt x="778" y="327"/>
                  <a:pt x="778" y="327"/>
                </a:cubicBezTo>
                <a:cubicBezTo>
                  <a:pt x="823" y="357"/>
                  <a:pt x="823" y="406"/>
                  <a:pt x="778" y="436"/>
                </a:cubicBezTo>
                <a:cubicBezTo>
                  <a:pt x="778" y="436"/>
                  <a:pt x="778" y="436"/>
                  <a:pt x="778" y="436"/>
                </a:cubicBezTo>
                <a:cubicBezTo>
                  <a:pt x="332" y="732"/>
                  <a:pt x="332" y="732"/>
                  <a:pt x="332" y="732"/>
                </a:cubicBezTo>
                <a:cubicBezTo>
                  <a:pt x="287" y="762"/>
                  <a:pt x="213" y="762"/>
                  <a:pt x="168" y="732"/>
                </a:cubicBezTo>
                <a:cubicBezTo>
                  <a:pt x="132" y="708"/>
                  <a:pt x="132" y="708"/>
                  <a:pt x="132" y="708"/>
                </a:cubicBezTo>
                <a:cubicBezTo>
                  <a:pt x="273" y="564"/>
                  <a:pt x="273" y="564"/>
                  <a:pt x="273" y="564"/>
                </a:cubicBezTo>
                <a:cubicBezTo>
                  <a:pt x="1" y="564"/>
                  <a:pt x="1" y="564"/>
                  <a:pt x="1" y="564"/>
                </a:cubicBezTo>
              </a:path>
            </a:pathLst>
          </a:cu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1632" name="Freeform 16"/>
          <p:cNvSpPr>
            <a:spLocks/>
          </p:cNvSpPr>
          <p:nvPr/>
        </p:nvSpPr>
        <p:spPr bwMode="auto">
          <a:xfrm>
            <a:off x="0" y="2649538"/>
            <a:ext cx="506413" cy="468312"/>
          </a:xfrm>
          <a:custGeom>
            <a:avLst/>
            <a:gdLst>
              <a:gd name="T0" fmla="*/ 0 w 823"/>
              <a:gd name="T1" fmla="*/ 198 h 762"/>
              <a:gd name="T2" fmla="*/ 273 w 823"/>
              <a:gd name="T3" fmla="*/ 198 h 762"/>
              <a:gd name="T4" fmla="*/ 132 w 823"/>
              <a:gd name="T5" fmla="*/ 54 h 762"/>
              <a:gd name="T6" fmla="*/ 168 w 823"/>
              <a:gd name="T7" fmla="*/ 30 h 762"/>
              <a:gd name="T8" fmla="*/ 332 w 823"/>
              <a:gd name="T9" fmla="*/ 30 h 762"/>
              <a:gd name="T10" fmla="*/ 778 w 823"/>
              <a:gd name="T11" fmla="*/ 327 h 762"/>
              <a:gd name="T12" fmla="*/ 778 w 823"/>
              <a:gd name="T13" fmla="*/ 436 h 762"/>
              <a:gd name="T14" fmla="*/ 778 w 823"/>
              <a:gd name="T15" fmla="*/ 436 h 762"/>
              <a:gd name="T16" fmla="*/ 332 w 823"/>
              <a:gd name="T17" fmla="*/ 732 h 762"/>
              <a:gd name="T18" fmla="*/ 168 w 823"/>
              <a:gd name="T19" fmla="*/ 732 h 762"/>
              <a:gd name="T20" fmla="*/ 132 w 823"/>
              <a:gd name="T21" fmla="*/ 708 h 762"/>
              <a:gd name="T22" fmla="*/ 273 w 823"/>
              <a:gd name="T23" fmla="*/ 564 h 762"/>
              <a:gd name="T24" fmla="*/ 1 w 823"/>
              <a:gd name="T25" fmla="*/ 564 h 7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23"/>
              <a:gd name="T40" fmla="*/ 0 h 762"/>
              <a:gd name="T41" fmla="*/ 823 w 823"/>
              <a:gd name="T42" fmla="*/ 762 h 76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23" h="762">
                <a:moveTo>
                  <a:pt x="0" y="198"/>
                </a:moveTo>
                <a:cubicBezTo>
                  <a:pt x="273" y="198"/>
                  <a:pt x="273" y="198"/>
                  <a:pt x="273" y="198"/>
                </a:cubicBezTo>
                <a:cubicBezTo>
                  <a:pt x="132" y="54"/>
                  <a:pt x="132" y="54"/>
                  <a:pt x="132" y="54"/>
                </a:cubicBezTo>
                <a:cubicBezTo>
                  <a:pt x="168" y="30"/>
                  <a:pt x="168" y="30"/>
                  <a:pt x="168" y="30"/>
                </a:cubicBezTo>
                <a:cubicBezTo>
                  <a:pt x="213" y="0"/>
                  <a:pt x="287" y="0"/>
                  <a:pt x="332" y="30"/>
                </a:cubicBezTo>
                <a:cubicBezTo>
                  <a:pt x="778" y="327"/>
                  <a:pt x="778" y="327"/>
                  <a:pt x="778" y="327"/>
                </a:cubicBezTo>
                <a:cubicBezTo>
                  <a:pt x="823" y="357"/>
                  <a:pt x="823" y="406"/>
                  <a:pt x="778" y="436"/>
                </a:cubicBezTo>
                <a:cubicBezTo>
                  <a:pt x="778" y="436"/>
                  <a:pt x="778" y="436"/>
                  <a:pt x="778" y="436"/>
                </a:cubicBezTo>
                <a:cubicBezTo>
                  <a:pt x="332" y="732"/>
                  <a:pt x="332" y="732"/>
                  <a:pt x="332" y="732"/>
                </a:cubicBezTo>
                <a:cubicBezTo>
                  <a:pt x="287" y="762"/>
                  <a:pt x="213" y="762"/>
                  <a:pt x="168" y="732"/>
                </a:cubicBezTo>
                <a:cubicBezTo>
                  <a:pt x="132" y="708"/>
                  <a:pt x="132" y="708"/>
                  <a:pt x="132" y="708"/>
                </a:cubicBezTo>
                <a:cubicBezTo>
                  <a:pt x="273" y="564"/>
                  <a:pt x="273" y="564"/>
                  <a:pt x="273" y="564"/>
                </a:cubicBezTo>
                <a:cubicBezTo>
                  <a:pt x="1" y="564"/>
                  <a:pt x="1" y="564"/>
                  <a:pt x="1" y="564"/>
                </a:cubicBezTo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1633" name="Rectangle 108"/>
          <p:cNvSpPr>
            <a:spLocks noChangeArrowheads="1"/>
          </p:cNvSpPr>
          <p:nvPr/>
        </p:nvSpPr>
        <p:spPr bwMode="auto">
          <a:xfrm>
            <a:off x="627063" y="2046288"/>
            <a:ext cx="2384425" cy="37115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1634" name="TextBox 149"/>
          <p:cNvSpPr txBox="1">
            <a:spLocks noChangeArrowheads="1"/>
          </p:cNvSpPr>
          <p:nvPr/>
        </p:nvSpPr>
        <p:spPr bwMode="auto">
          <a:xfrm>
            <a:off x="899165" y="2508250"/>
            <a:ext cx="1862137" cy="998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6600" b="1">
                <a:solidFill>
                  <a:srgbClr val="3369E8"/>
                </a:solidFill>
                <a:ea typeface="Arial Unicode MS" pitchFamily="34" charset="-128"/>
                <a:cs typeface="Arial Unicode MS" pitchFamily="34" charset="-128"/>
              </a:rPr>
              <a:t>28%</a:t>
            </a:r>
          </a:p>
        </p:txBody>
      </p:sp>
      <p:sp>
        <p:nvSpPr>
          <p:cNvPr id="111635" name="TextBox 150"/>
          <p:cNvSpPr txBox="1">
            <a:spLocks noChangeArrowheads="1"/>
          </p:cNvSpPr>
          <p:nvPr/>
        </p:nvSpPr>
        <p:spPr bwMode="auto">
          <a:xfrm>
            <a:off x="899165" y="4162425"/>
            <a:ext cx="1862137" cy="998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6600" b="1">
                <a:solidFill>
                  <a:srgbClr val="EEB211"/>
                </a:solidFill>
                <a:ea typeface="Arial Unicode MS" pitchFamily="34" charset="-128"/>
                <a:cs typeface="Arial Unicode MS" pitchFamily="34" charset="-128"/>
              </a:rPr>
              <a:t>22%</a:t>
            </a:r>
          </a:p>
        </p:txBody>
      </p:sp>
      <p:cxnSp>
        <p:nvCxnSpPr>
          <p:cNvPr id="111636" name="Straight Connector 152"/>
          <p:cNvCxnSpPr>
            <a:cxnSpLocks noChangeShapeType="1"/>
          </p:cNvCxnSpPr>
          <p:nvPr/>
        </p:nvCxnSpPr>
        <p:spPr bwMode="auto">
          <a:xfrm>
            <a:off x="685800" y="3898900"/>
            <a:ext cx="2252663" cy="0"/>
          </a:xfrm>
          <a:prstGeom prst="line">
            <a:avLst/>
          </a:prstGeom>
          <a:noFill/>
          <a:ln w="9525" algn="ctr">
            <a:solidFill>
              <a:schemeClr val="tx2"/>
            </a:solidFill>
            <a:prstDash val="dash"/>
            <a:round/>
            <a:headEnd/>
            <a:tailEnd/>
          </a:ln>
        </p:spPr>
      </p:cxnSp>
      <p:sp>
        <p:nvSpPr>
          <p:cNvPr id="111637" name="TextBox 155"/>
          <p:cNvSpPr txBox="1">
            <a:spLocks noChangeArrowheads="1"/>
          </p:cNvSpPr>
          <p:nvPr/>
        </p:nvSpPr>
        <p:spPr bwMode="auto">
          <a:xfrm>
            <a:off x="3285794" y="2631127"/>
            <a:ext cx="1878012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hu-HU" sz="160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majd vásárlás </a:t>
            </a:r>
            <a:r>
              <a:rPr lang="hu-HU" sz="1600"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z="1600">
                <a:ea typeface="Arial Unicode MS" pitchFamily="34" charset="-128"/>
                <a:cs typeface="Arial Unicode MS" pitchFamily="34" charset="-128"/>
              </a:rPr>
            </a:br>
            <a:r>
              <a:rPr lang="hu-HU" sz="2000" b="1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számítógépen</a:t>
            </a:r>
          </a:p>
        </p:txBody>
      </p:sp>
      <p:sp>
        <p:nvSpPr>
          <p:cNvPr id="111638" name="TextBox 156"/>
          <p:cNvSpPr txBox="1">
            <a:spLocks noChangeArrowheads="1"/>
          </p:cNvSpPr>
          <p:nvPr/>
        </p:nvSpPr>
        <p:spPr bwMode="auto">
          <a:xfrm>
            <a:off x="3285794" y="4319588"/>
            <a:ext cx="1493838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hu-HU" sz="160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majd vásárlás </a:t>
            </a:r>
            <a:r>
              <a:rPr lang="hu-HU" sz="1600"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z="1600">
                <a:ea typeface="Arial Unicode MS" pitchFamily="34" charset="-128"/>
                <a:cs typeface="Arial Unicode MS" pitchFamily="34" charset="-128"/>
              </a:rPr>
            </a:br>
            <a:r>
              <a:rPr lang="hu-HU" sz="2000" b="1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üzletben</a:t>
            </a:r>
          </a:p>
        </p:txBody>
      </p:sp>
      <p:sp>
        <p:nvSpPr>
          <p:cNvPr id="111639" name="TextBox 158"/>
          <p:cNvSpPr txBox="1">
            <a:spLocks noChangeArrowheads="1"/>
          </p:cNvSpPr>
          <p:nvPr/>
        </p:nvSpPr>
        <p:spPr bwMode="auto">
          <a:xfrm>
            <a:off x="3297238" y="2324100"/>
            <a:ext cx="1493837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hu-HU" sz="160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majd vásárlás </a:t>
            </a:r>
          </a:p>
        </p:txBody>
      </p:sp>
      <p:grpSp>
        <p:nvGrpSpPr>
          <p:cNvPr id="52" name="Group 51"/>
          <p:cNvGrpSpPr/>
          <p:nvPr/>
        </p:nvGrpSpPr>
        <p:grpSpPr>
          <a:xfrm>
            <a:off x="1495865" y="1371437"/>
            <a:ext cx="647592" cy="139863"/>
            <a:chOff x="1495865" y="1498437"/>
            <a:chExt cx="647592" cy="304747"/>
          </a:xfrm>
        </p:grpSpPr>
        <p:sp>
          <p:nvSpPr>
            <p:cNvPr id="53" name="Freeform 110"/>
            <p:cNvSpPr>
              <a:spLocks/>
            </p:cNvSpPr>
            <p:nvPr/>
          </p:nvSpPr>
          <p:spPr bwMode="auto">
            <a:xfrm>
              <a:off x="1495865" y="1498437"/>
              <a:ext cx="53334" cy="304747"/>
            </a:xfrm>
            <a:custGeom>
              <a:avLst/>
              <a:gdLst/>
              <a:ahLst/>
              <a:cxnLst>
                <a:cxn ang="0">
                  <a:pos x="4" y="22"/>
                </a:cxn>
                <a:cxn ang="0">
                  <a:pos x="2" y="24"/>
                </a:cxn>
                <a:cxn ang="0">
                  <a:pos x="0" y="22"/>
                </a:cxn>
                <a:cxn ang="0">
                  <a:pos x="0" y="3"/>
                </a:cxn>
                <a:cxn ang="0">
                  <a:pos x="2" y="0"/>
                </a:cxn>
                <a:cxn ang="0">
                  <a:pos x="4" y="3"/>
                </a:cxn>
                <a:cxn ang="0">
                  <a:pos x="4" y="22"/>
                </a:cxn>
              </a:cxnLst>
              <a:rect l="0" t="0" r="r" b="b"/>
              <a:pathLst>
                <a:path w="4" h="24">
                  <a:moveTo>
                    <a:pt x="4" y="22"/>
                  </a:move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4" y="3"/>
                  </a:cubicBezTo>
                  <a:lnTo>
                    <a:pt x="4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4" name="Freeform 111"/>
            <p:cNvSpPr>
              <a:spLocks/>
            </p:cNvSpPr>
            <p:nvPr/>
          </p:nvSpPr>
          <p:spPr bwMode="auto">
            <a:xfrm>
              <a:off x="1587288" y="1498437"/>
              <a:ext cx="38094" cy="304747"/>
            </a:xfrm>
            <a:custGeom>
              <a:avLst/>
              <a:gdLst/>
              <a:ahLst/>
              <a:cxnLst>
                <a:cxn ang="0">
                  <a:pos x="3" y="22"/>
                </a:cxn>
                <a:cxn ang="0">
                  <a:pos x="1" y="24"/>
                </a:cxn>
                <a:cxn ang="0">
                  <a:pos x="0" y="22"/>
                </a:cxn>
                <a:cxn ang="0">
                  <a:pos x="0" y="3"/>
                </a:cxn>
                <a:cxn ang="0">
                  <a:pos x="1" y="0"/>
                </a:cxn>
                <a:cxn ang="0">
                  <a:pos x="3" y="3"/>
                </a:cxn>
                <a:cxn ang="0">
                  <a:pos x="3" y="22"/>
                </a:cxn>
              </a:cxnLst>
              <a:rect l="0" t="0" r="r" b="b"/>
              <a:pathLst>
                <a:path w="3" h="24">
                  <a:moveTo>
                    <a:pt x="3" y="22"/>
                  </a:moveTo>
                  <a:cubicBezTo>
                    <a:pt x="3" y="23"/>
                    <a:pt x="2" y="24"/>
                    <a:pt x="1" y="24"/>
                  </a:cubicBezTo>
                  <a:cubicBezTo>
                    <a:pt x="0" y="24"/>
                    <a:pt x="0" y="23"/>
                    <a:pt x="0" y="2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3" y="2"/>
                    <a:pt x="3" y="3"/>
                  </a:cubicBezTo>
                  <a:lnTo>
                    <a:pt x="3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5" name="Freeform 112"/>
            <p:cNvSpPr>
              <a:spLocks/>
            </p:cNvSpPr>
            <p:nvPr/>
          </p:nvSpPr>
          <p:spPr bwMode="auto">
            <a:xfrm>
              <a:off x="1663476" y="1498437"/>
              <a:ext cx="53334" cy="304747"/>
            </a:xfrm>
            <a:custGeom>
              <a:avLst/>
              <a:gdLst/>
              <a:ahLst/>
              <a:cxnLst>
                <a:cxn ang="0">
                  <a:pos x="4" y="22"/>
                </a:cxn>
                <a:cxn ang="0">
                  <a:pos x="2" y="24"/>
                </a:cxn>
                <a:cxn ang="0">
                  <a:pos x="0" y="22"/>
                </a:cxn>
                <a:cxn ang="0">
                  <a:pos x="0" y="3"/>
                </a:cxn>
                <a:cxn ang="0">
                  <a:pos x="2" y="0"/>
                </a:cxn>
                <a:cxn ang="0">
                  <a:pos x="4" y="3"/>
                </a:cxn>
                <a:cxn ang="0">
                  <a:pos x="4" y="22"/>
                </a:cxn>
              </a:cxnLst>
              <a:rect l="0" t="0" r="r" b="b"/>
              <a:pathLst>
                <a:path w="4" h="24">
                  <a:moveTo>
                    <a:pt x="4" y="22"/>
                  </a:move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4" y="3"/>
                  </a:cubicBezTo>
                  <a:lnTo>
                    <a:pt x="4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6" name="Freeform 113"/>
            <p:cNvSpPr>
              <a:spLocks/>
            </p:cNvSpPr>
            <p:nvPr/>
          </p:nvSpPr>
          <p:spPr bwMode="auto">
            <a:xfrm>
              <a:off x="1754900" y="1498437"/>
              <a:ext cx="38094" cy="304747"/>
            </a:xfrm>
            <a:custGeom>
              <a:avLst/>
              <a:gdLst/>
              <a:ahLst/>
              <a:cxnLst>
                <a:cxn ang="0">
                  <a:pos x="3" y="22"/>
                </a:cxn>
                <a:cxn ang="0">
                  <a:pos x="2" y="24"/>
                </a:cxn>
                <a:cxn ang="0">
                  <a:pos x="0" y="22"/>
                </a:cxn>
                <a:cxn ang="0">
                  <a:pos x="0" y="3"/>
                </a:cxn>
                <a:cxn ang="0">
                  <a:pos x="2" y="0"/>
                </a:cxn>
                <a:cxn ang="0">
                  <a:pos x="3" y="3"/>
                </a:cxn>
                <a:cxn ang="0">
                  <a:pos x="3" y="22"/>
                </a:cxn>
              </a:cxnLst>
              <a:rect l="0" t="0" r="r" b="b"/>
              <a:pathLst>
                <a:path w="3" h="24">
                  <a:moveTo>
                    <a:pt x="3" y="22"/>
                  </a:moveTo>
                  <a:cubicBezTo>
                    <a:pt x="3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3" y="2"/>
                    <a:pt x="3" y="3"/>
                  </a:cubicBezTo>
                  <a:lnTo>
                    <a:pt x="3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7" name="Freeform 114"/>
            <p:cNvSpPr>
              <a:spLocks/>
            </p:cNvSpPr>
            <p:nvPr/>
          </p:nvSpPr>
          <p:spPr bwMode="auto">
            <a:xfrm>
              <a:off x="1831088" y="1498437"/>
              <a:ext cx="53334" cy="304747"/>
            </a:xfrm>
            <a:custGeom>
              <a:avLst/>
              <a:gdLst/>
              <a:ahLst/>
              <a:cxnLst>
                <a:cxn ang="0">
                  <a:pos x="4" y="22"/>
                </a:cxn>
                <a:cxn ang="0">
                  <a:pos x="2" y="24"/>
                </a:cxn>
                <a:cxn ang="0">
                  <a:pos x="0" y="22"/>
                </a:cxn>
                <a:cxn ang="0">
                  <a:pos x="0" y="3"/>
                </a:cxn>
                <a:cxn ang="0">
                  <a:pos x="2" y="0"/>
                </a:cxn>
                <a:cxn ang="0">
                  <a:pos x="4" y="3"/>
                </a:cxn>
                <a:cxn ang="0">
                  <a:pos x="4" y="22"/>
                </a:cxn>
              </a:cxnLst>
              <a:rect l="0" t="0" r="r" b="b"/>
              <a:pathLst>
                <a:path w="4" h="24">
                  <a:moveTo>
                    <a:pt x="4" y="22"/>
                  </a:move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4" y="3"/>
                  </a:cubicBezTo>
                  <a:lnTo>
                    <a:pt x="4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8" name="Freeform 115"/>
            <p:cNvSpPr>
              <a:spLocks/>
            </p:cNvSpPr>
            <p:nvPr/>
          </p:nvSpPr>
          <p:spPr bwMode="auto">
            <a:xfrm>
              <a:off x="1922511" y="1498437"/>
              <a:ext cx="53334" cy="304747"/>
            </a:xfrm>
            <a:custGeom>
              <a:avLst/>
              <a:gdLst/>
              <a:ahLst/>
              <a:cxnLst>
                <a:cxn ang="0">
                  <a:pos x="4" y="22"/>
                </a:cxn>
                <a:cxn ang="0">
                  <a:pos x="2" y="24"/>
                </a:cxn>
                <a:cxn ang="0">
                  <a:pos x="0" y="22"/>
                </a:cxn>
                <a:cxn ang="0">
                  <a:pos x="0" y="3"/>
                </a:cxn>
                <a:cxn ang="0">
                  <a:pos x="2" y="0"/>
                </a:cxn>
                <a:cxn ang="0">
                  <a:pos x="4" y="3"/>
                </a:cxn>
                <a:cxn ang="0">
                  <a:pos x="4" y="22"/>
                </a:cxn>
              </a:cxnLst>
              <a:rect l="0" t="0" r="r" b="b"/>
              <a:pathLst>
                <a:path w="4" h="24">
                  <a:moveTo>
                    <a:pt x="4" y="22"/>
                  </a:move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4" y="3"/>
                  </a:cubicBezTo>
                  <a:lnTo>
                    <a:pt x="4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9" name="Freeform 116"/>
            <p:cNvSpPr>
              <a:spLocks/>
            </p:cNvSpPr>
            <p:nvPr/>
          </p:nvSpPr>
          <p:spPr bwMode="auto">
            <a:xfrm>
              <a:off x="2013935" y="1498437"/>
              <a:ext cx="38094" cy="304747"/>
            </a:xfrm>
            <a:custGeom>
              <a:avLst/>
              <a:gdLst/>
              <a:ahLst/>
              <a:cxnLst>
                <a:cxn ang="0">
                  <a:pos x="3" y="22"/>
                </a:cxn>
                <a:cxn ang="0">
                  <a:pos x="1" y="24"/>
                </a:cxn>
                <a:cxn ang="0">
                  <a:pos x="0" y="22"/>
                </a:cxn>
                <a:cxn ang="0">
                  <a:pos x="0" y="3"/>
                </a:cxn>
                <a:cxn ang="0">
                  <a:pos x="1" y="0"/>
                </a:cxn>
                <a:cxn ang="0">
                  <a:pos x="3" y="3"/>
                </a:cxn>
                <a:cxn ang="0">
                  <a:pos x="3" y="22"/>
                </a:cxn>
              </a:cxnLst>
              <a:rect l="0" t="0" r="r" b="b"/>
              <a:pathLst>
                <a:path w="3" h="24">
                  <a:moveTo>
                    <a:pt x="3" y="22"/>
                  </a:moveTo>
                  <a:cubicBezTo>
                    <a:pt x="3" y="23"/>
                    <a:pt x="2" y="24"/>
                    <a:pt x="1" y="24"/>
                  </a:cubicBezTo>
                  <a:cubicBezTo>
                    <a:pt x="0" y="24"/>
                    <a:pt x="0" y="23"/>
                    <a:pt x="0" y="2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3" y="2"/>
                    <a:pt x="3" y="3"/>
                  </a:cubicBezTo>
                  <a:lnTo>
                    <a:pt x="3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0" name="Freeform 117"/>
            <p:cNvSpPr>
              <a:spLocks/>
            </p:cNvSpPr>
            <p:nvPr/>
          </p:nvSpPr>
          <p:spPr bwMode="auto">
            <a:xfrm>
              <a:off x="2090123" y="1498437"/>
              <a:ext cx="53334" cy="304747"/>
            </a:xfrm>
            <a:custGeom>
              <a:avLst/>
              <a:gdLst/>
              <a:ahLst/>
              <a:cxnLst>
                <a:cxn ang="0">
                  <a:pos x="4" y="22"/>
                </a:cxn>
                <a:cxn ang="0">
                  <a:pos x="2" y="24"/>
                </a:cxn>
                <a:cxn ang="0">
                  <a:pos x="0" y="22"/>
                </a:cxn>
                <a:cxn ang="0">
                  <a:pos x="0" y="3"/>
                </a:cxn>
                <a:cxn ang="0">
                  <a:pos x="2" y="0"/>
                </a:cxn>
                <a:cxn ang="0">
                  <a:pos x="4" y="3"/>
                </a:cxn>
                <a:cxn ang="0">
                  <a:pos x="4" y="22"/>
                </a:cxn>
              </a:cxnLst>
              <a:rect l="0" t="0" r="r" b="b"/>
              <a:pathLst>
                <a:path w="4" h="24">
                  <a:moveTo>
                    <a:pt x="4" y="22"/>
                  </a:move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3" y="0"/>
                    <a:pt x="4" y="2"/>
                    <a:pt x="4" y="3"/>
                  </a:cubicBezTo>
                  <a:lnTo>
                    <a:pt x="4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61" name="TextBox 60"/>
          <p:cNvSpPr txBox="1"/>
          <p:nvPr/>
        </p:nvSpPr>
        <p:spPr>
          <a:xfrm>
            <a:off x="5405686" y="4680397"/>
            <a:ext cx="556968" cy="16927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hu-HU" sz="1100" b="1" smtClean="0">
                <a:solidFill>
                  <a:schemeClr val="tx2">
                    <a:lumMod val="60000"/>
                    <a:lumOff val="40000"/>
                  </a:schemeClr>
                </a:solidFill>
                <a:ea typeface="Arial Unicode MS" pitchFamily="34" charset="-128"/>
                <a:cs typeface="Arial Unicode MS" pitchFamily="34" charset="-128"/>
              </a:rPr>
              <a:t>NYITVA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entagon 9"/>
          <p:cNvSpPr/>
          <p:nvPr/>
        </p:nvSpPr>
        <p:spPr bwMode="auto">
          <a:xfrm>
            <a:off x="4343400" y="1744663"/>
            <a:ext cx="2447925" cy="1104900"/>
          </a:xfrm>
          <a:prstGeom prst="homePlate">
            <a:avLst>
              <a:gd name="adj" fmla="val 28719"/>
            </a:avLst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Pentagon 7"/>
          <p:cNvSpPr/>
          <p:nvPr/>
        </p:nvSpPr>
        <p:spPr bwMode="auto">
          <a:xfrm>
            <a:off x="4343400" y="4159250"/>
            <a:ext cx="4343400" cy="1019175"/>
          </a:xfrm>
          <a:prstGeom prst="homePlate">
            <a:avLst>
              <a:gd name="adj" fmla="val 28638"/>
            </a:avLst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3667" name="Rectangle 4"/>
          <p:cNvSpPr>
            <a:spLocks/>
          </p:cNvSpPr>
          <p:nvPr/>
        </p:nvSpPr>
        <p:spPr bwMode="auto">
          <a:xfrm>
            <a:off x="4506913" y="4194815"/>
            <a:ext cx="4254950" cy="1704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r>
              <a:rPr lang="hu-HU" sz="7200" b="1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  <a:sym typeface="Lucida Grande"/>
              </a:rPr>
              <a:t>48%</a:t>
            </a:r>
            <a:r>
              <a:rPr lang="hu-HU" sz="2800">
                <a:ea typeface="Arial Unicode MS" pitchFamily="34" charset="-128"/>
                <a:cs typeface="Arial Unicode MS" pitchFamily="34" charset="-128"/>
                <a:sym typeface="Lucida Grande"/>
              </a:rPr>
              <a:t/>
            </a:r>
            <a:br>
              <a:rPr lang="hu-HU" sz="2800">
                <a:ea typeface="Arial Unicode MS" pitchFamily="34" charset="-128"/>
                <a:cs typeface="Arial Unicode MS" pitchFamily="34" charset="-128"/>
                <a:sym typeface="Lucida Grande"/>
              </a:rPr>
            </a:br>
            <a:r>
              <a:rPr lang="hu-HU" sz="1800">
                <a:ea typeface="Arial Unicode MS" pitchFamily="34" charset="-128"/>
                <a:cs typeface="Arial Unicode MS" pitchFamily="34" charset="-128"/>
                <a:sym typeface="Lucida Grande"/>
              </a:rPr>
              <a:t>ezek közül az okostelefont használó vásárlók </a:t>
            </a:r>
            <a:r>
              <a:rPr lang="hu-HU" sz="1800" smtClean="0">
                <a:ea typeface="Arial Unicode MS" pitchFamily="34" charset="-128"/>
                <a:cs typeface="Arial Unicode MS" pitchFamily="34" charset="-128"/>
                <a:sym typeface="Lucida Grande"/>
              </a:rPr>
              <a:t>közül végzett </a:t>
            </a:r>
            <a:r>
              <a:rPr lang="hu-HU" sz="1800">
                <a:ea typeface="Arial Unicode MS" pitchFamily="34" charset="-128"/>
                <a:cs typeface="Arial Unicode MS" pitchFamily="34" charset="-128"/>
                <a:sym typeface="Lucida Grande"/>
              </a:rPr>
              <a:t>vásárlást </a:t>
            </a:r>
            <a:br>
              <a:rPr lang="hu-HU" sz="1800">
                <a:ea typeface="Arial Unicode MS" pitchFamily="34" charset="-128"/>
                <a:cs typeface="Arial Unicode MS" pitchFamily="34" charset="-128"/>
                <a:sym typeface="Lucida Grande"/>
              </a:rPr>
            </a:br>
            <a:r>
              <a:rPr lang="hu-HU" sz="1800">
                <a:ea typeface="Arial Unicode MS" pitchFamily="34" charset="-128"/>
                <a:cs typeface="Arial Unicode MS" pitchFamily="34" charset="-128"/>
                <a:sym typeface="Lucida Grande"/>
              </a:rPr>
              <a:t>a múlt hónapban</a:t>
            </a:r>
          </a:p>
        </p:txBody>
      </p:sp>
      <p:sp>
        <p:nvSpPr>
          <p:cNvPr id="149" name="Rectangle 4"/>
          <p:cNvSpPr>
            <a:spLocks/>
          </p:cNvSpPr>
          <p:nvPr/>
        </p:nvSpPr>
        <p:spPr bwMode="auto">
          <a:xfrm>
            <a:off x="4506913" y="1820291"/>
            <a:ext cx="3149481" cy="205567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pPr>
              <a:spcBef>
                <a:spcPts val="2400"/>
              </a:spcBef>
              <a:spcAft>
                <a:spcPts val="1200"/>
              </a:spcAft>
            </a:pPr>
            <a:r>
              <a:rPr lang="hu-HU" sz="7200" b="1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  <a:sym typeface="Lucida Grande"/>
              </a:rPr>
              <a:t>24%</a:t>
            </a:r>
            <a:r>
              <a:rPr lang="hu-HU" sz="4400">
                <a:solidFill>
                  <a:srgbClr val="D50F25"/>
                </a:solidFill>
                <a:ea typeface="Arial Unicode MS" pitchFamily="34" charset="-128"/>
                <a:cs typeface="Arial Unicode MS" pitchFamily="34" charset="-128"/>
                <a:sym typeface="Lucida Grande"/>
              </a:rPr>
              <a:t> </a:t>
            </a:r>
            <a:endParaRPr lang="hu-HU" sz="4400" smtClean="0">
              <a:solidFill>
                <a:srgbClr val="D50F25"/>
              </a:solidFill>
              <a:ea typeface="Arial Unicode MS" pitchFamily="34" charset="-128"/>
              <a:cs typeface="Arial Unicode MS" pitchFamily="34" charset="-128"/>
              <a:sym typeface="Lucida Grande"/>
            </a:endParaRPr>
          </a:p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hu-HU" sz="1800" smtClean="0">
                <a:ea typeface="Arial Unicode MS" pitchFamily="34" charset="-128"/>
                <a:cs typeface="Arial Unicode MS" pitchFamily="34" charset="-128"/>
                <a:sym typeface="Lucida Grande"/>
              </a:rPr>
              <a:t>okostelefon-használó </a:t>
            </a:r>
            <a:br>
              <a:rPr lang="hu-HU" sz="1800" smtClean="0">
                <a:ea typeface="Arial Unicode MS" pitchFamily="34" charset="-128"/>
                <a:cs typeface="Arial Unicode MS" pitchFamily="34" charset="-128"/>
                <a:sym typeface="Lucida Grande"/>
              </a:rPr>
            </a:br>
            <a:r>
              <a:rPr lang="hu-HU" sz="1800" smtClean="0">
                <a:ea typeface="Arial Unicode MS" pitchFamily="34" charset="-128"/>
                <a:cs typeface="Arial Unicode MS" pitchFamily="34" charset="-128"/>
                <a:sym typeface="Lucida Grande"/>
              </a:rPr>
              <a:t>vásárolt már terméket </a:t>
            </a:r>
            <a:br>
              <a:rPr lang="hu-HU" sz="1800" smtClean="0">
                <a:ea typeface="Arial Unicode MS" pitchFamily="34" charset="-128"/>
                <a:cs typeface="Arial Unicode MS" pitchFamily="34" charset="-128"/>
                <a:sym typeface="Lucida Grande"/>
              </a:rPr>
            </a:br>
            <a:r>
              <a:rPr lang="hu-HU" sz="1800" smtClean="0">
                <a:ea typeface="Arial Unicode MS" pitchFamily="34" charset="-128"/>
                <a:cs typeface="Arial Unicode MS" pitchFamily="34" charset="-128"/>
                <a:sym typeface="Lucida Grande"/>
              </a:rPr>
              <a:t>vagy szolgáltatást telefonjáról</a:t>
            </a:r>
            <a:endParaRPr lang="hu-HU" sz="1800">
              <a:ea typeface="Arial Unicode MS" pitchFamily="34" charset="-128"/>
              <a:cs typeface="Arial Unicode MS" pitchFamily="34" charset="-128"/>
              <a:sym typeface="Lucida Grande"/>
            </a:endParaRPr>
          </a:p>
        </p:txBody>
      </p:sp>
      <p:sp>
        <p:nvSpPr>
          <p:cNvPr id="50183" name="Freeform 7"/>
          <p:cNvSpPr>
            <a:spLocks/>
          </p:cNvSpPr>
          <p:nvPr/>
        </p:nvSpPr>
        <p:spPr bwMode="auto">
          <a:xfrm>
            <a:off x="273050" y="369888"/>
            <a:ext cx="4089400" cy="7356475"/>
          </a:xfrm>
          <a:custGeom>
            <a:avLst/>
            <a:gdLst/>
            <a:ahLst/>
            <a:cxnLst>
              <a:cxn ang="0">
                <a:pos x="426" y="1535"/>
              </a:cxn>
              <a:cxn ang="0">
                <a:pos x="40" y="1471"/>
              </a:cxn>
              <a:cxn ang="0">
                <a:pos x="1" y="1327"/>
              </a:cxn>
              <a:cxn ang="0">
                <a:pos x="1" y="1290"/>
              </a:cxn>
              <a:cxn ang="0">
                <a:pos x="1" y="248"/>
              </a:cxn>
              <a:cxn ang="0">
                <a:pos x="1" y="211"/>
              </a:cxn>
              <a:cxn ang="0">
                <a:pos x="40" y="67"/>
              </a:cxn>
              <a:cxn ang="0">
                <a:pos x="426" y="0"/>
              </a:cxn>
              <a:cxn ang="0">
                <a:pos x="813" y="67"/>
              </a:cxn>
              <a:cxn ang="0">
                <a:pos x="851" y="211"/>
              </a:cxn>
              <a:cxn ang="0">
                <a:pos x="851" y="248"/>
              </a:cxn>
              <a:cxn ang="0">
                <a:pos x="851" y="1290"/>
              </a:cxn>
              <a:cxn ang="0">
                <a:pos x="851" y="1327"/>
              </a:cxn>
              <a:cxn ang="0">
                <a:pos x="813" y="1471"/>
              </a:cxn>
              <a:cxn ang="0">
                <a:pos x="426" y="1535"/>
              </a:cxn>
            </a:cxnLst>
            <a:rect l="0" t="0" r="r" b="b"/>
            <a:pathLst>
              <a:path w="853" h="1535">
                <a:moveTo>
                  <a:pt x="426" y="1535"/>
                </a:moveTo>
                <a:cubicBezTo>
                  <a:pt x="272" y="1535"/>
                  <a:pt x="89" y="1528"/>
                  <a:pt x="40" y="1471"/>
                </a:cubicBezTo>
                <a:cubicBezTo>
                  <a:pt x="0" y="1426"/>
                  <a:pt x="0" y="1397"/>
                  <a:pt x="1" y="1327"/>
                </a:cubicBezTo>
                <a:cubicBezTo>
                  <a:pt x="1" y="1316"/>
                  <a:pt x="1" y="1303"/>
                  <a:pt x="1" y="1290"/>
                </a:cubicBezTo>
                <a:cubicBezTo>
                  <a:pt x="1" y="248"/>
                  <a:pt x="1" y="248"/>
                  <a:pt x="1" y="248"/>
                </a:cubicBezTo>
                <a:cubicBezTo>
                  <a:pt x="1" y="235"/>
                  <a:pt x="1" y="222"/>
                  <a:pt x="1" y="211"/>
                </a:cubicBezTo>
                <a:cubicBezTo>
                  <a:pt x="0" y="141"/>
                  <a:pt x="0" y="112"/>
                  <a:pt x="40" y="67"/>
                </a:cubicBezTo>
                <a:cubicBezTo>
                  <a:pt x="87" y="13"/>
                  <a:pt x="253" y="0"/>
                  <a:pt x="426" y="0"/>
                </a:cubicBezTo>
                <a:cubicBezTo>
                  <a:pt x="599" y="0"/>
                  <a:pt x="765" y="13"/>
                  <a:pt x="813" y="67"/>
                </a:cubicBezTo>
                <a:cubicBezTo>
                  <a:pt x="853" y="112"/>
                  <a:pt x="852" y="141"/>
                  <a:pt x="851" y="211"/>
                </a:cubicBezTo>
                <a:cubicBezTo>
                  <a:pt x="851" y="222"/>
                  <a:pt x="851" y="235"/>
                  <a:pt x="851" y="248"/>
                </a:cubicBezTo>
                <a:cubicBezTo>
                  <a:pt x="851" y="1290"/>
                  <a:pt x="851" y="1290"/>
                  <a:pt x="851" y="1290"/>
                </a:cubicBezTo>
                <a:cubicBezTo>
                  <a:pt x="851" y="1303"/>
                  <a:pt x="851" y="1316"/>
                  <a:pt x="851" y="1327"/>
                </a:cubicBezTo>
                <a:cubicBezTo>
                  <a:pt x="852" y="1397"/>
                  <a:pt x="853" y="1426"/>
                  <a:pt x="813" y="1471"/>
                </a:cubicBezTo>
                <a:cubicBezTo>
                  <a:pt x="763" y="1528"/>
                  <a:pt x="580" y="1535"/>
                  <a:pt x="426" y="1535"/>
                </a:cubicBezTo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3670" name="Rectangle 12"/>
          <p:cNvSpPr>
            <a:spLocks noChangeArrowheads="1"/>
          </p:cNvSpPr>
          <p:nvPr/>
        </p:nvSpPr>
        <p:spPr bwMode="auto">
          <a:xfrm>
            <a:off x="563563" y="1530350"/>
            <a:ext cx="3517900" cy="45942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3671" name="TextBox 7"/>
          <p:cNvSpPr txBox="1">
            <a:spLocks noChangeArrowheads="1"/>
          </p:cNvSpPr>
          <p:nvPr/>
        </p:nvSpPr>
        <p:spPr bwMode="auto">
          <a:xfrm>
            <a:off x="565150" y="6323652"/>
            <a:ext cx="665861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/>
          <a:p>
            <a:pPr>
              <a:lnSpc>
                <a:spcPct val="95000"/>
              </a:lnSpc>
              <a:tabLst>
                <a:tab pos="519113" algn="l"/>
              </a:tabLst>
            </a:pPr>
            <a:r>
              <a:rPr lang="hu-HU" sz="700" smtClean="0">
                <a:ea typeface="Arial Unicode MS" pitchFamily="34" charset="-128"/>
                <a:cs typeface="Arial Unicode MS" pitchFamily="34" charset="-128"/>
              </a:rPr>
              <a:t>Alapja:	Okostelefon-használók</a:t>
            </a:r>
            <a:r>
              <a:rPr lang="hu-HU" sz="700">
                <a:ea typeface="Arial Unicode MS" pitchFamily="34" charset="-128"/>
                <a:cs typeface="Arial Unicode MS" pitchFamily="34" charset="-128"/>
              </a:rPr>
              <a:t>, akik az internetet általánosságban használják okostelefonjukon, n=1000 </a:t>
            </a:r>
          </a:p>
          <a:p>
            <a:pPr defTabSz="495300">
              <a:lnSpc>
                <a:spcPct val="95000"/>
              </a:lnSpc>
              <a:tabLst>
                <a:tab pos="519113" algn="l"/>
              </a:tabLst>
            </a:pPr>
            <a:r>
              <a:rPr lang="hu-HU" sz="700">
                <a:ea typeface="Arial Unicode MS" pitchFamily="34" charset="-128"/>
                <a:cs typeface="Arial Unicode MS" pitchFamily="34" charset="-128"/>
              </a:rPr>
              <a:t>44. </a:t>
            </a:r>
            <a:r>
              <a:rPr lang="hu-HU" sz="700" smtClean="0">
                <a:ea typeface="Arial Unicode MS" pitchFamily="34" charset="-128"/>
                <a:cs typeface="Arial Unicode MS" pitchFamily="34" charset="-128"/>
              </a:rPr>
              <a:t>kérdés:	Vásárolt </a:t>
            </a:r>
            <a:r>
              <a:rPr lang="hu-HU" sz="700">
                <a:ea typeface="Arial Unicode MS" pitchFamily="34" charset="-128"/>
                <a:cs typeface="Arial Unicode MS" pitchFamily="34" charset="-128"/>
              </a:rPr>
              <a:t>már okostelefonján terméket vagy szolgáltatást az interneten keresztül? Terméken vagy </a:t>
            </a:r>
            <a:r>
              <a:rPr lang="hu-HU" sz="700" smtClean="0">
                <a:ea typeface="Arial Unicode MS" pitchFamily="34" charset="-128"/>
                <a:cs typeface="Arial Unicode MS" pitchFamily="34" charset="-128"/>
              </a:rPr>
              <a:t>szolgáltatáson</a:t>
            </a:r>
            <a:br>
              <a:rPr lang="hu-HU" sz="700" smtClean="0">
                <a:ea typeface="Arial Unicode MS" pitchFamily="34" charset="-128"/>
                <a:cs typeface="Arial Unicode MS" pitchFamily="34" charset="-128"/>
              </a:rPr>
            </a:br>
            <a:r>
              <a:rPr lang="hu-HU" sz="700" smtClean="0">
                <a:ea typeface="Arial Unicode MS" pitchFamily="34" charset="-128"/>
                <a:cs typeface="Arial Unicode MS" pitchFamily="34" charset="-128"/>
              </a:rPr>
              <a:t>	minden </a:t>
            </a:r>
            <a:r>
              <a:rPr lang="hu-HU" sz="700">
                <a:ea typeface="Arial Unicode MS" pitchFamily="34" charset="-128"/>
                <a:cs typeface="Arial Unicode MS" pitchFamily="34" charset="-128"/>
              </a:rPr>
              <a:t>megvásárolható dolgot értünk</a:t>
            </a:r>
            <a:r>
              <a:rPr lang="hu-HU" sz="700" smtClean="0">
                <a:ea typeface="Arial Unicode MS" pitchFamily="34" charset="-128"/>
                <a:cs typeface="Arial Unicode MS" pitchFamily="34" charset="-128"/>
              </a:rPr>
              <a:t>, az </a:t>
            </a:r>
            <a:r>
              <a:rPr lang="hu-HU" sz="700">
                <a:ea typeface="Arial Unicode MS" pitchFamily="34" charset="-128"/>
                <a:cs typeface="Arial Unicode MS" pitchFamily="34" charset="-128"/>
              </a:rPr>
              <a:t>alkalmazásokat kivéve.</a:t>
            </a:r>
          </a:p>
          <a:p>
            <a:pPr>
              <a:lnSpc>
                <a:spcPct val="95000"/>
              </a:lnSpc>
              <a:tabLst>
                <a:tab pos="519113" algn="l"/>
              </a:tabLst>
            </a:pPr>
            <a:r>
              <a:rPr lang="hu-HU" sz="700" smtClean="0">
                <a:ea typeface="Arial Unicode MS" pitchFamily="34" charset="-128"/>
                <a:cs typeface="Arial Unicode MS" pitchFamily="34" charset="-128"/>
              </a:rPr>
              <a:t>Alapja:	Okostelefon-használók</a:t>
            </a:r>
            <a:r>
              <a:rPr lang="hu-HU" sz="700">
                <a:ea typeface="Arial Unicode MS" pitchFamily="34" charset="-128"/>
                <a:cs typeface="Arial Unicode MS" pitchFamily="34" charset="-128"/>
              </a:rPr>
              <a:t>, akik az internetet általánosságban használják, és akik a telefonjukról interneten keresztül vásároltak, </a:t>
            </a:r>
            <a:r>
              <a:rPr lang="hu-HU" sz="700" smtClean="0">
                <a:ea typeface="Arial Unicode MS" pitchFamily="34" charset="-128"/>
                <a:cs typeface="Arial Unicode MS" pitchFamily="34" charset="-128"/>
              </a:rPr>
              <a:t>n=242</a:t>
            </a:r>
          </a:p>
          <a:p>
            <a:pPr defTabSz="495300">
              <a:lnSpc>
                <a:spcPct val="95000"/>
              </a:lnSpc>
              <a:tabLst>
                <a:tab pos="519113" algn="l"/>
              </a:tabLst>
            </a:pPr>
            <a:r>
              <a:rPr lang="hu-HU" sz="700" smtClean="0">
                <a:ea typeface="Arial Unicode MS" pitchFamily="34" charset="-128"/>
                <a:cs typeface="Arial Unicode MS" pitchFamily="34" charset="-128"/>
              </a:rPr>
              <a:t>45. kérdés:	Vásárolt valamit okostelefonja segítségével az elmúlt hónap során? </a:t>
            </a:r>
            <a:endParaRPr lang="hu-HU" sz="70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9" name="Rounded Rectangle 38"/>
          <p:cNvSpPr/>
          <p:nvPr/>
        </p:nvSpPr>
        <p:spPr bwMode="auto">
          <a:xfrm>
            <a:off x="560388" y="1509713"/>
            <a:ext cx="3524250" cy="4614862"/>
          </a:xfrm>
          <a:prstGeom prst="roundRect">
            <a:avLst>
              <a:gd name="adj" fmla="val 0"/>
            </a:avLst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13673" name="Group 116"/>
          <p:cNvGrpSpPr>
            <a:grpSpLocks/>
          </p:cNvGrpSpPr>
          <p:nvPr/>
        </p:nvGrpSpPr>
        <p:grpSpPr bwMode="auto">
          <a:xfrm>
            <a:off x="2032000" y="657225"/>
            <a:ext cx="1620838" cy="569913"/>
            <a:chOff x="2032000" y="657225"/>
            <a:chExt cx="1620837" cy="569913"/>
          </a:xfrm>
        </p:grpSpPr>
        <p:sp>
          <p:nvSpPr>
            <p:cNvPr id="50189" name="Oval 13"/>
            <p:cNvSpPr>
              <a:spLocks noChangeArrowheads="1"/>
            </p:cNvSpPr>
            <p:nvPr/>
          </p:nvSpPr>
          <p:spPr bwMode="auto">
            <a:xfrm>
              <a:off x="2032000" y="657225"/>
              <a:ext cx="566738" cy="569913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0190" name="Oval 14"/>
            <p:cNvSpPr>
              <a:spLocks noChangeArrowheads="1"/>
            </p:cNvSpPr>
            <p:nvPr/>
          </p:nvSpPr>
          <p:spPr bwMode="auto">
            <a:xfrm>
              <a:off x="2051050" y="681038"/>
              <a:ext cx="528638" cy="522287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0191" name="Freeform 15"/>
            <p:cNvSpPr>
              <a:spLocks/>
            </p:cNvSpPr>
            <p:nvPr/>
          </p:nvSpPr>
          <p:spPr bwMode="auto">
            <a:xfrm>
              <a:off x="2147888" y="1008063"/>
              <a:ext cx="133350" cy="190500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22" y="40"/>
                </a:cxn>
                <a:cxn ang="0">
                  <a:pos x="28" y="0"/>
                </a:cxn>
                <a:cxn ang="0">
                  <a:pos x="0" y="29"/>
                </a:cxn>
              </a:cxnLst>
              <a:rect l="0" t="0" r="r" b="b"/>
              <a:pathLst>
                <a:path w="28" h="40">
                  <a:moveTo>
                    <a:pt x="0" y="29"/>
                  </a:moveTo>
                  <a:cubicBezTo>
                    <a:pt x="6" y="34"/>
                    <a:pt x="14" y="38"/>
                    <a:pt x="22" y="40"/>
                  </a:cubicBezTo>
                  <a:cubicBezTo>
                    <a:pt x="28" y="0"/>
                    <a:pt x="28" y="0"/>
                    <a:pt x="28" y="0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0192" name="Freeform 16"/>
            <p:cNvSpPr>
              <a:spLocks/>
            </p:cNvSpPr>
            <p:nvPr/>
          </p:nvSpPr>
          <p:spPr bwMode="auto">
            <a:xfrm>
              <a:off x="2060575" y="973138"/>
              <a:ext cx="192088" cy="13970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1" y="29"/>
                </a:cxn>
                <a:cxn ang="0">
                  <a:pos x="40" y="0"/>
                </a:cxn>
                <a:cxn ang="0">
                  <a:pos x="0" y="7"/>
                </a:cxn>
              </a:cxnLst>
              <a:rect l="0" t="0" r="r" b="b"/>
              <a:pathLst>
                <a:path w="40" h="29">
                  <a:moveTo>
                    <a:pt x="0" y="7"/>
                  </a:moveTo>
                  <a:cubicBezTo>
                    <a:pt x="2" y="15"/>
                    <a:pt x="6" y="23"/>
                    <a:pt x="11" y="29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0193" name="Freeform 17"/>
            <p:cNvSpPr>
              <a:spLocks/>
            </p:cNvSpPr>
            <p:nvPr/>
          </p:nvSpPr>
          <p:spPr bwMode="auto">
            <a:xfrm>
              <a:off x="2368550" y="992188"/>
              <a:ext cx="171450" cy="173037"/>
            </a:xfrm>
            <a:custGeom>
              <a:avLst/>
              <a:gdLst/>
              <a:ahLst/>
              <a:cxnLst>
                <a:cxn ang="0">
                  <a:pos x="18" y="36"/>
                </a:cxn>
                <a:cxn ang="0">
                  <a:pos x="36" y="19"/>
                </a:cxn>
                <a:cxn ang="0">
                  <a:pos x="0" y="0"/>
                </a:cxn>
                <a:cxn ang="0">
                  <a:pos x="18" y="36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25" y="32"/>
                    <a:pt x="31" y="26"/>
                    <a:pt x="36" y="19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8" y="36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0194" name="Freeform 18"/>
            <p:cNvSpPr>
              <a:spLocks/>
            </p:cNvSpPr>
            <p:nvPr/>
          </p:nvSpPr>
          <p:spPr bwMode="auto">
            <a:xfrm>
              <a:off x="2387600" y="925513"/>
              <a:ext cx="192088" cy="115887"/>
            </a:xfrm>
            <a:custGeom>
              <a:avLst/>
              <a:gdLst/>
              <a:ahLst/>
              <a:cxnLst>
                <a:cxn ang="0">
                  <a:pos x="36" y="24"/>
                </a:cxn>
                <a:cxn ang="0">
                  <a:pos x="40" y="4"/>
                </a:cxn>
                <a:cxn ang="0">
                  <a:pos x="40" y="0"/>
                </a:cxn>
                <a:cxn ang="0">
                  <a:pos x="0" y="6"/>
                </a:cxn>
                <a:cxn ang="0">
                  <a:pos x="36" y="24"/>
                </a:cxn>
              </a:cxnLst>
              <a:rect l="0" t="0" r="r" b="b"/>
              <a:pathLst>
                <a:path w="40" h="24">
                  <a:moveTo>
                    <a:pt x="36" y="24"/>
                  </a:moveTo>
                  <a:cubicBezTo>
                    <a:pt x="38" y="18"/>
                    <a:pt x="40" y="11"/>
                    <a:pt x="40" y="4"/>
                  </a:cubicBezTo>
                  <a:cubicBezTo>
                    <a:pt x="40" y="2"/>
                    <a:pt x="40" y="1"/>
                    <a:pt x="40" y="0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36" y="24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0195" name="Freeform 19"/>
            <p:cNvSpPr>
              <a:spLocks/>
            </p:cNvSpPr>
            <p:nvPr/>
          </p:nvSpPr>
          <p:spPr bwMode="auto">
            <a:xfrm>
              <a:off x="2095500" y="719138"/>
              <a:ext cx="171450" cy="173037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18"/>
                </a:cxn>
                <a:cxn ang="0">
                  <a:pos x="36" y="36"/>
                </a:cxn>
                <a:cxn ang="0">
                  <a:pos x="17" y="0"/>
                </a:cxn>
              </a:cxnLst>
              <a:rect l="0" t="0" r="r" b="b"/>
              <a:pathLst>
                <a:path w="36" h="36">
                  <a:moveTo>
                    <a:pt x="17" y="0"/>
                  </a:moveTo>
                  <a:cubicBezTo>
                    <a:pt x="10" y="5"/>
                    <a:pt x="4" y="11"/>
                    <a:pt x="0" y="18"/>
                  </a:cubicBezTo>
                  <a:cubicBezTo>
                    <a:pt x="36" y="36"/>
                    <a:pt x="36" y="36"/>
                    <a:pt x="36" y="36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0196" name="Freeform 20"/>
            <p:cNvSpPr>
              <a:spLocks/>
            </p:cNvSpPr>
            <p:nvPr/>
          </p:nvSpPr>
          <p:spPr bwMode="auto">
            <a:xfrm>
              <a:off x="2349500" y="690563"/>
              <a:ext cx="133350" cy="192087"/>
            </a:xfrm>
            <a:custGeom>
              <a:avLst/>
              <a:gdLst/>
              <a:ahLst/>
              <a:cxnLst>
                <a:cxn ang="0">
                  <a:pos x="28" y="11"/>
                </a:cxn>
                <a:cxn ang="0">
                  <a:pos x="6" y="0"/>
                </a:cxn>
                <a:cxn ang="0">
                  <a:pos x="0" y="40"/>
                </a:cxn>
                <a:cxn ang="0">
                  <a:pos x="28" y="11"/>
                </a:cxn>
              </a:cxnLst>
              <a:rect l="0" t="0" r="r" b="b"/>
              <a:pathLst>
                <a:path w="28" h="40">
                  <a:moveTo>
                    <a:pt x="28" y="11"/>
                  </a:moveTo>
                  <a:cubicBezTo>
                    <a:pt x="22" y="6"/>
                    <a:pt x="14" y="2"/>
                    <a:pt x="6" y="0"/>
                  </a:cubicBezTo>
                  <a:cubicBezTo>
                    <a:pt x="0" y="40"/>
                    <a:pt x="0" y="40"/>
                    <a:pt x="0" y="40"/>
                  </a:cubicBezTo>
                  <a:lnTo>
                    <a:pt x="28" y="11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0197" name="Freeform 21"/>
            <p:cNvSpPr>
              <a:spLocks/>
            </p:cNvSpPr>
            <p:nvPr/>
          </p:nvSpPr>
          <p:spPr bwMode="auto">
            <a:xfrm>
              <a:off x="2214563" y="681038"/>
              <a:ext cx="120650" cy="192087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21" y="0"/>
                </a:cxn>
                <a:cxn ang="0">
                  <a:pos x="0" y="4"/>
                </a:cxn>
                <a:cxn ang="0">
                  <a:pos x="19" y="40"/>
                </a:cxn>
                <a:cxn ang="0">
                  <a:pos x="25" y="0"/>
                </a:cxn>
              </a:cxnLst>
              <a:rect l="0" t="0" r="r" b="b"/>
              <a:pathLst>
                <a:path w="25" h="40">
                  <a:moveTo>
                    <a:pt x="25" y="0"/>
                  </a:moveTo>
                  <a:cubicBezTo>
                    <a:pt x="24" y="0"/>
                    <a:pt x="22" y="0"/>
                    <a:pt x="21" y="0"/>
                  </a:cubicBezTo>
                  <a:cubicBezTo>
                    <a:pt x="14" y="0"/>
                    <a:pt x="7" y="1"/>
                    <a:pt x="0" y="4"/>
                  </a:cubicBezTo>
                  <a:cubicBezTo>
                    <a:pt x="19" y="40"/>
                    <a:pt x="19" y="40"/>
                    <a:pt x="19" y="4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0198" name="Freeform 22"/>
            <p:cNvSpPr>
              <a:spLocks/>
            </p:cNvSpPr>
            <p:nvPr/>
          </p:nvSpPr>
          <p:spPr bwMode="auto">
            <a:xfrm>
              <a:off x="2378075" y="773113"/>
              <a:ext cx="192088" cy="138112"/>
            </a:xfrm>
            <a:custGeom>
              <a:avLst/>
              <a:gdLst/>
              <a:ahLst/>
              <a:cxnLst>
                <a:cxn ang="0">
                  <a:pos x="40" y="23"/>
                </a:cxn>
                <a:cxn ang="0">
                  <a:pos x="29" y="0"/>
                </a:cxn>
                <a:cxn ang="0">
                  <a:pos x="0" y="29"/>
                </a:cxn>
                <a:cxn ang="0">
                  <a:pos x="40" y="23"/>
                </a:cxn>
              </a:cxnLst>
              <a:rect l="0" t="0" r="r" b="b"/>
              <a:pathLst>
                <a:path w="40" h="29">
                  <a:moveTo>
                    <a:pt x="40" y="23"/>
                  </a:moveTo>
                  <a:cubicBezTo>
                    <a:pt x="38" y="14"/>
                    <a:pt x="34" y="7"/>
                    <a:pt x="29" y="0"/>
                  </a:cubicBezTo>
                  <a:cubicBezTo>
                    <a:pt x="0" y="29"/>
                    <a:pt x="0" y="29"/>
                    <a:pt x="0" y="29"/>
                  </a:cubicBezTo>
                  <a:lnTo>
                    <a:pt x="40" y="23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0199" name="Freeform 23"/>
            <p:cNvSpPr>
              <a:spLocks/>
            </p:cNvSpPr>
            <p:nvPr/>
          </p:nvSpPr>
          <p:spPr bwMode="auto">
            <a:xfrm>
              <a:off x="2051050" y="844550"/>
              <a:ext cx="192088" cy="119063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21"/>
                </a:cxn>
                <a:cxn ang="0">
                  <a:pos x="1" y="25"/>
                </a:cxn>
                <a:cxn ang="0">
                  <a:pos x="40" y="18"/>
                </a:cxn>
                <a:cxn ang="0">
                  <a:pos x="4" y="0"/>
                </a:cxn>
              </a:cxnLst>
              <a:rect l="0" t="0" r="r" b="b"/>
              <a:pathLst>
                <a:path w="40" h="25">
                  <a:moveTo>
                    <a:pt x="4" y="0"/>
                  </a:moveTo>
                  <a:cubicBezTo>
                    <a:pt x="2" y="6"/>
                    <a:pt x="0" y="13"/>
                    <a:pt x="0" y="21"/>
                  </a:cubicBezTo>
                  <a:cubicBezTo>
                    <a:pt x="0" y="22"/>
                    <a:pt x="0" y="23"/>
                    <a:pt x="1" y="25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0200" name="Freeform 24"/>
            <p:cNvSpPr>
              <a:spLocks/>
            </p:cNvSpPr>
            <p:nvPr/>
          </p:nvSpPr>
          <p:spPr bwMode="auto">
            <a:xfrm>
              <a:off x="2295525" y="1012825"/>
              <a:ext cx="120650" cy="190500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4" y="40"/>
                </a:cxn>
                <a:cxn ang="0">
                  <a:pos x="25" y="36"/>
                </a:cxn>
                <a:cxn ang="0">
                  <a:pos x="6" y="0"/>
                </a:cxn>
                <a:cxn ang="0">
                  <a:pos x="0" y="40"/>
                </a:cxn>
              </a:cxnLst>
              <a:rect l="0" t="0" r="r" b="b"/>
              <a:pathLst>
                <a:path w="25" h="40">
                  <a:moveTo>
                    <a:pt x="0" y="40"/>
                  </a:moveTo>
                  <a:cubicBezTo>
                    <a:pt x="1" y="40"/>
                    <a:pt x="3" y="40"/>
                    <a:pt x="4" y="40"/>
                  </a:cubicBezTo>
                  <a:cubicBezTo>
                    <a:pt x="11" y="40"/>
                    <a:pt x="18" y="39"/>
                    <a:pt x="25" y="36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0" y="40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0202" name="Freeform 26"/>
            <p:cNvSpPr>
              <a:spLocks/>
            </p:cNvSpPr>
            <p:nvPr/>
          </p:nvSpPr>
          <p:spPr bwMode="auto">
            <a:xfrm>
              <a:off x="3063874" y="796925"/>
              <a:ext cx="588963" cy="61913"/>
            </a:xfrm>
            <a:custGeom>
              <a:avLst/>
              <a:gdLst/>
              <a:ahLst/>
              <a:cxnLst>
                <a:cxn ang="0">
                  <a:pos x="114" y="13"/>
                </a:cxn>
                <a:cxn ang="0">
                  <a:pos x="123" y="7"/>
                </a:cxn>
                <a:cxn ang="0">
                  <a:pos x="114" y="0"/>
                </a:cxn>
                <a:cxn ang="0">
                  <a:pos x="9" y="0"/>
                </a:cxn>
                <a:cxn ang="0">
                  <a:pos x="0" y="7"/>
                </a:cxn>
                <a:cxn ang="0">
                  <a:pos x="9" y="13"/>
                </a:cxn>
                <a:cxn ang="0">
                  <a:pos x="114" y="13"/>
                </a:cxn>
              </a:cxnLst>
              <a:rect l="0" t="0" r="r" b="b"/>
              <a:pathLst>
                <a:path w="123" h="13">
                  <a:moveTo>
                    <a:pt x="114" y="13"/>
                  </a:moveTo>
                  <a:cubicBezTo>
                    <a:pt x="119" y="13"/>
                    <a:pt x="123" y="10"/>
                    <a:pt x="123" y="7"/>
                  </a:cubicBezTo>
                  <a:cubicBezTo>
                    <a:pt x="123" y="3"/>
                    <a:pt x="119" y="0"/>
                    <a:pt x="11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10"/>
                    <a:pt x="4" y="13"/>
                    <a:pt x="9" y="13"/>
                  </a:cubicBezTo>
                  <a:lnTo>
                    <a:pt x="114" y="13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0203" name="Freeform 27"/>
            <p:cNvSpPr>
              <a:spLocks/>
            </p:cNvSpPr>
            <p:nvPr/>
          </p:nvSpPr>
          <p:spPr bwMode="auto">
            <a:xfrm>
              <a:off x="3063874" y="911225"/>
              <a:ext cx="588963" cy="61913"/>
            </a:xfrm>
            <a:custGeom>
              <a:avLst/>
              <a:gdLst/>
              <a:ahLst/>
              <a:cxnLst>
                <a:cxn ang="0">
                  <a:pos x="114" y="13"/>
                </a:cxn>
                <a:cxn ang="0">
                  <a:pos x="123" y="7"/>
                </a:cxn>
                <a:cxn ang="0">
                  <a:pos x="114" y="0"/>
                </a:cxn>
                <a:cxn ang="0">
                  <a:pos x="9" y="0"/>
                </a:cxn>
                <a:cxn ang="0">
                  <a:pos x="0" y="7"/>
                </a:cxn>
                <a:cxn ang="0">
                  <a:pos x="9" y="13"/>
                </a:cxn>
                <a:cxn ang="0">
                  <a:pos x="114" y="13"/>
                </a:cxn>
              </a:cxnLst>
              <a:rect l="0" t="0" r="r" b="b"/>
              <a:pathLst>
                <a:path w="123" h="13">
                  <a:moveTo>
                    <a:pt x="114" y="13"/>
                  </a:moveTo>
                  <a:cubicBezTo>
                    <a:pt x="119" y="13"/>
                    <a:pt x="123" y="10"/>
                    <a:pt x="123" y="7"/>
                  </a:cubicBezTo>
                  <a:cubicBezTo>
                    <a:pt x="123" y="3"/>
                    <a:pt x="119" y="0"/>
                    <a:pt x="11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10"/>
                    <a:pt x="4" y="13"/>
                    <a:pt x="9" y="13"/>
                  </a:cubicBezTo>
                  <a:lnTo>
                    <a:pt x="114" y="13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0204" name="Freeform 28"/>
            <p:cNvSpPr>
              <a:spLocks/>
            </p:cNvSpPr>
            <p:nvPr/>
          </p:nvSpPr>
          <p:spPr bwMode="auto">
            <a:xfrm>
              <a:off x="3063874" y="1027113"/>
              <a:ext cx="588963" cy="61912"/>
            </a:xfrm>
            <a:custGeom>
              <a:avLst/>
              <a:gdLst/>
              <a:ahLst/>
              <a:cxnLst>
                <a:cxn ang="0">
                  <a:pos x="114" y="13"/>
                </a:cxn>
                <a:cxn ang="0">
                  <a:pos x="123" y="7"/>
                </a:cxn>
                <a:cxn ang="0">
                  <a:pos x="114" y="0"/>
                </a:cxn>
                <a:cxn ang="0">
                  <a:pos x="9" y="0"/>
                </a:cxn>
                <a:cxn ang="0">
                  <a:pos x="0" y="7"/>
                </a:cxn>
                <a:cxn ang="0">
                  <a:pos x="9" y="13"/>
                </a:cxn>
                <a:cxn ang="0">
                  <a:pos x="114" y="13"/>
                </a:cxn>
              </a:cxnLst>
              <a:rect l="0" t="0" r="r" b="b"/>
              <a:pathLst>
                <a:path w="123" h="13">
                  <a:moveTo>
                    <a:pt x="114" y="13"/>
                  </a:moveTo>
                  <a:cubicBezTo>
                    <a:pt x="119" y="13"/>
                    <a:pt x="123" y="10"/>
                    <a:pt x="123" y="7"/>
                  </a:cubicBezTo>
                  <a:cubicBezTo>
                    <a:pt x="123" y="3"/>
                    <a:pt x="119" y="0"/>
                    <a:pt x="11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10"/>
                    <a:pt x="4" y="13"/>
                    <a:pt x="9" y="13"/>
                  </a:cubicBezTo>
                  <a:lnTo>
                    <a:pt x="114" y="13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13674" name="Slide Number Placeholder 44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46267BC1-ACA7-4A9B-9712-9BC63F12FDFD}" type="slidenum">
              <a:rPr lang="hu-HU"/>
              <a:pPr/>
              <a:t>16</a:t>
            </a:fld>
            <a:endParaRPr lang="hu-HU"/>
          </a:p>
        </p:txBody>
      </p:sp>
      <p:grpSp>
        <p:nvGrpSpPr>
          <p:cNvPr id="113675" name="Group 115"/>
          <p:cNvGrpSpPr>
            <a:grpSpLocks/>
          </p:cNvGrpSpPr>
          <p:nvPr/>
        </p:nvGrpSpPr>
        <p:grpSpPr bwMode="auto">
          <a:xfrm>
            <a:off x="1231900" y="2774950"/>
            <a:ext cx="2425700" cy="2341563"/>
            <a:chOff x="1232490" y="2775008"/>
            <a:chExt cx="2425406" cy="2342181"/>
          </a:xfrm>
        </p:grpSpPr>
        <p:sp>
          <p:nvSpPr>
            <p:cNvPr id="113677" name="Freeform 34"/>
            <p:cNvSpPr>
              <a:spLocks noEditPoints="1"/>
            </p:cNvSpPr>
            <p:nvPr/>
          </p:nvSpPr>
          <p:spPr bwMode="auto">
            <a:xfrm>
              <a:off x="1270296" y="2775008"/>
              <a:ext cx="2387600" cy="1646180"/>
            </a:xfrm>
            <a:custGeom>
              <a:avLst/>
              <a:gdLst>
                <a:gd name="T0" fmla="*/ 792 w 792"/>
                <a:gd name="T1" fmla="*/ 24 h 546"/>
                <a:gd name="T2" fmla="*/ 767 w 792"/>
                <a:gd name="T3" fmla="*/ 49 h 546"/>
                <a:gd name="T4" fmla="*/ 683 w 792"/>
                <a:gd name="T5" fmla="*/ 49 h 546"/>
                <a:gd name="T6" fmla="*/ 499 w 792"/>
                <a:gd name="T7" fmla="*/ 380 h 546"/>
                <a:gd name="T8" fmla="*/ 479 w 792"/>
                <a:gd name="T9" fmla="*/ 390 h 546"/>
                <a:gd name="T10" fmla="*/ 152 w 792"/>
                <a:gd name="T11" fmla="*/ 390 h 546"/>
                <a:gd name="T12" fmla="*/ 127 w 792"/>
                <a:gd name="T13" fmla="*/ 366 h 546"/>
                <a:gd name="T14" fmla="*/ 152 w 792"/>
                <a:gd name="T15" fmla="*/ 341 h 546"/>
                <a:gd name="T16" fmla="*/ 466 w 792"/>
                <a:gd name="T17" fmla="*/ 341 h 546"/>
                <a:gd name="T18" fmla="*/ 650 w 792"/>
                <a:gd name="T19" fmla="*/ 10 h 546"/>
                <a:gd name="T20" fmla="*/ 670 w 792"/>
                <a:gd name="T21" fmla="*/ 0 h 546"/>
                <a:gd name="T22" fmla="*/ 767 w 792"/>
                <a:gd name="T23" fmla="*/ 0 h 546"/>
                <a:gd name="T24" fmla="*/ 792 w 792"/>
                <a:gd name="T25" fmla="*/ 24 h 546"/>
                <a:gd name="T26" fmla="*/ 314 w 792"/>
                <a:gd name="T27" fmla="*/ 487 h 546"/>
                <a:gd name="T28" fmla="*/ 255 w 792"/>
                <a:gd name="T29" fmla="*/ 546 h 546"/>
                <a:gd name="T30" fmla="*/ 196 w 792"/>
                <a:gd name="T31" fmla="*/ 487 h 546"/>
                <a:gd name="T32" fmla="*/ 255 w 792"/>
                <a:gd name="T33" fmla="*/ 428 h 546"/>
                <a:gd name="T34" fmla="*/ 314 w 792"/>
                <a:gd name="T35" fmla="*/ 487 h 546"/>
                <a:gd name="T36" fmla="*/ 495 w 792"/>
                <a:gd name="T37" fmla="*/ 487 h 546"/>
                <a:gd name="T38" fmla="*/ 436 w 792"/>
                <a:gd name="T39" fmla="*/ 546 h 546"/>
                <a:gd name="T40" fmla="*/ 377 w 792"/>
                <a:gd name="T41" fmla="*/ 487 h 546"/>
                <a:gd name="T42" fmla="*/ 436 w 792"/>
                <a:gd name="T43" fmla="*/ 428 h 546"/>
                <a:gd name="T44" fmla="*/ 495 w 792"/>
                <a:gd name="T45" fmla="*/ 487 h 546"/>
                <a:gd name="T46" fmla="*/ 458 w 792"/>
                <a:gd name="T47" fmla="*/ 275 h 546"/>
                <a:gd name="T48" fmla="*/ 434 w 792"/>
                <a:gd name="T49" fmla="*/ 299 h 546"/>
                <a:gd name="T50" fmla="*/ 122 w 792"/>
                <a:gd name="T51" fmla="*/ 299 h 546"/>
                <a:gd name="T52" fmla="*/ 98 w 792"/>
                <a:gd name="T53" fmla="*/ 275 h 546"/>
                <a:gd name="T54" fmla="*/ 122 w 792"/>
                <a:gd name="T55" fmla="*/ 251 h 546"/>
                <a:gd name="T56" fmla="*/ 434 w 792"/>
                <a:gd name="T57" fmla="*/ 251 h 546"/>
                <a:gd name="T58" fmla="*/ 458 w 792"/>
                <a:gd name="T59" fmla="*/ 275 h 546"/>
                <a:gd name="T60" fmla="*/ 505 w 792"/>
                <a:gd name="T61" fmla="*/ 191 h 546"/>
                <a:gd name="T62" fmla="*/ 480 w 792"/>
                <a:gd name="T63" fmla="*/ 216 h 546"/>
                <a:gd name="T64" fmla="*/ 70 w 792"/>
                <a:gd name="T65" fmla="*/ 216 h 546"/>
                <a:gd name="T66" fmla="*/ 46 w 792"/>
                <a:gd name="T67" fmla="*/ 191 h 546"/>
                <a:gd name="T68" fmla="*/ 70 w 792"/>
                <a:gd name="T69" fmla="*/ 167 h 546"/>
                <a:gd name="T70" fmla="*/ 480 w 792"/>
                <a:gd name="T71" fmla="*/ 167 h 546"/>
                <a:gd name="T72" fmla="*/ 505 w 792"/>
                <a:gd name="T73" fmla="*/ 191 h 546"/>
                <a:gd name="T74" fmla="*/ 550 w 792"/>
                <a:gd name="T75" fmla="*/ 109 h 546"/>
                <a:gd name="T76" fmla="*/ 525 w 792"/>
                <a:gd name="T77" fmla="*/ 133 h 546"/>
                <a:gd name="T78" fmla="*/ 25 w 792"/>
                <a:gd name="T79" fmla="*/ 133 h 546"/>
                <a:gd name="T80" fmla="*/ 0 w 792"/>
                <a:gd name="T81" fmla="*/ 109 h 546"/>
                <a:gd name="T82" fmla="*/ 25 w 792"/>
                <a:gd name="T83" fmla="*/ 85 h 546"/>
                <a:gd name="T84" fmla="*/ 525 w 792"/>
                <a:gd name="T85" fmla="*/ 85 h 546"/>
                <a:gd name="T86" fmla="*/ 550 w 792"/>
                <a:gd name="T87" fmla="*/ 109 h 5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92"/>
                <a:gd name="T133" fmla="*/ 0 h 546"/>
                <a:gd name="T134" fmla="*/ 792 w 792"/>
                <a:gd name="T135" fmla="*/ 546 h 5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92" h="546">
                  <a:moveTo>
                    <a:pt x="792" y="24"/>
                  </a:moveTo>
                  <a:cubicBezTo>
                    <a:pt x="792" y="38"/>
                    <a:pt x="781" y="49"/>
                    <a:pt x="767" y="49"/>
                  </a:cubicBezTo>
                  <a:cubicBezTo>
                    <a:pt x="683" y="49"/>
                    <a:pt x="683" y="49"/>
                    <a:pt x="683" y="49"/>
                  </a:cubicBezTo>
                  <a:cubicBezTo>
                    <a:pt x="499" y="380"/>
                    <a:pt x="499" y="380"/>
                    <a:pt x="499" y="380"/>
                  </a:cubicBezTo>
                  <a:cubicBezTo>
                    <a:pt x="495" y="386"/>
                    <a:pt x="487" y="390"/>
                    <a:pt x="479" y="390"/>
                  </a:cubicBezTo>
                  <a:cubicBezTo>
                    <a:pt x="152" y="390"/>
                    <a:pt x="152" y="390"/>
                    <a:pt x="152" y="390"/>
                  </a:cubicBezTo>
                  <a:cubicBezTo>
                    <a:pt x="138" y="390"/>
                    <a:pt x="127" y="379"/>
                    <a:pt x="127" y="366"/>
                  </a:cubicBezTo>
                  <a:cubicBezTo>
                    <a:pt x="127" y="352"/>
                    <a:pt x="138" y="341"/>
                    <a:pt x="152" y="341"/>
                  </a:cubicBezTo>
                  <a:cubicBezTo>
                    <a:pt x="466" y="341"/>
                    <a:pt x="466" y="341"/>
                    <a:pt x="466" y="341"/>
                  </a:cubicBezTo>
                  <a:cubicBezTo>
                    <a:pt x="650" y="10"/>
                    <a:pt x="650" y="10"/>
                    <a:pt x="650" y="10"/>
                  </a:cubicBezTo>
                  <a:cubicBezTo>
                    <a:pt x="654" y="4"/>
                    <a:pt x="662" y="0"/>
                    <a:pt x="670" y="0"/>
                  </a:cubicBezTo>
                  <a:cubicBezTo>
                    <a:pt x="670" y="0"/>
                    <a:pt x="767" y="0"/>
                    <a:pt x="767" y="0"/>
                  </a:cubicBezTo>
                  <a:cubicBezTo>
                    <a:pt x="781" y="0"/>
                    <a:pt x="792" y="11"/>
                    <a:pt x="792" y="24"/>
                  </a:cubicBezTo>
                  <a:close/>
                  <a:moveTo>
                    <a:pt x="314" y="487"/>
                  </a:moveTo>
                  <a:cubicBezTo>
                    <a:pt x="314" y="520"/>
                    <a:pt x="287" y="546"/>
                    <a:pt x="255" y="546"/>
                  </a:cubicBezTo>
                  <a:cubicBezTo>
                    <a:pt x="222" y="546"/>
                    <a:pt x="196" y="520"/>
                    <a:pt x="196" y="487"/>
                  </a:cubicBezTo>
                  <a:cubicBezTo>
                    <a:pt x="196" y="454"/>
                    <a:pt x="222" y="428"/>
                    <a:pt x="255" y="428"/>
                  </a:cubicBezTo>
                  <a:cubicBezTo>
                    <a:pt x="287" y="428"/>
                    <a:pt x="314" y="454"/>
                    <a:pt x="314" y="487"/>
                  </a:cubicBezTo>
                  <a:close/>
                  <a:moveTo>
                    <a:pt x="495" y="487"/>
                  </a:moveTo>
                  <a:cubicBezTo>
                    <a:pt x="495" y="520"/>
                    <a:pt x="469" y="546"/>
                    <a:pt x="436" y="546"/>
                  </a:cubicBezTo>
                  <a:cubicBezTo>
                    <a:pt x="403" y="546"/>
                    <a:pt x="377" y="520"/>
                    <a:pt x="377" y="487"/>
                  </a:cubicBezTo>
                  <a:cubicBezTo>
                    <a:pt x="377" y="454"/>
                    <a:pt x="403" y="428"/>
                    <a:pt x="436" y="428"/>
                  </a:cubicBezTo>
                  <a:cubicBezTo>
                    <a:pt x="469" y="428"/>
                    <a:pt x="495" y="454"/>
                    <a:pt x="495" y="487"/>
                  </a:cubicBezTo>
                  <a:close/>
                  <a:moveTo>
                    <a:pt x="458" y="275"/>
                  </a:moveTo>
                  <a:cubicBezTo>
                    <a:pt x="458" y="288"/>
                    <a:pt x="447" y="299"/>
                    <a:pt x="434" y="299"/>
                  </a:cubicBezTo>
                  <a:cubicBezTo>
                    <a:pt x="122" y="299"/>
                    <a:pt x="122" y="299"/>
                    <a:pt x="122" y="299"/>
                  </a:cubicBezTo>
                  <a:cubicBezTo>
                    <a:pt x="108" y="299"/>
                    <a:pt x="98" y="288"/>
                    <a:pt x="98" y="275"/>
                  </a:cubicBezTo>
                  <a:cubicBezTo>
                    <a:pt x="98" y="261"/>
                    <a:pt x="108" y="251"/>
                    <a:pt x="122" y="251"/>
                  </a:cubicBezTo>
                  <a:cubicBezTo>
                    <a:pt x="434" y="251"/>
                    <a:pt x="434" y="251"/>
                    <a:pt x="434" y="251"/>
                  </a:cubicBezTo>
                  <a:cubicBezTo>
                    <a:pt x="447" y="251"/>
                    <a:pt x="458" y="261"/>
                    <a:pt x="458" y="275"/>
                  </a:cubicBezTo>
                  <a:close/>
                  <a:moveTo>
                    <a:pt x="505" y="191"/>
                  </a:moveTo>
                  <a:cubicBezTo>
                    <a:pt x="505" y="205"/>
                    <a:pt x="494" y="216"/>
                    <a:pt x="480" y="216"/>
                  </a:cubicBezTo>
                  <a:cubicBezTo>
                    <a:pt x="70" y="216"/>
                    <a:pt x="70" y="216"/>
                    <a:pt x="70" y="216"/>
                  </a:cubicBezTo>
                  <a:cubicBezTo>
                    <a:pt x="57" y="216"/>
                    <a:pt x="46" y="205"/>
                    <a:pt x="46" y="191"/>
                  </a:cubicBezTo>
                  <a:cubicBezTo>
                    <a:pt x="46" y="178"/>
                    <a:pt x="57" y="167"/>
                    <a:pt x="70" y="167"/>
                  </a:cubicBezTo>
                  <a:cubicBezTo>
                    <a:pt x="480" y="167"/>
                    <a:pt x="480" y="167"/>
                    <a:pt x="480" y="167"/>
                  </a:cubicBezTo>
                  <a:cubicBezTo>
                    <a:pt x="494" y="167"/>
                    <a:pt x="505" y="178"/>
                    <a:pt x="505" y="191"/>
                  </a:cubicBezTo>
                  <a:close/>
                  <a:moveTo>
                    <a:pt x="550" y="109"/>
                  </a:moveTo>
                  <a:cubicBezTo>
                    <a:pt x="550" y="123"/>
                    <a:pt x="539" y="133"/>
                    <a:pt x="525" y="133"/>
                  </a:cubicBezTo>
                  <a:cubicBezTo>
                    <a:pt x="25" y="133"/>
                    <a:pt x="25" y="133"/>
                    <a:pt x="25" y="133"/>
                  </a:cubicBezTo>
                  <a:cubicBezTo>
                    <a:pt x="11" y="133"/>
                    <a:pt x="0" y="123"/>
                    <a:pt x="0" y="109"/>
                  </a:cubicBezTo>
                  <a:cubicBezTo>
                    <a:pt x="0" y="96"/>
                    <a:pt x="11" y="85"/>
                    <a:pt x="25" y="85"/>
                  </a:cubicBezTo>
                  <a:cubicBezTo>
                    <a:pt x="525" y="85"/>
                    <a:pt x="525" y="85"/>
                    <a:pt x="525" y="85"/>
                  </a:cubicBezTo>
                  <a:cubicBezTo>
                    <a:pt x="539" y="85"/>
                    <a:pt x="550" y="96"/>
                    <a:pt x="550" y="10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7" name="Rounded Rectangle 76"/>
            <p:cNvSpPr/>
            <p:nvPr/>
          </p:nvSpPr>
          <p:spPr bwMode="auto">
            <a:xfrm>
              <a:off x="1232490" y="4731324"/>
              <a:ext cx="2234929" cy="385865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13676" name="Title 2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476250"/>
          </a:xfrm>
        </p:spPr>
        <p:txBody>
          <a:bodyPr>
            <a:noAutofit/>
          </a:bodyPr>
          <a:lstStyle/>
          <a:p>
            <a:r>
              <a:rPr lang="hu-HU" smtClean="0"/>
              <a:t>Az okostelefonok egyre jelentősebb vásárlási helyszínt képviselnek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577076" y="4738623"/>
            <a:ext cx="1559824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hu-HU" sz="1200" b="1" smtClea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A VÁSÁRLÁSHOZ </a:t>
            </a:r>
            <a:br>
              <a:rPr lang="hu-HU" sz="1200" b="1" smtClea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1200" b="1" smtClea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KATTINTSON IDE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76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347788"/>
            <a:ext cx="9144000" cy="496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7762" name="Title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659505" cy="476250"/>
          </a:xfrm>
        </p:spPr>
        <p:txBody>
          <a:bodyPr>
            <a:noAutofit/>
          </a:bodyPr>
          <a:lstStyle/>
          <a:p>
            <a:r>
              <a:rPr lang="hu-HU" smtClean="0"/>
              <a:t>A mobilos kereskedelemnek vannak még korlátai</a:t>
            </a:r>
          </a:p>
        </p:txBody>
      </p:sp>
      <p:sp>
        <p:nvSpPr>
          <p:cNvPr id="117763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D29062BF-7E5A-4D56-9597-088CD982E95C}" type="slidenum">
              <a:rPr lang="hu-HU"/>
              <a:pPr/>
              <a:t>17</a:t>
            </a:fld>
            <a:endParaRPr lang="hu-HU"/>
          </a:p>
        </p:txBody>
      </p:sp>
      <p:pic>
        <p:nvPicPr>
          <p:cNvPr id="117764" name="Picture 5"/>
          <p:cNvPicPr>
            <a:picLocks noChangeAspect="1" noChangeArrowheads="1"/>
          </p:cNvPicPr>
          <p:nvPr/>
        </p:nvPicPr>
        <p:blipFill>
          <a:blip r:embed="rId4" cstate="print">
            <a:lum bright="-10000"/>
          </a:blip>
          <a:srcRect/>
          <a:stretch>
            <a:fillRect/>
          </a:stretch>
        </p:blipFill>
        <p:spPr bwMode="auto">
          <a:xfrm>
            <a:off x="-1714500" y="1122363"/>
            <a:ext cx="3429000" cy="662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7766" name="TextBox 7"/>
          <p:cNvSpPr txBox="1">
            <a:spLocks noChangeArrowheads="1"/>
          </p:cNvSpPr>
          <p:nvPr/>
        </p:nvSpPr>
        <p:spPr bwMode="auto">
          <a:xfrm>
            <a:off x="490220" y="6370320"/>
            <a:ext cx="62039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5000"/>
              </a:lnSpc>
              <a:tabLst>
                <a:tab pos="573088" algn="l"/>
              </a:tabLst>
            </a:pP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Alapja: 	Okostelefon-használók, akik az internetet általánosságban használják, és akik NEM vásároltak </a:t>
            </a: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	a telefonjukról 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interneten keresztül, </a:t>
            </a: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n=758 </a:t>
            </a:r>
          </a:p>
          <a:p>
            <a:pPr defTabSz="525463">
              <a:lnSpc>
                <a:spcPct val="95000"/>
              </a:lnSpc>
              <a:tabLst>
                <a:tab pos="573088" algn="l"/>
              </a:tabLst>
            </a:pP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46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. </a:t>
            </a: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kérdés:	Miért 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nem vásárolt még okostelefonja segítségével? – a 7 legnépszerűbb válasz</a:t>
            </a:r>
          </a:p>
        </p:txBody>
      </p:sp>
      <p:graphicFrame>
        <p:nvGraphicFramePr>
          <p:cNvPr id="12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1178821"/>
              </p:ext>
            </p:extLst>
          </p:nvPr>
        </p:nvGraphicFramePr>
        <p:xfrm>
          <a:off x="2228850" y="1747837"/>
          <a:ext cx="6915149" cy="4364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13" name="Group 12"/>
          <p:cNvGrpSpPr/>
          <p:nvPr/>
        </p:nvGrpSpPr>
        <p:grpSpPr>
          <a:xfrm>
            <a:off x="-621102" y="3440028"/>
            <a:ext cx="2743200" cy="2938025"/>
            <a:chOff x="-7078183" y="2950250"/>
            <a:chExt cx="3474350" cy="3721102"/>
          </a:xfrm>
        </p:grpSpPr>
        <p:pic>
          <p:nvPicPr>
            <p:cNvPr id="14" name="Picture 4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 rot="4903831">
              <a:off x="-6459384" y="4588937"/>
              <a:ext cx="1463616" cy="27012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5" name="Picture 4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-5505658" y="2950250"/>
              <a:ext cx="1901825" cy="35099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</p:pic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209" name="Picture 2" descr="Z:\GGL\22944_smartphone_country_report_dai\Source\JPG\DIVIDERS\YELLOW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4210" name="Subtitle 1"/>
          <p:cNvSpPr>
            <a:spLocks noGrp="1"/>
          </p:cNvSpPr>
          <p:nvPr>
            <p:ph type="subTitle" idx="1"/>
          </p:nvPr>
        </p:nvSpPr>
        <p:spPr>
          <a:xfrm>
            <a:off x="565150" y="3954463"/>
            <a:ext cx="3494088" cy="352425"/>
          </a:xfrm>
          <a:ln/>
        </p:spPr>
        <p:txBody>
          <a:bodyPr>
            <a:noAutofit/>
          </a:bodyPr>
          <a:lstStyle/>
          <a:p>
            <a:pPr marL="0" indent="0"/>
            <a:r>
              <a:rPr lang="hu-HU" smtClean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565150" y="2614259"/>
            <a:ext cx="3494088" cy="2068513"/>
          </a:xfrm>
        </p:spPr>
        <p:txBody>
          <a:bodyPr>
            <a:noAutofit/>
          </a:bodyPr>
          <a:lstStyle/>
          <a:p>
            <a:r>
              <a:rPr lang="hu-HU" dirty="0" smtClean="0">
                <a:solidFill>
                  <a:srgbClr val="3F3F3F"/>
                </a:solidFill>
              </a:rPr>
              <a:t>A FELHASZNÁLÓK </a:t>
            </a:r>
            <a:r>
              <a:rPr lang="hu-HU" dirty="0" smtClean="0"/>
              <a:t/>
            </a:r>
            <a:br>
              <a:rPr lang="hu-HU" dirty="0" smtClean="0"/>
            </a:br>
            <a:r>
              <a:rPr lang="hu-HU" dirty="0" smtClean="0">
                <a:solidFill>
                  <a:srgbClr val="3F3F3F"/>
                </a:solidFill>
              </a:rPr>
              <a:t>OKOSTELEFONOK SEGÍTSÉGÉVEL </a:t>
            </a:r>
            <a:r>
              <a:rPr lang="hu-HU" dirty="0" smtClean="0"/>
              <a:t/>
            </a:r>
            <a:br>
              <a:rPr lang="hu-HU" dirty="0" smtClean="0"/>
            </a:br>
            <a:r>
              <a:rPr lang="hu-HU" sz="2000" b="1" dirty="0" smtClean="0">
                <a:solidFill>
                  <a:schemeClr val="accent2"/>
                </a:solidFill>
              </a:rPr>
              <a:t>TÁJÉKOZÓDNAK</a:t>
            </a:r>
            <a:r>
              <a:rPr lang="hu-HU" sz="2000" b="1" dirty="0" smtClean="0"/>
              <a:t/>
            </a:r>
            <a:br>
              <a:rPr lang="hu-HU" sz="2000" b="1" dirty="0" smtClean="0"/>
            </a:br>
            <a:r>
              <a:rPr lang="hu-HU" sz="2000" b="1" dirty="0" smtClean="0">
                <a:solidFill>
                  <a:schemeClr val="accent2"/>
                </a:solidFill>
              </a:rPr>
              <a:t>AZ ŐKET KÖRÜLVEVŐ VILÁGBAN</a:t>
            </a:r>
          </a:p>
        </p:txBody>
      </p:sp>
      <p:sp>
        <p:nvSpPr>
          <p:cNvPr id="94212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E824DF84-3A50-4512-B56A-2338E501B38F}" type="slidenum">
              <a:rPr lang="hu-HU"/>
              <a:pPr/>
              <a:t>18</a:t>
            </a:fld>
            <a:endParaRPr lang="hu-HU" dirty="0"/>
          </a:p>
        </p:txBody>
      </p:sp>
      <p:grpSp>
        <p:nvGrpSpPr>
          <p:cNvPr id="8" name="Group 38"/>
          <p:cNvGrpSpPr/>
          <p:nvPr/>
        </p:nvGrpSpPr>
        <p:grpSpPr>
          <a:xfrm>
            <a:off x="6289367" y="3118246"/>
            <a:ext cx="931240" cy="937769"/>
            <a:chOff x="-1577976" y="2865438"/>
            <a:chExt cx="1131888" cy="1139824"/>
          </a:xfrm>
          <a:solidFill>
            <a:schemeClr val="bg1"/>
          </a:solidFill>
        </p:grpSpPr>
        <p:sp>
          <p:nvSpPr>
            <p:cNvPr id="5143" name="Freeform 23"/>
            <p:cNvSpPr>
              <a:spLocks/>
            </p:cNvSpPr>
            <p:nvPr/>
          </p:nvSpPr>
          <p:spPr bwMode="auto">
            <a:xfrm>
              <a:off x="-1020763" y="2865438"/>
              <a:ext cx="52388" cy="682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" y="0"/>
                </a:cxn>
                <a:cxn ang="0">
                  <a:pos x="14" y="16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9" y="25"/>
                </a:cxn>
                <a:cxn ang="0">
                  <a:pos x="14" y="25"/>
                </a:cxn>
                <a:cxn ang="0">
                  <a:pos x="5" y="8"/>
                </a:cxn>
                <a:cxn ang="0">
                  <a:pos x="5" y="25"/>
                </a:cxn>
                <a:cxn ang="0">
                  <a:pos x="0" y="25"/>
                </a:cxn>
                <a:cxn ang="0">
                  <a:pos x="0" y="0"/>
                </a:cxn>
              </a:cxnLst>
              <a:rect l="0" t="0" r="r" b="b"/>
              <a:pathLst>
                <a:path w="19" h="25">
                  <a:moveTo>
                    <a:pt x="0" y="0"/>
                  </a:moveTo>
                  <a:cubicBezTo>
                    <a:pt x="2" y="0"/>
                    <a:pt x="4" y="0"/>
                    <a:pt x="6" y="0"/>
                  </a:cubicBezTo>
                  <a:cubicBezTo>
                    <a:pt x="9" y="6"/>
                    <a:pt x="12" y="10"/>
                    <a:pt x="14" y="16"/>
                  </a:cubicBezTo>
                  <a:cubicBezTo>
                    <a:pt x="15" y="12"/>
                    <a:pt x="14" y="6"/>
                    <a:pt x="14" y="0"/>
                  </a:cubicBezTo>
                  <a:cubicBezTo>
                    <a:pt x="16" y="0"/>
                    <a:pt x="18" y="0"/>
                    <a:pt x="19" y="0"/>
                  </a:cubicBezTo>
                  <a:cubicBezTo>
                    <a:pt x="19" y="9"/>
                    <a:pt x="19" y="17"/>
                    <a:pt x="19" y="25"/>
                  </a:cubicBezTo>
                  <a:cubicBezTo>
                    <a:pt x="17" y="25"/>
                    <a:pt x="16" y="25"/>
                    <a:pt x="14" y="25"/>
                  </a:cubicBezTo>
                  <a:cubicBezTo>
                    <a:pt x="11" y="19"/>
                    <a:pt x="7" y="14"/>
                    <a:pt x="5" y="8"/>
                  </a:cubicBezTo>
                  <a:cubicBezTo>
                    <a:pt x="4" y="12"/>
                    <a:pt x="5" y="19"/>
                    <a:pt x="5" y="25"/>
                  </a:cubicBezTo>
                  <a:cubicBezTo>
                    <a:pt x="3" y="25"/>
                    <a:pt x="1" y="25"/>
                    <a:pt x="0" y="25"/>
                  </a:cubicBezTo>
                  <a:cubicBezTo>
                    <a:pt x="0" y="17"/>
                    <a:pt x="0" y="9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44" name="Freeform 24"/>
            <p:cNvSpPr>
              <a:spLocks noEditPoints="1"/>
            </p:cNvSpPr>
            <p:nvPr/>
          </p:nvSpPr>
          <p:spPr bwMode="auto">
            <a:xfrm>
              <a:off x="-1481138" y="2944813"/>
              <a:ext cx="973138" cy="966787"/>
            </a:xfrm>
            <a:custGeom>
              <a:avLst/>
              <a:gdLst/>
              <a:ahLst/>
              <a:cxnLst>
                <a:cxn ang="0">
                  <a:pos x="184" y="26"/>
                </a:cxn>
                <a:cxn ang="0">
                  <a:pos x="353" y="174"/>
                </a:cxn>
                <a:cxn ang="0">
                  <a:pos x="184" y="323"/>
                </a:cxn>
                <a:cxn ang="0">
                  <a:pos x="170" y="324"/>
                </a:cxn>
                <a:cxn ang="0">
                  <a:pos x="28" y="182"/>
                </a:cxn>
                <a:cxn ang="0">
                  <a:pos x="28" y="168"/>
                </a:cxn>
                <a:cxn ang="0">
                  <a:pos x="176" y="0"/>
                </a:cxn>
                <a:cxn ang="0">
                  <a:pos x="176" y="172"/>
                </a:cxn>
                <a:cxn ang="0">
                  <a:pos x="146" y="143"/>
                </a:cxn>
                <a:cxn ang="0">
                  <a:pos x="86" y="153"/>
                </a:cxn>
                <a:cxn ang="0">
                  <a:pos x="90" y="87"/>
                </a:cxn>
                <a:cxn ang="0">
                  <a:pos x="123" y="98"/>
                </a:cxn>
                <a:cxn ang="0">
                  <a:pos x="154" y="85"/>
                </a:cxn>
                <a:cxn ang="0">
                  <a:pos x="163" y="42"/>
                </a:cxn>
                <a:cxn ang="0">
                  <a:pos x="198" y="86"/>
                </a:cxn>
                <a:cxn ang="0">
                  <a:pos x="229" y="99"/>
                </a:cxn>
                <a:cxn ang="0">
                  <a:pos x="263" y="88"/>
                </a:cxn>
                <a:cxn ang="0">
                  <a:pos x="253" y="123"/>
                </a:cxn>
                <a:cxn ang="0">
                  <a:pos x="265" y="153"/>
                </a:cxn>
                <a:cxn ang="0">
                  <a:pos x="188" y="42"/>
                </a:cxn>
                <a:cxn ang="0">
                  <a:pos x="206" y="112"/>
                </a:cxn>
                <a:cxn ang="0">
                  <a:pos x="239" y="145"/>
                </a:cxn>
                <a:cxn ang="0">
                  <a:pos x="254" y="96"/>
                </a:cxn>
                <a:cxn ang="0">
                  <a:pos x="114" y="146"/>
                </a:cxn>
                <a:cxn ang="0">
                  <a:pos x="147" y="112"/>
                </a:cxn>
                <a:cxn ang="0">
                  <a:pos x="114" y="146"/>
                </a:cxn>
                <a:cxn ang="0">
                  <a:pos x="149" y="107"/>
                </a:cxn>
                <a:cxn ang="0">
                  <a:pos x="137" y="103"/>
                </a:cxn>
                <a:cxn ang="0">
                  <a:pos x="215" y="103"/>
                </a:cxn>
                <a:cxn ang="0">
                  <a:pos x="204" y="107"/>
                </a:cxn>
                <a:cxn ang="0">
                  <a:pos x="109" y="147"/>
                </a:cxn>
                <a:cxn ang="0">
                  <a:pos x="98" y="150"/>
                </a:cxn>
                <a:cxn ang="0">
                  <a:pos x="253" y="149"/>
                </a:cxn>
                <a:cxn ang="0">
                  <a:pos x="244" y="147"/>
                </a:cxn>
                <a:cxn ang="0">
                  <a:pos x="327" y="173"/>
                </a:cxn>
                <a:cxn ang="0">
                  <a:pos x="179" y="174"/>
                </a:cxn>
                <a:cxn ang="0">
                  <a:pos x="144" y="205"/>
                </a:cxn>
                <a:cxn ang="0">
                  <a:pos x="26" y="177"/>
                </a:cxn>
                <a:cxn ang="0">
                  <a:pos x="177" y="178"/>
                </a:cxn>
                <a:cxn ang="0">
                  <a:pos x="207" y="208"/>
                </a:cxn>
                <a:cxn ang="0">
                  <a:pos x="165" y="308"/>
                </a:cxn>
                <a:cxn ang="0">
                  <a:pos x="123" y="251"/>
                </a:cxn>
                <a:cxn ang="0">
                  <a:pos x="100" y="228"/>
                </a:cxn>
                <a:cxn ang="0">
                  <a:pos x="44" y="186"/>
                </a:cxn>
                <a:cxn ang="0">
                  <a:pos x="265" y="197"/>
                </a:cxn>
                <a:cxn ang="0">
                  <a:pos x="253" y="227"/>
                </a:cxn>
                <a:cxn ang="0">
                  <a:pos x="264" y="262"/>
                </a:cxn>
                <a:cxn ang="0">
                  <a:pos x="198" y="265"/>
                </a:cxn>
                <a:cxn ang="0">
                  <a:pos x="309" y="186"/>
                </a:cxn>
                <a:cxn ang="0">
                  <a:pos x="105" y="216"/>
                </a:cxn>
                <a:cxn ang="0">
                  <a:pos x="98" y="200"/>
                </a:cxn>
                <a:cxn ang="0">
                  <a:pos x="245" y="202"/>
                </a:cxn>
                <a:cxn ang="0">
                  <a:pos x="253" y="200"/>
                </a:cxn>
                <a:cxn ang="0">
                  <a:pos x="98" y="254"/>
                </a:cxn>
                <a:cxn ang="0">
                  <a:pos x="141" y="211"/>
                </a:cxn>
                <a:cxn ang="0">
                  <a:pos x="98" y="254"/>
                </a:cxn>
                <a:cxn ang="0">
                  <a:pos x="212" y="211"/>
                </a:cxn>
                <a:cxn ang="0">
                  <a:pos x="255" y="254"/>
                </a:cxn>
                <a:cxn ang="0">
                  <a:pos x="137" y="248"/>
                </a:cxn>
                <a:cxn ang="0">
                  <a:pos x="149" y="243"/>
                </a:cxn>
                <a:cxn ang="0">
                  <a:pos x="203" y="253"/>
                </a:cxn>
                <a:cxn ang="0">
                  <a:pos x="205" y="243"/>
                </a:cxn>
              </a:cxnLst>
              <a:rect l="0" t="0" r="r" b="b"/>
              <a:pathLst>
                <a:path w="353" h="350">
                  <a:moveTo>
                    <a:pt x="176" y="0"/>
                  </a:moveTo>
                  <a:cubicBezTo>
                    <a:pt x="180" y="7"/>
                    <a:pt x="181" y="17"/>
                    <a:pt x="184" y="26"/>
                  </a:cubicBezTo>
                  <a:cubicBezTo>
                    <a:pt x="267" y="37"/>
                    <a:pt x="315" y="83"/>
                    <a:pt x="325" y="167"/>
                  </a:cubicBezTo>
                  <a:cubicBezTo>
                    <a:pt x="334" y="170"/>
                    <a:pt x="343" y="172"/>
                    <a:pt x="353" y="174"/>
                  </a:cubicBezTo>
                  <a:cubicBezTo>
                    <a:pt x="344" y="177"/>
                    <a:pt x="335" y="180"/>
                    <a:pt x="325" y="182"/>
                  </a:cubicBezTo>
                  <a:cubicBezTo>
                    <a:pt x="315" y="265"/>
                    <a:pt x="269" y="314"/>
                    <a:pt x="184" y="323"/>
                  </a:cubicBezTo>
                  <a:cubicBezTo>
                    <a:pt x="181" y="332"/>
                    <a:pt x="180" y="342"/>
                    <a:pt x="177" y="350"/>
                  </a:cubicBezTo>
                  <a:cubicBezTo>
                    <a:pt x="174" y="342"/>
                    <a:pt x="172" y="333"/>
                    <a:pt x="170" y="324"/>
                  </a:cubicBezTo>
                  <a:cubicBezTo>
                    <a:pt x="127" y="321"/>
                    <a:pt x="95" y="304"/>
                    <a:pt x="72" y="281"/>
                  </a:cubicBezTo>
                  <a:cubicBezTo>
                    <a:pt x="48" y="258"/>
                    <a:pt x="30" y="226"/>
                    <a:pt x="28" y="182"/>
                  </a:cubicBezTo>
                  <a:cubicBezTo>
                    <a:pt x="19" y="180"/>
                    <a:pt x="10" y="177"/>
                    <a:pt x="0" y="175"/>
                  </a:cubicBezTo>
                  <a:cubicBezTo>
                    <a:pt x="9" y="172"/>
                    <a:pt x="18" y="170"/>
                    <a:pt x="28" y="168"/>
                  </a:cubicBezTo>
                  <a:cubicBezTo>
                    <a:pt x="38" y="85"/>
                    <a:pt x="84" y="36"/>
                    <a:pt x="169" y="27"/>
                  </a:cubicBezTo>
                  <a:cubicBezTo>
                    <a:pt x="172" y="19"/>
                    <a:pt x="174" y="9"/>
                    <a:pt x="176" y="0"/>
                  </a:cubicBezTo>
                  <a:close/>
                  <a:moveTo>
                    <a:pt x="146" y="143"/>
                  </a:moveTo>
                  <a:cubicBezTo>
                    <a:pt x="155" y="153"/>
                    <a:pt x="165" y="163"/>
                    <a:pt x="176" y="172"/>
                  </a:cubicBezTo>
                  <a:cubicBezTo>
                    <a:pt x="175" y="124"/>
                    <a:pt x="177" y="73"/>
                    <a:pt x="174" y="27"/>
                  </a:cubicBezTo>
                  <a:cubicBezTo>
                    <a:pt x="166" y="66"/>
                    <a:pt x="155" y="103"/>
                    <a:pt x="146" y="143"/>
                  </a:cubicBezTo>
                  <a:close/>
                  <a:moveTo>
                    <a:pt x="44" y="163"/>
                  </a:moveTo>
                  <a:cubicBezTo>
                    <a:pt x="57" y="160"/>
                    <a:pt x="71" y="156"/>
                    <a:pt x="86" y="153"/>
                  </a:cubicBezTo>
                  <a:cubicBezTo>
                    <a:pt x="89" y="140"/>
                    <a:pt x="94" y="130"/>
                    <a:pt x="100" y="121"/>
                  </a:cubicBezTo>
                  <a:cubicBezTo>
                    <a:pt x="97" y="110"/>
                    <a:pt x="92" y="98"/>
                    <a:pt x="90" y="87"/>
                  </a:cubicBezTo>
                  <a:cubicBezTo>
                    <a:pt x="96" y="89"/>
                    <a:pt x="101" y="91"/>
                    <a:pt x="106" y="93"/>
                  </a:cubicBezTo>
                  <a:cubicBezTo>
                    <a:pt x="111" y="95"/>
                    <a:pt x="119" y="99"/>
                    <a:pt x="123" y="98"/>
                  </a:cubicBezTo>
                  <a:cubicBezTo>
                    <a:pt x="127" y="98"/>
                    <a:pt x="133" y="93"/>
                    <a:pt x="138" y="91"/>
                  </a:cubicBezTo>
                  <a:cubicBezTo>
                    <a:pt x="144" y="88"/>
                    <a:pt x="148" y="86"/>
                    <a:pt x="154" y="85"/>
                  </a:cubicBezTo>
                  <a:cubicBezTo>
                    <a:pt x="157" y="75"/>
                    <a:pt x="160" y="62"/>
                    <a:pt x="163" y="52"/>
                  </a:cubicBezTo>
                  <a:cubicBezTo>
                    <a:pt x="164" y="49"/>
                    <a:pt x="167" y="44"/>
                    <a:pt x="163" y="42"/>
                  </a:cubicBezTo>
                  <a:cubicBezTo>
                    <a:pt x="94" y="53"/>
                    <a:pt x="54" y="93"/>
                    <a:pt x="44" y="163"/>
                  </a:cubicBezTo>
                  <a:close/>
                  <a:moveTo>
                    <a:pt x="198" y="86"/>
                  </a:moveTo>
                  <a:cubicBezTo>
                    <a:pt x="205" y="86"/>
                    <a:pt x="209" y="89"/>
                    <a:pt x="214" y="91"/>
                  </a:cubicBezTo>
                  <a:cubicBezTo>
                    <a:pt x="219" y="93"/>
                    <a:pt x="225" y="99"/>
                    <a:pt x="229" y="99"/>
                  </a:cubicBezTo>
                  <a:cubicBezTo>
                    <a:pt x="234" y="99"/>
                    <a:pt x="241" y="95"/>
                    <a:pt x="246" y="93"/>
                  </a:cubicBezTo>
                  <a:cubicBezTo>
                    <a:pt x="252" y="91"/>
                    <a:pt x="257" y="89"/>
                    <a:pt x="263" y="88"/>
                  </a:cubicBezTo>
                  <a:cubicBezTo>
                    <a:pt x="262" y="95"/>
                    <a:pt x="260" y="100"/>
                    <a:pt x="258" y="106"/>
                  </a:cubicBezTo>
                  <a:cubicBezTo>
                    <a:pt x="257" y="112"/>
                    <a:pt x="252" y="118"/>
                    <a:pt x="253" y="123"/>
                  </a:cubicBezTo>
                  <a:cubicBezTo>
                    <a:pt x="253" y="127"/>
                    <a:pt x="258" y="133"/>
                    <a:pt x="260" y="137"/>
                  </a:cubicBezTo>
                  <a:cubicBezTo>
                    <a:pt x="262" y="142"/>
                    <a:pt x="264" y="147"/>
                    <a:pt x="265" y="153"/>
                  </a:cubicBezTo>
                  <a:cubicBezTo>
                    <a:pt x="280" y="156"/>
                    <a:pt x="295" y="160"/>
                    <a:pt x="309" y="163"/>
                  </a:cubicBezTo>
                  <a:cubicBezTo>
                    <a:pt x="299" y="93"/>
                    <a:pt x="258" y="53"/>
                    <a:pt x="188" y="42"/>
                  </a:cubicBezTo>
                  <a:cubicBezTo>
                    <a:pt x="192" y="57"/>
                    <a:pt x="195" y="71"/>
                    <a:pt x="198" y="86"/>
                  </a:cubicBezTo>
                  <a:close/>
                  <a:moveTo>
                    <a:pt x="206" y="112"/>
                  </a:moveTo>
                  <a:cubicBezTo>
                    <a:pt x="207" y="122"/>
                    <a:pt x="211" y="129"/>
                    <a:pt x="212" y="139"/>
                  </a:cubicBezTo>
                  <a:cubicBezTo>
                    <a:pt x="221" y="141"/>
                    <a:pt x="230" y="144"/>
                    <a:pt x="239" y="145"/>
                  </a:cubicBezTo>
                  <a:cubicBezTo>
                    <a:pt x="244" y="129"/>
                    <a:pt x="251" y="113"/>
                    <a:pt x="255" y="96"/>
                  </a:cubicBezTo>
                  <a:cubicBezTo>
                    <a:pt x="255" y="96"/>
                    <a:pt x="254" y="96"/>
                    <a:pt x="254" y="96"/>
                  </a:cubicBezTo>
                  <a:cubicBezTo>
                    <a:pt x="239" y="102"/>
                    <a:pt x="222" y="106"/>
                    <a:pt x="206" y="112"/>
                  </a:cubicBezTo>
                  <a:close/>
                  <a:moveTo>
                    <a:pt x="114" y="146"/>
                  </a:moveTo>
                  <a:cubicBezTo>
                    <a:pt x="123" y="143"/>
                    <a:pt x="132" y="141"/>
                    <a:pt x="141" y="139"/>
                  </a:cubicBezTo>
                  <a:cubicBezTo>
                    <a:pt x="143" y="130"/>
                    <a:pt x="146" y="122"/>
                    <a:pt x="147" y="112"/>
                  </a:cubicBezTo>
                  <a:cubicBezTo>
                    <a:pt x="131" y="107"/>
                    <a:pt x="115" y="101"/>
                    <a:pt x="98" y="96"/>
                  </a:cubicBezTo>
                  <a:cubicBezTo>
                    <a:pt x="103" y="113"/>
                    <a:pt x="109" y="130"/>
                    <a:pt x="114" y="146"/>
                  </a:cubicBezTo>
                  <a:close/>
                  <a:moveTo>
                    <a:pt x="137" y="103"/>
                  </a:moveTo>
                  <a:cubicBezTo>
                    <a:pt x="141" y="104"/>
                    <a:pt x="144" y="106"/>
                    <a:pt x="149" y="107"/>
                  </a:cubicBezTo>
                  <a:cubicBezTo>
                    <a:pt x="149" y="103"/>
                    <a:pt x="150" y="100"/>
                    <a:pt x="151" y="97"/>
                  </a:cubicBezTo>
                  <a:cubicBezTo>
                    <a:pt x="146" y="98"/>
                    <a:pt x="140" y="100"/>
                    <a:pt x="137" y="103"/>
                  </a:cubicBezTo>
                  <a:close/>
                  <a:moveTo>
                    <a:pt x="204" y="107"/>
                  </a:moveTo>
                  <a:cubicBezTo>
                    <a:pt x="208" y="105"/>
                    <a:pt x="213" y="105"/>
                    <a:pt x="215" y="103"/>
                  </a:cubicBezTo>
                  <a:cubicBezTo>
                    <a:pt x="211" y="102"/>
                    <a:pt x="206" y="97"/>
                    <a:pt x="202" y="98"/>
                  </a:cubicBezTo>
                  <a:cubicBezTo>
                    <a:pt x="203" y="101"/>
                    <a:pt x="203" y="104"/>
                    <a:pt x="204" y="107"/>
                  </a:cubicBezTo>
                  <a:close/>
                  <a:moveTo>
                    <a:pt x="98" y="150"/>
                  </a:moveTo>
                  <a:cubicBezTo>
                    <a:pt x="102" y="149"/>
                    <a:pt x="106" y="149"/>
                    <a:pt x="109" y="147"/>
                  </a:cubicBezTo>
                  <a:cubicBezTo>
                    <a:pt x="106" y="143"/>
                    <a:pt x="106" y="137"/>
                    <a:pt x="104" y="134"/>
                  </a:cubicBezTo>
                  <a:cubicBezTo>
                    <a:pt x="102" y="140"/>
                    <a:pt x="99" y="144"/>
                    <a:pt x="98" y="150"/>
                  </a:cubicBezTo>
                  <a:close/>
                  <a:moveTo>
                    <a:pt x="244" y="147"/>
                  </a:moveTo>
                  <a:cubicBezTo>
                    <a:pt x="247" y="147"/>
                    <a:pt x="251" y="150"/>
                    <a:pt x="253" y="149"/>
                  </a:cubicBezTo>
                  <a:cubicBezTo>
                    <a:pt x="251" y="145"/>
                    <a:pt x="250" y="140"/>
                    <a:pt x="248" y="137"/>
                  </a:cubicBezTo>
                  <a:cubicBezTo>
                    <a:pt x="247" y="140"/>
                    <a:pt x="245" y="143"/>
                    <a:pt x="244" y="147"/>
                  </a:cubicBezTo>
                  <a:close/>
                  <a:moveTo>
                    <a:pt x="179" y="174"/>
                  </a:moveTo>
                  <a:cubicBezTo>
                    <a:pt x="228" y="173"/>
                    <a:pt x="280" y="176"/>
                    <a:pt x="327" y="173"/>
                  </a:cubicBezTo>
                  <a:cubicBezTo>
                    <a:pt x="286" y="164"/>
                    <a:pt x="249" y="153"/>
                    <a:pt x="208" y="144"/>
                  </a:cubicBezTo>
                  <a:cubicBezTo>
                    <a:pt x="199" y="155"/>
                    <a:pt x="187" y="162"/>
                    <a:pt x="179" y="174"/>
                  </a:cubicBezTo>
                  <a:close/>
                  <a:moveTo>
                    <a:pt x="26" y="177"/>
                  </a:moveTo>
                  <a:cubicBezTo>
                    <a:pt x="66" y="185"/>
                    <a:pt x="104" y="196"/>
                    <a:pt x="144" y="205"/>
                  </a:cubicBezTo>
                  <a:cubicBezTo>
                    <a:pt x="155" y="197"/>
                    <a:pt x="165" y="187"/>
                    <a:pt x="174" y="175"/>
                  </a:cubicBezTo>
                  <a:cubicBezTo>
                    <a:pt x="125" y="176"/>
                    <a:pt x="73" y="174"/>
                    <a:pt x="26" y="177"/>
                  </a:cubicBezTo>
                  <a:close/>
                  <a:moveTo>
                    <a:pt x="177" y="177"/>
                  </a:moveTo>
                  <a:cubicBezTo>
                    <a:pt x="177" y="177"/>
                    <a:pt x="177" y="177"/>
                    <a:pt x="177" y="178"/>
                  </a:cubicBezTo>
                  <a:cubicBezTo>
                    <a:pt x="178" y="226"/>
                    <a:pt x="175" y="280"/>
                    <a:pt x="178" y="328"/>
                  </a:cubicBezTo>
                  <a:cubicBezTo>
                    <a:pt x="187" y="287"/>
                    <a:pt x="198" y="248"/>
                    <a:pt x="207" y="208"/>
                  </a:cubicBezTo>
                  <a:cubicBezTo>
                    <a:pt x="199" y="196"/>
                    <a:pt x="188" y="187"/>
                    <a:pt x="177" y="177"/>
                  </a:cubicBezTo>
                  <a:close/>
                  <a:moveTo>
                    <a:pt x="165" y="308"/>
                  </a:moveTo>
                  <a:cubicBezTo>
                    <a:pt x="162" y="294"/>
                    <a:pt x="158" y="279"/>
                    <a:pt x="154" y="265"/>
                  </a:cubicBezTo>
                  <a:cubicBezTo>
                    <a:pt x="142" y="262"/>
                    <a:pt x="132" y="257"/>
                    <a:pt x="123" y="251"/>
                  </a:cubicBezTo>
                  <a:cubicBezTo>
                    <a:pt x="112" y="256"/>
                    <a:pt x="101" y="259"/>
                    <a:pt x="89" y="262"/>
                  </a:cubicBezTo>
                  <a:cubicBezTo>
                    <a:pt x="93" y="251"/>
                    <a:pt x="96" y="239"/>
                    <a:pt x="100" y="228"/>
                  </a:cubicBezTo>
                  <a:cubicBezTo>
                    <a:pt x="93" y="220"/>
                    <a:pt x="88" y="209"/>
                    <a:pt x="86" y="197"/>
                  </a:cubicBezTo>
                  <a:cubicBezTo>
                    <a:pt x="71" y="193"/>
                    <a:pt x="58" y="189"/>
                    <a:pt x="44" y="186"/>
                  </a:cubicBezTo>
                  <a:cubicBezTo>
                    <a:pt x="54" y="257"/>
                    <a:pt x="94" y="298"/>
                    <a:pt x="165" y="308"/>
                  </a:cubicBezTo>
                  <a:close/>
                  <a:moveTo>
                    <a:pt x="265" y="197"/>
                  </a:moveTo>
                  <a:cubicBezTo>
                    <a:pt x="264" y="203"/>
                    <a:pt x="262" y="207"/>
                    <a:pt x="260" y="212"/>
                  </a:cubicBezTo>
                  <a:cubicBezTo>
                    <a:pt x="258" y="217"/>
                    <a:pt x="253" y="223"/>
                    <a:pt x="253" y="227"/>
                  </a:cubicBezTo>
                  <a:cubicBezTo>
                    <a:pt x="252" y="232"/>
                    <a:pt x="257" y="239"/>
                    <a:pt x="258" y="244"/>
                  </a:cubicBezTo>
                  <a:cubicBezTo>
                    <a:pt x="260" y="250"/>
                    <a:pt x="263" y="256"/>
                    <a:pt x="264" y="262"/>
                  </a:cubicBezTo>
                  <a:cubicBezTo>
                    <a:pt x="252" y="259"/>
                    <a:pt x="240" y="255"/>
                    <a:pt x="228" y="251"/>
                  </a:cubicBezTo>
                  <a:cubicBezTo>
                    <a:pt x="220" y="257"/>
                    <a:pt x="210" y="262"/>
                    <a:pt x="198" y="265"/>
                  </a:cubicBezTo>
                  <a:cubicBezTo>
                    <a:pt x="195" y="280"/>
                    <a:pt x="191" y="293"/>
                    <a:pt x="188" y="308"/>
                  </a:cubicBezTo>
                  <a:cubicBezTo>
                    <a:pt x="258" y="298"/>
                    <a:pt x="300" y="256"/>
                    <a:pt x="309" y="186"/>
                  </a:cubicBezTo>
                  <a:cubicBezTo>
                    <a:pt x="295" y="190"/>
                    <a:pt x="280" y="193"/>
                    <a:pt x="265" y="197"/>
                  </a:cubicBezTo>
                  <a:close/>
                  <a:moveTo>
                    <a:pt x="105" y="216"/>
                  </a:moveTo>
                  <a:cubicBezTo>
                    <a:pt x="106" y="211"/>
                    <a:pt x="107" y="207"/>
                    <a:pt x="109" y="203"/>
                  </a:cubicBezTo>
                  <a:cubicBezTo>
                    <a:pt x="105" y="202"/>
                    <a:pt x="101" y="201"/>
                    <a:pt x="98" y="200"/>
                  </a:cubicBezTo>
                  <a:cubicBezTo>
                    <a:pt x="99" y="206"/>
                    <a:pt x="101" y="211"/>
                    <a:pt x="105" y="216"/>
                  </a:cubicBezTo>
                  <a:close/>
                  <a:moveTo>
                    <a:pt x="245" y="202"/>
                  </a:moveTo>
                  <a:cubicBezTo>
                    <a:pt x="246" y="206"/>
                    <a:pt x="247" y="210"/>
                    <a:pt x="248" y="213"/>
                  </a:cubicBezTo>
                  <a:cubicBezTo>
                    <a:pt x="250" y="209"/>
                    <a:pt x="252" y="205"/>
                    <a:pt x="253" y="200"/>
                  </a:cubicBezTo>
                  <a:cubicBezTo>
                    <a:pt x="250" y="201"/>
                    <a:pt x="248" y="201"/>
                    <a:pt x="245" y="202"/>
                  </a:cubicBezTo>
                  <a:close/>
                  <a:moveTo>
                    <a:pt x="98" y="254"/>
                  </a:moveTo>
                  <a:cubicBezTo>
                    <a:pt x="115" y="248"/>
                    <a:pt x="131" y="243"/>
                    <a:pt x="147" y="237"/>
                  </a:cubicBezTo>
                  <a:cubicBezTo>
                    <a:pt x="146" y="228"/>
                    <a:pt x="143" y="220"/>
                    <a:pt x="141" y="211"/>
                  </a:cubicBezTo>
                  <a:cubicBezTo>
                    <a:pt x="132" y="208"/>
                    <a:pt x="123" y="206"/>
                    <a:pt x="114" y="204"/>
                  </a:cubicBezTo>
                  <a:cubicBezTo>
                    <a:pt x="110" y="221"/>
                    <a:pt x="101" y="238"/>
                    <a:pt x="98" y="254"/>
                  </a:cubicBezTo>
                  <a:close/>
                  <a:moveTo>
                    <a:pt x="239" y="205"/>
                  </a:moveTo>
                  <a:cubicBezTo>
                    <a:pt x="230" y="205"/>
                    <a:pt x="221" y="209"/>
                    <a:pt x="212" y="211"/>
                  </a:cubicBezTo>
                  <a:cubicBezTo>
                    <a:pt x="211" y="220"/>
                    <a:pt x="207" y="228"/>
                    <a:pt x="206" y="237"/>
                  </a:cubicBezTo>
                  <a:cubicBezTo>
                    <a:pt x="222" y="243"/>
                    <a:pt x="239" y="248"/>
                    <a:pt x="255" y="254"/>
                  </a:cubicBezTo>
                  <a:cubicBezTo>
                    <a:pt x="250" y="237"/>
                    <a:pt x="245" y="220"/>
                    <a:pt x="239" y="205"/>
                  </a:cubicBezTo>
                  <a:close/>
                  <a:moveTo>
                    <a:pt x="137" y="248"/>
                  </a:moveTo>
                  <a:cubicBezTo>
                    <a:pt x="142" y="249"/>
                    <a:pt x="147" y="253"/>
                    <a:pt x="152" y="253"/>
                  </a:cubicBezTo>
                  <a:cubicBezTo>
                    <a:pt x="151" y="250"/>
                    <a:pt x="150" y="246"/>
                    <a:pt x="149" y="243"/>
                  </a:cubicBezTo>
                  <a:cubicBezTo>
                    <a:pt x="145" y="244"/>
                    <a:pt x="140" y="245"/>
                    <a:pt x="137" y="248"/>
                  </a:cubicBezTo>
                  <a:close/>
                  <a:moveTo>
                    <a:pt x="203" y="253"/>
                  </a:moveTo>
                  <a:cubicBezTo>
                    <a:pt x="207" y="250"/>
                    <a:pt x="212" y="249"/>
                    <a:pt x="216" y="246"/>
                  </a:cubicBezTo>
                  <a:cubicBezTo>
                    <a:pt x="212" y="245"/>
                    <a:pt x="209" y="244"/>
                    <a:pt x="205" y="243"/>
                  </a:cubicBezTo>
                  <a:cubicBezTo>
                    <a:pt x="205" y="246"/>
                    <a:pt x="202" y="250"/>
                    <a:pt x="203" y="25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45" name="Freeform 25"/>
            <p:cNvSpPr>
              <a:spLocks/>
            </p:cNvSpPr>
            <p:nvPr/>
          </p:nvSpPr>
          <p:spPr bwMode="auto">
            <a:xfrm>
              <a:off x="-1577976" y="3400425"/>
              <a:ext cx="85725" cy="6826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6" y="1"/>
                </a:cxn>
                <a:cxn ang="0">
                  <a:pos x="9" y="18"/>
                </a:cxn>
                <a:cxn ang="0">
                  <a:pos x="13" y="1"/>
                </a:cxn>
                <a:cxn ang="0">
                  <a:pos x="19" y="1"/>
                </a:cxn>
                <a:cxn ang="0">
                  <a:pos x="22" y="17"/>
                </a:cxn>
                <a:cxn ang="0">
                  <a:pos x="26" y="1"/>
                </a:cxn>
                <a:cxn ang="0">
                  <a:pos x="31" y="1"/>
                </a:cxn>
                <a:cxn ang="0">
                  <a:pos x="25" y="25"/>
                </a:cxn>
                <a:cxn ang="0">
                  <a:pos x="19" y="25"/>
                </a:cxn>
                <a:cxn ang="0">
                  <a:pos x="16" y="9"/>
                </a:cxn>
                <a:cxn ang="0">
                  <a:pos x="12" y="25"/>
                </a:cxn>
                <a:cxn ang="0">
                  <a:pos x="6" y="25"/>
                </a:cxn>
                <a:cxn ang="0">
                  <a:pos x="0" y="2"/>
                </a:cxn>
              </a:cxnLst>
              <a:rect l="0" t="0" r="r" b="b"/>
              <a:pathLst>
                <a:path w="31" h="25">
                  <a:moveTo>
                    <a:pt x="0" y="2"/>
                  </a:moveTo>
                  <a:cubicBezTo>
                    <a:pt x="1" y="0"/>
                    <a:pt x="4" y="1"/>
                    <a:pt x="6" y="1"/>
                  </a:cubicBezTo>
                  <a:cubicBezTo>
                    <a:pt x="7" y="7"/>
                    <a:pt x="9" y="12"/>
                    <a:pt x="9" y="18"/>
                  </a:cubicBezTo>
                  <a:cubicBezTo>
                    <a:pt x="11" y="13"/>
                    <a:pt x="12" y="7"/>
                    <a:pt x="13" y="1"/>
                  </a:cubicBezTo>
                  <a:cubicBezTo>
                    <a:pt x="15" y="1"/>
                    <a:pt x="17" y="1"/>
                    <a:pt x="19" y="1"/>
                  </a:cubicBezTo>
                  <a:cubicBezTo>
                    <a:pt x="20" y="7"/>
                    <a:pt x="22" y="11"/>
                    <a:pt x="22" y="17"/>
                  </a:cubicBezTo>
                  <a:cubicBezTo>
                    <a:pt x="24" y="13"/>
                    <a:pt x="24" y="6"/>
                    <a:pt x="26" y="1"/>
                  </a:cubicBezTo>
                  <a:cubicBezTo>
                    <a:pt x="27" y="1"/>
                    <a:pt x="29" y="1"/>
                    <a:pt x="31" y="1"/>
                  </a:cubicBezTo>
                  <a:cubicBezTo>
                    <a:pt x="29" y="9"/>
                    <a:pt x="28" y="18"/>
                    <a:pt x="25" y="25"/>
                  </a:cubicBezTo>
                  <a:cubicBezTo>
                    <a:pt x="23" y="25"/>
                    <a:pt x="21" y="25"/>
                    <a:pt x="19" y="25"/>
                  </a:cubicBezTo>
                  <a:cubicBezTo>
                    <a:pt x="18" y="20"/>
                    <a:pt x="17" y="14"/>
                    <a:pt x="16" y="9"/>
                  </a:cubicBezTo>
                  <a:cubicBezTo>
                    <a:pt x="14" y="14"/>
                    <a:pt x="13" y="20"/>
                    <a:pt x="12" y="25"/>
                  </a:cubicBezTo>
                  <a:cubicBezTo>
                    <a:pt x="10" y="25"/>
                    <a:pt x="8" y="25"/>
                    <a:pt x="6" y="25"/>
                  </a:cubicBezTo>
                  <a:cubicBezTo>
                    <a:pt x="4" y="17"/>
                    <a:pt x="2" y="9"/>
                    <a:pt x="0" y="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46" name="Freeform 26"/>
            <p:cNvSpPr>
              <a:spLocks/>
            </p:cNvSpPr>
            <p:nvPr/>
          </p:nvSpPr>
          <p:spPr bwMode="auto">
            <a:xfrm>
              <a:off x="-490538" y="3403600"/>
              <a:ext cx="44450" cy="65087"/>
            </a:xfrm>
            <a:custGeom>
              <a:avLst/>
              <a:gdLst/>
              <a:ahLst/>
              <a:cxnLst>
                <a:cxn ang="0">
                  <a:pos x="16" y="20"/>
                </a:cxn>
                <a:cxn ang="0">
                  <a:pos x="16" y="24"/>
                </a:cxn>
                <a:cxn ang="0">
                  <a:pos x="0" y="24"/>
                </a:cxn>
                <a:cxn ang="0">
                  <a:pos x="0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6" y="4"/>
                </a:cxn>
                <a:cxn ang="0">
                  <a:pos x="6" y="9"/>
                </a:cxn>
                <a:cxn ang="0">
                  <a:pos x="15" y="9"/>
                </a:cxn>
                <a:cxn ang="0">
                  <a:pos x="15" y="14"/>
                </a:cxn>
                <a:cxn ang="0">
                  <a:pos x="7" y="14"/>
                </a:cxn>
                <a:cxn ang="0">
                  <a:pos x="6" y="20"/>
                </a:cxn>
                <a:cxn ang="0">
                  <a:pos x="16" y="20"/>
                </a:cxn>
              </a:cxnLst>
              <a:rect l="0" t="0" r="r" b="b"/>
              <a:pathLst>
                <a:path w="16" h="24">
                  <a:moveTo>
                    <a:pt x="16" y="20"/>
                  </a:moveTo>
                  <a:cubicBezTo>
                    <a:pt x="16" y="21"/>
                    <a:pt x="16" y="23"/>
                    <a:pt x="16" y="24"/>
                  </a:cubicBezTo>
                  <a:cubicBezTo>
                    <a:pt x="11" y="24"/>
                    <a:pt x="6" y="24"/>
                    <a:pt x="0" y="24"/>
                  </a:cubicBezTo>
                  <a:cubicBezTo>
                    <a:pt x="0" y="16"/>
                    <a:pt x="0" y="8"/>
                    <a:pt x="0" y="0"/>
                  </a:cubicBezTo>
                  <a:cubicBezTo>
                    <a:pt x="5" y="0"/>
                    <a:pt x="10" y="0"/>
                    <a:pt x="16" y="0"/>
                  </a:cubicBezTo>
                  <a:cubicBezTo>
                    <a:pt x="16" y="1"/>
                    <a:pt x="16" y="3"/>
                    <a:pt x="16" y="4"/>
                  </a:cubicBezTo>
                  <a:cubicBezTo>
                    <a:pt x="12" y="4"/>
                    <a:pt x="9" y="4"/>
                    <a:pt x="6" y="4"/>
                  </a:cubicBezTo>
                  <a:cubicBezTo>
                    <a:pt x="6" y="6"/>
                    <a:pt x="6" y="7"/>
                    <a:pt x="6" y="9"/>
                  </a:cubicBezTo>
                  <a:cubicBezTo>
                    <a:pt x="8" y="10"/>
                    <a:pt x="12" y="9"/>
                    <a:pt x="15" y="9"/>
                  </a:cubicBezTo>
                  <a:cubicBezTo>
                    <a:pt x="15" y="11"/>
                    <a:pt x="15" y="12"/>
                    <a:pt x="15" y="14"/>
                  </a:cubicBezTo>
                  <a:cubicBezTo>
                    <a:pt x="12" y="14"/>
                    <a:pt x="9" y="14"/>
                    <a:pt x="7" y="14"/>
                  </a:cubicBezTo>
                  <a:cubicBezTo>
                    <a:pt x="5" y="15"/>
                    <a:pt x="6" y="18"/>
                    <a:pt x="6" y="20"/>
                  </a:cubicBezTo>
                  <a:cubicBezTo>
                    <a:pt x="9" y="20"/>
                    <a:pt x="13" y="20"/>
                    <a:pt x="16" y="2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47" name="Freeform 27"/>
            <p:cNvSpPr>
              <a:spLocks/>
            </p:cNvSpPr>
            <p:nvPr/>
          </p:nvSpPr>
          <p:spPr bwMode="auto">
            <a:xfrm>
              <a:off x="-1023938" y="3924300"/>
              <a:ext cx="66675" cy="80962"/>
            </a:xfrm>
            <a:custGeom>
              <a:avLst/>
              <a:gdLst/>
              <a:ahLst/>
              <a:cxnLst>
                <a:cxn ang="0">
                  <a:pos x="18" y="2"/>
                </a:cxn>
                <a:cxn ang="0">
                  <a:pos x="17" y="6"/>
                </a:cxn>
                <a:cxn ang="0">
                  <a:pos x="8" y="7"/>
                </a:cxn>
                <a:cxn ang="0">
                  <a:pos x="17" y="13"/>
                </a:cxn>
                <a:cxn ang="0">
                  <a:pos x="2" y="25"/>
                </a:cxn>
                <a:cxn ang="0">
                  <a:pos x="3" y="20"/>
                </a:cxn>
                <a:cxn ang="0">
                  <a:pos x="13" y="19"/>
                </a:cxn>
                <a:cxn ang="0">
                  <a:pos x="3" y="5"/>
                </a:cxn>
                <a:cxn ang="0">
                  <a:pos x="18" y="2"/>
                </a:cxn>
              </a:cxnLst>
              <a:rect l="0" t="0" r="r" b="b"/>
              <a:pathLst>
                <a:path w="24" h="29">
                  <a:moveTo>
                    <a:pt x="18" y="2"/>
                  </a:moveTo>
                  <a:cubicBezTo>
                    <a:pt x="18" y="4"/>
                    <a:pt x="17" y="4"/>
                    <a:pt x="17" y="6"/>
                  </a:cubicBezTo>
                  <a:cubicBezTo>
                    <a:pt x="14" y="6"/>
                    <a:pt x="9" y="4"/>
                    <a:pt x="8" y="7"/>
                  </a:cubicBezTo>
                  <a:cubicBezTo>
                    <a:pt x="9" y="11"/>
                    <a:pt x="15" y="11"/>
                    <a:pt x="17" y="13"/>
                  </a:cubicBezTo>
                  <a:cubicBezTo>
                    <a:pt x="24" y="22"/>
                    <a:pt x="11" y="29"/>
                    <a:pt x="2" y="25"/>
                  </a:cubicBezTo>
                  <a:cubicBezTo>
                    <a:pt x="3" y="23"/>
                    <a:pt x="3" y="22"/>
                    <a:pt x="3" y="20"/>
                  </a:cubicBezTo>
                  <a:cubicBezTo>
                    <a:pt x="6" y="21"/>
                    <a:pt x="12" y="23"/>
                    <a:pt x="13" y="19"/>
                  </a:cubicBezTo>
                  <a:cubicBezTo>
                    <a:pt x="10" y="14"/>
                    <a:pt x="0" y="14"/>
                    <a:pt x="3" y="5"/>
                  </a:cubicBezTo>
                  <a:cubicBezTo>
                    <a:pt x="4" y="1"/>
                    <a:pt x="11" y="0"/>
                    <a:pt x="18" y="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94214" name="Rectangle 11"/>
          <p:cNvSpPr>
            <a:spLocks noChangeArrowheads="1"/>
          </p:cNvSpPr>
          <p:nvPr/>
        </p:nvSpPr>
        <p:spPr bwMode="auto">
          <a:xfrm>
            <a:off x="212725" y="5726113"/>
            <a:ext cx="2914650" cy="99377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4215" name="Rectangle 12"/>
          <p:cNvSpPr>
            <a:spLocks noChangeArrowheads="1"/>
          </p:cNvSpPr>
          <p:nvPr/>
        </p:nvSpPr>
        <p:spPr bwMode="auto">
          <a:xfrm>
            <a:off x="244475" y="388938"/>
            <a:ext cx="2914650" cy="99536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Text Box 54"/>
          <p:cNvSpPr txBox="1">
            <a:spLocks noChangeArrowheads="1"/>
          </p:cNvSpPr>
          <p:nvPr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no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hu-HU" sz="800" baseline="0" noProof="0" dirty="0" smtClean="0">
                <a:solidFill>
                  <a:srgbClr val="7D7D7D"/>
                </a:solidFill>
                <a:ea typeface="Arial Unicode MS" pitchFamily="34" charset="-128"/>
                <a:cs typeface="Arial Unicode MS" pitchFamily="34" charset="-128"/>
              </a:rPr>
              <a:t>A Google bizalmas és saját tulajdonú információi</a:t>
            </a:r>
            <a:endParaRPr lang="hu-HU" sz="800" baseline="0" noProof="0" dirty="0">
              <a:solidFill>
                <a:srgbClr val="7D7D7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064980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06"/>
          <p:cNvGrpSpPr/>
          <p:nvPr>
            <p:custDataLst>
              <p:tags r:id="rId2"/>
            </p:custDataLst>
          </p:nvPr>
        </p:nvGrpSpPr>
        <p:grpSpPr>
          <a:xfrm>
            <a:off x="3419033" y="2124503"/>
            <a:ext cx="397384" cy="269682"/>
            <a:chOff x="-1341438" y="968375"/>
            <a:chExt cx="795338" cy="539751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08" name="Freeform 38"/>
            <p:cNvSpPr>
              <a:spLocks/>
            </p:cNvSpPr>
            <p:nvPr/>
          </p:nvSpPr>
          <p:spPr bwMode="auto">
            <a:xfrm>
              <a:off x="-1341438" y="1392238"/>
              <a:ext cx="795338" cy="115888"/>
            </a:xfrm>
            <a:custGeom>
              <a:avLst/>
              <a:gdLst>
                <a:gd name="T0" fmla="*/ 0 w 212"/>
                <a:gd name="T1" fmla="*/ 17 h 31"/>
                <a:gd name="T2" fmla="*/ 14 w 212"/>
                <a:gd name="T3" fmla="*/ 31 h 31"/>
                <a:gd name="T4" fmla="*/ 197 w 212"/>
                <a:gd name="T5" fmla="*/ 31 h 31"/>
                <a:gd name="T6" fmla="*/ 212 w 212"/>
                <a:gd name="T7" fmla="*/ 17 h 31"/>
                <a:gd name="T8" fmla="*/ 212 w 212"/>
                <a:gd name="T9" fmla="*/ 0 h 31"/>
                <a:gd name="T10" fmla="*/ 0 w 212"/>
                <a:gd name="T11" fmla="*/ 0 h 31"/>
                <a:gd name="T12" fmla="*/ 0 w 212"/>
                <a:gd name="T13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2" h="31">
                  <a:moveTo>
                    <a:pt x="0" y="17"/>
                  </a:moveTo>
                  <a:cubicBezTo>
                    <a:pt x="0" y="25"/>
                    <a:pt x="6" y="31"/>
                    <a:pt x="14" y="31"/>
                  </a:cubicBezTo>
                  <a:cubicBezTo>
                    <a:pt x="197" y="31"/>
                    <a:pt x="197" y="31"/>
                    <a:pt x="197" y="31"/>
                  </a:cubicBezTo>
                  <a:cubicBezTo>
                    <a:pt x="205" y="31"/>
                    <a:pt x="212" y="25"/>
                    <a:pt x="212" y="17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9" name="Rectangle 39"/>
            <p:cNvSpPr>
              <a:spLocks noChangeArrowheads="1"/>
            </p:cNvSpPr>
            <p:nvPr/>
          </p:nvSpPr>
          <p:spPr bwMode="auto">
            <a:xfrm>
              <a:off x="-1341438" y="1235075"/>
              <a:ext cx="795338" cy="12700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0" name="Freeform 40"/>
            <p:cNvSpPr>
              <a:spLocks noEditPoints="1"/>
            </p:cNvSpPr>
            <p:nvPr/>
          </p:nvSpPr>
          <p:spPr bwMode="auto">
            <a:xfrm>
              <a:off x="-1341438" y="968375"/>
              <a:ext cx="795338" cy="236538"/>
            </a:xfrm>
            <a:custGeom>
              <a:avLst/>
              <a:gdLst>
                <a:gd name="T0" fmla="*/ 197 w 212"/>
                <a:gd name="T1" fmla="*/ 0 h 63"/>
                <a:gd name="T2" fmla="*/ 14 w 212"/>
                <a:gd name="T3" fmla="*/ 0 h 63"/>
                <a:gd name="T4" fmla="*/ 0 w 212"/>
                <a:gd name="T5" fmla="*/ 14 h 63"/>
                <a:gd name="T6" fmla="*/ 0 w 212"/>
                <a:gd name="T7" fmla="*/ 63 h 63"/>
                <a:gd name="T8" fmla="*/ 212 w 212"/>
                <a:gd name="T9" fmla="*/ 63 h 63"/>
                <a:gd name="T10" fmla="*/ 212 w 212"/>
                <a:gd name="T11" fmla="*/ 14 h 63"/>
                <a:gd name="T12" fmla="*/ 197 w 212"/>
                <a:gd name="T13" fmla="*/ 0 h 63"/>
                <a:gd name="T14" fmla="*/ 26 w 212"/>
                <a:gd name="T15" fmla="*/ 14 h 63"/>
                <a:gd name="T16" fmla="*/ 87 w 212"/>
                <a:gd name="T17" fmla="*/ 14 h 63"/>
                <a:gd name="T18" fmla="*/ 87 w 212"/>
                <a:gd name="T19" fmla="*/ 25 h 63"/>
                <a:gd name="T20" fmla="*/ 26 w 212"/>
                <a:gd name="T21" fmla="*/ 25 h 63"/>
                <a:gd name="T22" fmla="*/ 26 w 212"/>
                <a:gd name="T23" fmla="*/ 14 h 63"/>
                <a:gd name="T24" fmla="*/ 26 w 212"/>
                <a:gd name="T25" fmla="*/ 28 h 63"/>
                <a:gd name="T26" fmla="*/ 97 w 212"/>
                <a:gd name="T27" fmla="*/ 28 h 63"/>
                <a:gd name="T28" fmla="*/ 97 w 212"/>
                <a:gd name="T29" fmla="*/ 39 h 63"/>
                <a:gd name="T30" fmla="*/ 26 w 212"/>
                <a:gd name="T31" fmla="*/ 39 h 63"/>
                <a:gd name="T32" fmla="*/ 26 w 212"/>
                <a:gd name="T33" fmla="*/ 28 h 63"/>
                <a:gd name="T34" fmla="*/ 102 w 212"/>
                <a:gd name="T35" fmla="*/ 54 h 63"/>
                <a:gd name="T36" fmla="*/ 26 w 212"/>
                <a:gd name="T37" fmla="*/ 54 h 63"/>
                <a:gd name="T38" fmla="*/ 26 w 212"/>
                <a:gd name="T39" fmla="*/ 43 h 63"/>
                <a:gd name="T40" fmla="*/ 102 w 212"/>
                <a:gd name="T41" fmla="*/ 43 h 63"/>
                <a:gd name="T42" fmla="*/ 102 w 212"/>
                <a:gd name="T43" fmla="*/ 5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2" h="63">
                  <a:moveTo>
                    <a:pt x="197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2" y="14"/>
                    <a:pt x="212" y="14"/>
                    <a:pt x="212" y="14"/>
                  </a:cubicBezTo>
                  <a:cubicBezTo>
                    <a:pt x="212" y="6"/>
                    <a:pt x="205" y="0"/>
                    <a:pt x="197" y="0"/>
                  </a:cubicBezTo>
                  <a:close/>
                  <a:moveTo>
                    <a:pt x="26" y="14"/>
                  </a:moveTo>
                  <a:cubicBezTo>
                    <a:pt x="87" y="14"/>
                    <a:pt x="87" y="14"/>
                    <a:pt x="87" y="14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26" y="25"/>
                    <a:pt x="26" y="25"/>
                    <a:pt x="26" y="25"/>
                  </a:cubicBezTo>
                  <a:lnTo>
                    <a:pt x="26" y="14"/>
                  </a:lnTo>
                  <a:close/>
                  <a:moveTo>
                    <a:pt x="26" y="28"/>
                  </a:moveTo>
                  <a:cubicBezTo>
                    <a:pt x="97" y="28"/>
                    <a:pt x="97" y="28"/>
                    <a:pt x="97" y="28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26" y="39"/>
                    <a:pt x="26" y="39"/>
                    <a:pt x="26" y="39"/>
                  </a:cubicBezTo>
                  <a:lnTo>
                    <a:pt x="26" y="28"/>
                  </a:lnTo>
                  <a:close/>
                  <a:moveTo>
                    <a:pt x="102" y="54"/>
                  </a:moveTo>
                  <a:cubicBezTo>
                    <a:pt x="26" y="54"/>
                    <a:pt x="26" y="54"/>
                    <a:pt x="26" y="54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102" y="43"/>
                    <a:pt x="102" y="43"/>
                    <a:pt x="102" y="43"/>
                  </a:cubicBezTo>
                  <a:lnTo>
                    <a:pt x="102" y="5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aphicFrame>
        <p:nvGraphicFramePr>
          <p:cNvPr id="1104" name="Object 80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64" imgW="360" imgH="360" progId="TCLayout.ActiveDocument.1">
                  <p:embed/>
                </p:oleObj>
              </mc:Choice>
              <mc:Fallback>
                <p:oleObj name="think-cell Slide" r:id="rId6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6" name="TextBox 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94375" y="6064893"/>
            <a:ext cx="8027325" cy="72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5000"/>
              </a:lnSpc>
              <a:tabLst>
                <a:tab pos="520700" algn="l"/>
              </a:tabLst>
            </a:pPr>
            <a:r>
              <a:rPr lang="hu-HU" sz="7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Alapja: 	Okostelefon-használók, akik az internetet általánosságban használják okostelefonjukon, n=1000 </a:t>
            </a:r>
          </a:p>
          <a:p>
            <a:pPr>
              <a:lnSpc>
                <a:spcPct val="95000"/>
              </a:lnSpc>
              <a:tabLst>
                <a:tab pos="520700" algn="l"/>
              </a:tabLst>
            </a:pPr>
            <a:r>
              <a:rPr lang="hu-HU" sz="7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33. kérdés: </a:t>
            </a:r>
            <a:r>
              <a:rPr lang="hu-HU" sz="7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	Milyen </a:t>
            </a:r>
            <a:r>
              <a:rPr lang="hu-HU" sz="7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gyakran néz utána okostelefonján a helyi vállalkozásokkal vagy szolgáltatásokkal </a:t>
            </a:r>
            <a:r>
              <a:rPr lang="hu-HU" sz="7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kapcsolatos információknak</a:t>
            </a:r>
            <a:r>
              <a:rPr lang="hu-HU" sz="7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? </a:t>
            </a:r>
            <a:r>
              <a:rPr lang="hu-HU" sz="7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z="7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7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	(</a:t>
            </a:r>
            <a:r>
              <a:rPr lang="hu-HU" sz="7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Ha szokott egyáltalán</a:t>
            </a:r>
            <a:r>
              <a:rPr lang="hu-HU" sz="7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)</a:t>
            </a:r>
            <a:endParaRPr lang="hu-HU" sz="700" smtClean="0">
              <a:ea typeface="Arial Unicode MS" pitchFamily="34" charset="-128"/>
              <a:cs typeface="Arial Unicode MS" pitchFamily="34" charset="-128"/>
            </a:endParaRPr>
          </a:p>
          <a:p>
            <a:pPr>
              <a:lnSpc>
                <a:spcPct val="95000"/>
              </a:lnSpc>
              <a:tabLst>
                <a:tab pos="520700" algn="l"/>
              </a:tabLst>
            </a:pPr>
            <a:r>
              <a:rPr lang="hu-HU" sz="7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Alapja</a:t>
            </a:r>
            <a:r>
              <a:rPr lang="hu-HU" sz="7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: 	Okostelefon-használók, akik az internetet általánosságban használják, és akik a havonta legalább </a:t>
            </a:r>
            <a:r>
              <a:rPr lang="hu-HU" sz="7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egyszer néznek </a:t>
            </a:r>
            <a:br>
              <a:rPr lang="hu-HU" sz="7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7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	utána </a:t>
            </a:r>
            <a:r>
              <a:rPr lang="hu-HU" sz="7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információknak </a:t>
            </a:r>
            <a:r>
              <a:rPr lang="hu-HU" sz="7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okostelefonjukon</a:t>
            </a:r>
            <a:r>
              <a:rPr lang="hu-HU" sz="7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, n=819</a:t>
            </a:r>
          </a:p>
          <a:p>
            <a:pPr>
              <a:lnSpc>
                <a:spcPct val="95000"/>
              </a:lnSpc>
              <a:tabLst>
                <a:tab pos="520700" algn="l"/>
              </a:tabLst>
            </a:pPr>
            <a:r>
              <a:rPr lang="hu-HU" sz="7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34. </a:t>
            </a:r>
            <a:r>
              <a:rPr lang="hu-HU" sz="7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kérdés: 	Melyik </a:t>
            </a:r>
            <a:r>
              <a:rPr lang="hu-HU" sz="7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lépést tette már meg a következők közül, miután ilyen információkra keresett rá (tartózkodási </a:t>
            </a:r>
            <a:r>
              <a:rPr lang="hu-HU" sz="7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helye közelében </a:t>
            </a:r>
            <a:br>
              <a:rPr lang="hu-HU" sz="7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7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	lévő vállalkozásokkal </a:t>
            </a:r>
            <a:r>
              <a:rPr lang="hu-HU" sz="7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vagy szolgáltatásokkal </a:t>
            </a:r>
            <a:r>
              <a:rPr lang="hu-HU" sz="7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kapcsolatban</a:t>
            </a:r>
            <a:r>
              <a:rPr lang="hu-HU" sz="7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)?</a:t>
            </a:r>
          </a:p>
        </p:txBody>
      </p:sp>
      <p:sp>
        <p:nvSpPr>
          <p:cNvPr id="1107" name="Slide Number Placeholder 1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822CB000-8E2A-49EF-BD46-4EB016F8A78D}" type="slidenum">
              <a:rPr lang="hu-HU"/>
              <a:pPr/>
              <a:t>19</a:t>
            </a:fld>
            <a:endParaRPr lang="hu-HU"/>
          </a:p>
        </p:txBody>
      </p:sp>
      <p:sp>
        <p:nvSpPr>
          <p:cNvPr id="1108" name="Content Placeholder 3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5210175" y="2298700"/>
            <a:ext cx="3095625" cy="119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5000"/>
              </a:lnSpc>
              <a:spcBef>
                <a:spcPct val="100000"/>
              </a:spcBef>
              <a:spcAft>
                <a:spcPct val="5000"/>
              </a:spcAft>
            </a:pPr>
            <a:r>
              <a:rPr lang="hu-HU" sz="2000">
                <a:ea typeface="Arial Unicode MS" pitchFamily="34" charset="-128"/>
                <a:cs typeface="Arial Unicode MS" pitchFamily="34" charset="-128"/>
              </a:rPr>
              <a:t>okostelefon-használó keresett már helyi információkat </a:t>
            </a:r>
          </a:p>
        </p:txBody>
      </p:sp>
      <p:sp>
        <p:nvSpPr>
          <p:cNvPr id="1109" name="Content Placeholder 3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5210175" y="1635125"/>
            <a:ext cx="33528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>
              <a:lnSpc>
                <a:spcPct val="95000"/>
              </a:lnSpc>
              <a:spcBef>
                <a:spcPct val="100000"/>
              </a:spcBef>
              <a:spcAft>
                <a:spcPct val="5000"/>
              </a:spcAft>
            </a:pPr>
            <a:r>
              <a:rPr lang="hu-HU" sz="6600" b="1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82%</a:t>
            </a:r>
          </a:p>
        </p:txBody>
      </p:sp>
      <p:sp>
        <p:nvSpPr>
          <p:cNvPr id="1110" name="Content Placeholder 3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5210175" y="4260850"/>
            <a:ext cx="3173413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5000"/>
              </a:lnSpc>
              <a:spcBef>
                <a:spcPct val="100000"/>
              </a:spcBef>
              <a:spcAft>
                <a:spcPct val="5000"/>
              </a:spcAft>
            </a:pPr>
            <a:r>
              <a:rPr lang="hu-HU" sz="2000">
                <a:ea typeface="Arial Unicode MS" pitchFamily="34" charset="-128"/>
                <a:cs typeface="Arial Unicode MS" pitchFamily="34" charset="-128"/>
              </a:rPr>
              <a:t>tett valamilyen lépést </a:t>
            </a:r>
            <a:br>
              <a:rPr lang="hu-HU" sz="2000">
                <a:ea typeface="Arial Unicode MS" pitchFamily="34" charset="-128"/>
                <a:cs typeface="Arial Unicode MS" pitchFamily="34" charset="-128"/>
              </a:rPr>
            </a:br>
            <a:r>
              <a:rPr lang="hu-HU" sz="2000">
                <a:ea typeface="Arial Unicode MS" pitchFamily="34" charset="-128"/>
                <a:cs typeface="Arial Unicode MS" pitchFamily="34" charset="-128"/>
              </a:rPr>
              <a:t>ennek eredményeképp</a:t>
            </a:r>
          </a:p>
        </p:txBody>
      </p:sp>
      <p:sp>
        <p:nvSpPr>
          <p:cNvPr id="1111" name="Content Placeholder 3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5210175" y="3600450"/>
            <a:ext cx="33528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>
              <a:lnSpc>
                <a:spcPct val="95000"/>
              </a:lnSpc>
              <a:spcBef>
                <a:spcPct val="100000"/>
              </a:spcBef>
              <a:spcAft>
                <a:spcPct val="5000"/>
              </a:spcAft>
            </a:pPr>
            <a:r>
              <a:rPr lang="hu-HU" sz="6600" b="1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80%</a:t>
            </a:r>
          </a:p>
        </p:txBody>
      </p:sp>
      <p:grpSp>
        <p:nvGrpSpPr>
          <p:cNvPr id="6" name="Group 78"/>
          <p:cNvGrpSpPr/>
          <p:nvPr>
            <p:custDataLst>
              <p:tags r:id="rId10"/>
            </p:custDataLst>
          </p:nvPr>
        </p:nvGrpSpPr>
        <p:grpSpPr>
          <a:xfrm>
            <a:off x="3408100" y="2507098"/>
            <a:ext cx="675419" cy="348705"/>
            <a:chOff x="-2952750" y="5189538"/>
            <a:chExt cx="1706562" cy="881063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80" name="Freeform 7"/>
            <p:cNvSpPr>
              <a:spLocks noEditPoints="1"/>
            </p:cNvSpPr>
            <p:nvPr/>
          </p:nvSpPr>
          <p:spPr bwMode="auto">
            <a:xfrm>
              <a:off x="-2716213" y="5786438"/>
              <a:ext cx="1219200" cy="284163"/>
            </a:xfrm>
            <a:custGeom>
              <a:avLst/>
              <a:gdLst>
                <a:gd name="T0" fmla="*/ 38 w 325"/>
                <a:gd name="T1" fmla="*/ 0 h 76"/>
                <a:gd name="T2" fmla="*/ 76 w 325"/>
                <a:gd name="T3" fmla="*/ 38 h 76"/>
                <a:gd name="T4" fmla="*/ 38 w 325"/>
                <a:gd name="T5" fmla="*/ 76 h 76"/>
                <a:gd name="T6" fmla="*/ 0 w 325"/>
                <a:gd name="T7" fmla="*/ 38 h 76"/>
                <a:gd name="T8" fmla="*/ 38 w 325"/>
                <a:gd name="T9" fmla="*/ 0 h 76"/>
                <a:gd name="T10" fmla="*/ 287 w 325"/>
                <a:gd name="T11" fmla="*/ 0 h 76"/>
                <a:gd name="T12" fmla="*/ 325 w 325"/>
                <a:gd name="T13" fmla="*/ 38 h 76"/>
                <a:gd name="T14" fmla="*/ 287 w 325"/>
                <a:gd name="T15" fmla="*/ 76 h 76"/>
                <a:gd name="T16" fmla="*/ 250 w 325"/>
                <a:gd name="T17" fmla="*/ 38 h 76"/>
                <a:gd name="T18" fmla="*/ 287 w 325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5" h="76">
                  <a:moveTo>
                    <a:pt x="38" y="0"/>
                  </a:moveTo>
                  <a:cubicBezTo>
                    <a:pt x="59" y="0"/>
                    <a:pt x="76" y="17"/>
                    <a:pt x="76" y="38"/>
                  </a:cubicBezTo>
                  <a:cubicBezTo>
                    <a:pt x="76" y="59"/>
                    <a:pt x="59" y="76"/>
                    <a:pt x="38" y="76"/>
                  </a:cubicBezTo>
                  <a:cubicBezTo>
                    <a:pt x="17" y="76"/>
                    <a:pt x="0" y="59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  <a:close/>
                  <a:moveTo>
                    <a:pt x="287" y="0"/>
                  </a:moveTo>
                  <a:cubicBezTo>
                    <a:pt x="308" y="0"/>
                    <a:pt x="325" y="17"/>
                    <a:pt x="325" y="38"/>
                  </a:cubicBezTo>
                  <a:cubicBezTo>
                    <a:pt x="325" y="59"/>
                    <a:pt x="308" y="76"/>
                    <a:pt x="287" y="76"/>
                  </a:cubicBezTo>
                  <a:cubicBezTo>
                    <a:pt x="267" y="76"/>
                    <a:pt x="250" y="59"/>
                    <a:pt x="250" y="38"/>
                  </a:cubicBezTo>
                  <a:cubicBezTo>
                    <a:pt x="250" y="17"/>
                    <a:pt x="267" y="0"/>
                    <a:pt x="287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1" name="Freeform 8"/>
            <p:cNvSpPr>
              <a:spLocks noEditPoints="1"/>
            </p:cNvSpPr>
            <p:nvPr/>
          </p:nvSpPr>
          <p:spPr bwMode="auto">
            <a:xfrm>
              <a:off x="-2952750" y="5189538"/>
              <a:ext cx="1706562" cy="715963"/>
            </a:xfrm>
            <a:custGeom>
              <a:avLst/>
              <a:gdLst>
                <a:gd name="T0" fmla="*/ 380 w 455"/>
                <a:gd name="T1" fmla="*/ 24 h 191"/>
                <a:gd name="T2" fmla="*/ 422 w 455"/>
                <a:gd name="T3" fmla="*/ 24 h 191"/>
                <a:gd name="T4" fmla="*/ 435 w 455"/>
                <a:gd name="T5" fmla="*/ 39 h 191"/>
                <a:gd name="T6" fmla="*/ 435 w 455"/>
                <a:gd name="T7" fmla="*/ 101 h 191"/>
                <a:gd name="T8" fmla="*/ 422 w 455"/>
                <a:gd name="T9" fmla="*/ 115 h 191"/>
                <a:gd name="T10" fmla="*/ 380 w 455"/>
                <a:gd name="T11" fmla="*/ 115 h 191"/>
                <a:gd name="T12" fmla="*/ 366 w 455"/>
                <a:gd name="T13" fmla="*/ 101 h 191"/>
                <a:gd name="T14" fmla="*/ 366 w 455"/>
                <a:gd name="T15" fmla="*/ 39 h 191"/>
                <a:gd name="T16" fmla="*/ 380 w 455"/>
                <a:gd name="T17" fmla="*/ 24 h 191"/>
                <a:gd name="T18" fmla="*/ 44 w 455"/>
                <a:gd name="T19" fmla="*/ 0 h 191"/>
                <a:gd name="T20" fmla="*/ 429 w 455"/>
                <a:gd name="T21" fmla="*/ 0 h 191"/>
                <a:gd name="T22" fmla="*/ 455 w 455"/>
                <a:gd name="T23" fmla="*/ 26 h 191"/>
                <a:gd name="T24" fmla="*/ 455 w 455"/>
                <a:gd name="T25" fmla="*/ 165 h 191"/>
                <a:gd name="T26" fmla="*/ 429 w 455"/>
                <a:gd name="T27" fmla="*/ 191 h 191"/>
                <a:gd name="T28" fmla="*/ 403 w 455"/>
                <a:gd name="T29" fmla="*/ 191 h 191"/>
                <a:gd name="T30" fmla="*/ 350 w 455"/>
                <a:gd name="T31" fmla="*/ 143 h 191"/>
                <a:gd name="T32" fmla="*/ 298 w 455"/>
                <a:gd name="T33" fmla="*/ 191 h 191"/>
                <a:gd name="T34" fmla="*/ 154 w 455"/>
                <a:gd name="T35" fmla="*/ 191 h 191"/>
                <a:gd name="T36" fmla="*/ 101 w 455"/>
                <a:gd name="T37" fmla="*/ 143 h 191"/>
                <a:gd name="T38" fmla="*/ 48 w 455"/>
                <a:gd name="T39" fmla="*/ 191 h 191"/>
                <a:gd name="T40" fmla="*/ 28 w 455"/>
                <a:gd name="T41" fmla="*/ 191 h 191"/>
                <a:gd name="T42" fmla="*/ 1 w 455"/>
                <a:gd name="T43" fmla="*/ 165 h 191"/>
                <a:gd name="T44" fmla="*/ 7 w 455"/>
                <a:gd name="T45" fmla="*/ 115 h 191"/>
                <a:gd name="T46" fmla="*/ 47 w 455"/>
                <a:gd name="T47" fmla="*/ 115 h 191"/>
                <a:gd name="T48" fmla="*/ 61 w 455"/>
                <a:gd name="T49" fmla="*/ 101 h 191"/>
                <a:gd name="T50" fmla="*/ 61 w 455"/>
                <a:gd name="T51" fmla="*/ 39 h 191"/>
                <a:gd name="T52" fmla="*/ 47 w 455"/>
                <a:gd name="T53" fmla="*/ 24 h 191"/>
                <a:gd name="T54" fmla="*/ 18 w 455"/>
                <a:gd name="T55" fmla="*/ 24 h 191"/>
                <a:gd name="T56" fmla="*/ 44 w 455"/>
                <a:gd name="T57" fmla="*/ 0 h 191"/>
                <a:gd name="T58" fmla="*/ 286 w 455"/>
                <a:gd name="T59" fmla="*/ 24 h 191"/>
                <a:gd name="T60" fmla="*/ 328 w 455"/>
                <a:gd name="T61" fmla="*/ 24 h 191"/>
                <a:gd name="T62" fmla="*/ 342 w 455"/>
                <a:gd name="T63" fmla="*/ 39 h 191"/>
                <a:gd name="T64" fmla="*/ 342 w 455"/>
                <a:gd name="T65" fmla="*/ 101 h 191"/>
                <a:gd name="T66" fmla="*/ 328 w 455"/>
                <a:gd name="T67" fmla="*/ 115 h 191"/>
                <a:gd name="T68" fmla="*/ 286 w 455"/>
                <a:gd name="T69" fmla="*/ 115 h 191"/>
                <a:gd name="T70" fmla="*/ 272 w 455"/>
                <a:gd name="T71" fmla="*/ 101 h 191"/>
                <a:gd name="T72" fmla="*/ 272 w 455"/>
                <a:gd name="T73" fmla="*/ 39 h 191"/>
                <a:gd name="T74" fmla="*/ 286 w 455"/>
                <a:gd name="T75" fmla="*/ 24 h 191"/>
                <a:gd name="T76" fmla="*/ 192 w 455"/>
                <a:gd name="T77" fmla="*/ 24 h 191"/>
                <a:gd name="T78" fmla="*/ 234 w 455"/>
                <a:gd name="T79" fmla="*/ 24 h 191"/>
                <a:gd name="T80" fmla="*/ 248 w 455"/>
                <a:gd name="T81" fmla="*/ 39 h 191"/>
                <a:gd name="T82" fmla="*/ 248 w 455"/>
                <a:gd name="T83" fmla="*/ 101 h 191"/>
                <a:gd name="T84" fmla="*/ 234 w 455"/>
                <a:gd name="T85" fmla="*/ 115 h 191"/>
                <a:gd name="T86" fmla="*/ 192 w 455"/>
                <a:gd name="T87" fmla="*/ 115 h 191"/>
                <a:gd name="T88" fmla="*/ 179 w 455"/>
                <a:gd name="T89" fmla="*/ 101 h 191"/>
                <a:gd name="T90" fmla="*/ 179 w 455"/>
                <a:gd name="T91" fmla="*/ 39 h 191"/>
                <a:gd name="T92" fmla="*/ 192 w 455"/>
                <a:gd name="T93" fmla="*/ 24 h 191"/>
                <a:gd name="T94" fmla="*/ 99 w 455"/>
                <a:gd name="T95" fmla="*/ 24 h 191"/>
                <a:gd name="T96" fmla="*/ 141 w 455"/>
                <a:gd name="T97" fmla="*/ 24 h 191"/>
                <a:gd name="T98" fmla="*/ 155 w 455"/>
                <a:gd name="T99" fmla="*/ 39 h 191"/>
                <a:gd name="T100" fmla="*/ 155 w 455"/>
                <a:gd name="T101" fmla="*/ 101 h 191"/>
                <a:gd name="T102" fmla="*/ 141 w 455"/>
                <a:gd name="T103" fmla="*/ 115 h 191"/>
                <a:gd name="T104" fmla="*/ 99 w 455"/>
                <a:gd name="T105" fmla="*/ 115 h 191"/>
                <a:gd name="T106" fmla="*/ 85 w 455"/>
                <a:gd name="T107" fmla="*/ 101 h 191"/>
                <a:gd name="T108" fmla="*/ 85 w 455"/>
                <a:gd name="T109" fmla="*/ 39 h 191"/>
                <a:gd name="T110" fmla="*/ 99 w 455"/>
                <a:gd name="T111" fmla="*/ 24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55" h="191">
                  <a:moveTo>
                    <a:pt x="380" y="24"/>
                  </a:moveTo>
                  <a:cubicBezTo>
                    <a:pt x="422" y="24"/>
                    <a:pt x="422" y="24"/>
                    <a:pt x="422" y="24"/>
                  </a:cubicBezTo>
                  <a:cubicBezTo>
                    <a:pt x="429" y="24"/>
                    <a:pt x="435" y="31"/>
                    <a:pt x="435" y="39"/>
                  </a:cubicBezTo>
                  <a:cubicBezTo>
                    <a:pt x="435" y="101"/>
                    <a:pt x="435" y="101"/>
                    <a:pt x="435" y="101"/>
                  </a:cubicBezTo>
                  <a:cubicBezTo>
                    <a:pt x="435" y="109"/>
                    <a:pt x="429" y="115"/>
                    <a:pt x="422" y="115"/>
                  </a:cubicBezTo>
                  <a:cubicBezTo>
                    <a:pt x="380" y="115"/>
                    <a:pt x="380" y="115"/>
                    <a:pt x="380" y="115"/>
                  </a:cubicBezTo>
                  <a:cubicBezTo>
                    <a:pt x="372" y="115"/>
                    <a:pt x="366" y="109"/>
                    <a:pt x="366" y="101"/>
                  </a:cubicBezTo>
                  <a:cubicBezTo>
                    <a:pt x="366" y="39"/>
                    <a:pt x="366" y="39"/>
                    <a:pt x="366" y="39"/>
                  </a:cubicBezTo>
                  <a:cubicBezTo>
                    <a:pt x="366" y="31"/>
                    <a:pt x="372" y="24"/>
                    <a:pt x="380" y="24"/>
                  </a:cubicBezTo>
                  <a:close/>
                  <a:moveTo>
                    <a:pt x="44" y="0"/>
                  </a:moveTo>
                  <a:cubicBezTo>
                    <a:pt x="429" y="0"/>
                    <a:pt x="429" y="0"/>
                    <a:pt x="429" y="0"/>
                  </a:cubicBezTo>
                  <a:cubicBezTo>
                    <a:pt x="443" y="0"/>
                    <a:pt x="455" y="12"/>
                    <a:pt x="455" y="26"/>
                  </a:cubicBezTo>
                  <a:cubicBezTo>
                    <a:pt x="455" y="165"/>
                    <a:pt x="455" y="165"/>
                    <a:pt x="455" y="165"/>
                  </a:cubicBezTo>
                  <a:cubicBezTo>
                    <a:pt x="455" y="179"/>
                    <a:pt x="443" y="191"/>
                    <a:pt x="429" y="191"/>
                  </a:cubicBezTo>
                  <a:cubicBezTo>
                    <a:pt x="403" y="191"/>
                    <a:pt x="403" y="191"/>
                    <a:pt x="403" y="191"/>
                  </a:cubicBezTo>
                  <a:cubicBezTo>
                    <a:pt x="400" y="164"/>
                    <a:pt x="378" y="143"/>
                    <a:pt x="350" y="143"/>
                  </a:cubicBezTo>
                  <a:cubicBezTo>
                    <a:pt x="323" y="143"/>
                    <a:pt x="301" y="164"/>
                    <a:pt x="298" y="191"/>
                  </a:cubicBezTo>
                  <a:cubicBezTo>
                    <a:pt x="154" y="191"/>
                    <a:pt x="154" y="191"/>
                    <a:pt x="154" y="191"/>
                  </a:cubicBezTo>
                  <a:cubicBezTo>
                    <a:pt x="151" y="164"/>
                    <a:pt x="128" y="143"/>
                    <a:pt x="101" y="143"/>
                  </a:cubicBezTo>
                  <a:cubicBezTo>
                    <a:pt x="73" y="143"/>
                    <a:pt x="51" y="164"/>
                    <a:pt x="48" y="191"/>
                  </a:cubicBezTo>
                  <a:cubicBezTo>
                    <a:pt x="28" y="191"/>
                    <a:pt x="28" y="191"/>
                    <a:pt x="28" y="191"/>
                  </a:cubicBezTo>
                  <a:cubicBezTo>
                    <a:pt x="13" y="191"/>
                    <a:pt x="0" y="179"/>
                    <a:pt x="1" y="165"/>
                  </a:cubicBezTo>
                  <a:cubicBezTo>
                    <a:pt x="7" y="115"/>
                    <a:pt x="7" y="115"/>
                    <a:pt x="7" y="115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55" y="115"/>
                    <a:pt x="61" y="109"/>
                    <a:pt x="61" y="101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1"/>
                    <a:pt x="55" y="24"/>
                    <a:pt x="47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9" y="11"/>
                    <a:pt x="30" y="0"/>
                    <a:pt x="44" y="0"/>
                  </a:cubicBezTo>
                  <a:close/>
                  <a:moveTo>
                    <a:pt x="286" y="24"/>
                  </a:moveTo>
                  <a:cubicBezTo>
                    <a:pt x="328" y="24"/>
                    <a:pt x="328" y="24"/>
                    <a:pt x="328" y="24"/>
                  </a:cubicBezTo>
                  <a:cubicBezTo>
                    <a:pt x="335" y="24"/>
                    <a:pt x="342" y="31"/>
                    <a:pt x="342" y="39"/>
                  </a:cubicBezTo>
                  <a:cubicBezTo>
                    <a:pt x="342" y="101"/>
                    <a:pt x="342" y="101"/>
                    <a:pt x="342" y="101"/>
                  </a:cubicBezTo>
                  <a:cubicBezTo>
                    <a:pt x="342" y="109"/>
                    <a:pt x="335" y="115"/>
                    <a:pt x="328" y="115"/>
                  </a:cubicBezTo>
                  <a:cubicBezTo>
                    <a:pt x="286" y="115"/>
                    <a:pt x="286" y="115"/>
                    <a:pt x="286" y="115"/>
                  </a:cubicBezTo>
                  <a:cubicBezTo>
                    <a:pt x="279" y="115"/>
                    <a:pt x="272" y="109"/>
                    <a:pt x="272" y="101"/>
                  </a:cubicBezTo>
                  <a:cubicBezTo>
                    <a:pt x="272" y="39"/>
                    <a:pt x="272" y="39"/>
                    <a:pt x="272" y="39"/>
                  </a:cubicBezTo>
                  <a:cubicBezTo>
                    <a:pt x="272" y="31"/>
                    <a:pt x="279" y="24"/>
                    <a:pt x="286" y="24"/>
                  </a:cubicBezTo>
                  <a:close/>
                  <a:moveTo>
                    <a:pt x="192" y="24"/>
                  </a:moveTo>
                  <a:cubicBezTo>
                    <a:pt x="234" y="24"/>
                    <a:pt x="234" y="24"/>
                    <a:pt x="234" y="24"/>
                  </a:cubicBezTo>
                  <a:cubicBezTo>
                    <a:pt x="242" y="24"/>
                    <a:pt x="248" y="31"/>
                    <a:pt x="248" y="39"/>
                  </a:cubicBezTo>
                  <a:cubicBezTo>
                    <a:pt x="248" y="101"/>
                    <a:pt x="248" y="101"/>
                    <a:pt x="248" y="101"/>
                  </a:cubicBezTo>
                  <a:cubicBezTo>
                    <a:pt x="248" y="109"/>
                    <a:pt x="242" y="115"/>
                    <a:pt x="234" y="115"/>
                  </a:cubicBezTo>
                  <a:cubicBezTo>
                    <a:pt x="192" y="115"/>
                    <a:pt x="192" y="115"/>
                    <a:pt x="192" y="115"/>
                  </a:cubicBezTo>
                  <a:cubicBezTo>
                    <a:pt x="185" y="115"/>
                    <a:pt x="179" y="109"/>
                    <a:pt x="179" y="101"/>
                  </a:cubicBezTo>
                  <a:cubicBezTo>
                    <a:pt x="179" y="39"/>
                    <a:pt x="179" y="39"/>
                    <a:pt x="179" y="39"/>
                  </a:cubicBezTo>
                  <a:cubicBezTo>
                    <a:pt x="179" y="31"/>
                    <a:pt x="185" y="24"/>
                    <a:pt x="192" y="24"/>
                  </a:cubicBezTo>
                  <a:close/>
                  <a:moveTo>
                    <a:pt x="99" y="24"/>
                  </a:moveTo>
                  <a:cubicBezTo>
                    <a:pt x="141" y="24"/>
                    <a:pt x="141" y="24"/>
                    <a:pt x="141" y="24"/>
                  </a:cubicBezTo>
                  <a:cubicBezTo>
                    <a:pt x="148" y="24"/>
                    <a:pt x="155" y="31"/>
                    <a:pt x="155" y="39"/>
                  </a:cubicBezTo>
                  <a:cubicBezTo>
                    <a:pt x="155" y="101"/>
                    <a:pt x="155" y="101"/>
                    <a:pt x="155" y="101"/>
                  </a:cubicBezTo>
                  <a:cubicBezTo>
                    <a:pt x="155" y="109"/>
                    <a:pt x="148" y="115"/>
                    <a:pt x="141" y="115"/>
                  </a:cubicBezTo>
                  <a:cubicBezTo>
                    <a:pt x="99" y="115"/>
                    <a:pt x="99" y="115"/>
                    <a:pt x="99" y="115"/>
                  </a:cubicBezTo>
                  <a:cubicBezTo>
                    <a:pt x="91" y="115"/>
                    <a:pt x="85" y="109"/>
                    <a:pt x="85" y="101"/>
                  </a:cubicBezTo>
                  <a:cubicBezTo>
                    <a:pt x="85" y="39"/>
                    <a:pt x="85" y="39"/>
                    <a:pt x="85" y="39"/>
                  </a:cubicBezTo>
                  <a:cubicBezTo>
                    <a:pt x="85" y="31"/>
                    <a:pt x="91" y="24"/>
                    <a:pt x="99" y="2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0" name="Group 81"/>
          <p:cNvGrpSpPr/>
          <p:nvPr>
            <p:custDataLst>
              <p:tags r:id="rId11"/>
            </p:custDataLst>
          </p:nvPr>
        </p:nvGrpSpPr>
        <p:grpSpPr>
          <a:xfrm>
            <a:off x="2632599" y="104662"/>
            <a:ext cx="377798" cy="520926"/>
            <a:chOff x="-2284413" y="254000"/>
            <a:chExt cx="1185862" cy="1635126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83" name="Freeform 9"/>
            <p:cNvSpPr>
              <a:spLocks noEditPoints="1"/>
            </p:cNvSpPr>
            <p:nvPr/>
          </p:nvSpPr>
          <p:spPr bwMode="auto">
            <a:xfrm>
              <a:off x="-2119313" y="254000"/>
              <a:ext cx="858837" cy="1181100"/>
            </a:xfrm>
            <a:custGeom>
              <a:avLst/>
              <a:gdLst>
                <a:gd name="T0" fmla="*/ 33 w 229"/>
                <a:gd name="T1" fmla="*/ 286 h 315"/>
                <a:gd name="T2" fmla="*/ 195 w 229"/>
                <a:gd name="T3" fmla="*/ 286 h 315"/>
                <a:gd name="T4" fmla="*/ 209 w 229"/>
                <a:gd name="T5" fmla="*/ 315 h 315"/>
                <a:gd name="T6" fmla="*/ 19 w 229"/>
                <a:gd name="T7" fmla="*/ 315 h 315"/>
                <a:gd name="T8" fmla="*/ 33 w 229"/>
                <a:gd name="T9" fmla="*/ 286 h 315"/>
                <a:gd name="T10" fmla="*/ 52 w 229"/>
                <a:gd name="T11" fmla="*/ 75 h 315"/>
                <a:gd name="T12" fmla="*/ 176 w 229"/>
                <a:gd name="T13" fmla="*/ 75 h 315"/>
                <a:gd name="T14" fmla="*/ 190 w 229"/>
                <a:gd name="T15" fmla="*/ 89 h 315"/>
                <a:gd name="T16" fmla="*/ 194 w 229"/>
                <a:gd name="T17" fmla="*/ 137 h 315"/>
                <a:gd name="T18" fmla="*/ 180 w 229"/>
                <a:gd name="T19" fmla="*/ 151 h 315"/>
                <a:gd name="T20" fmla="*/ 48 w 229"/>
                <a:gd name="T21" fmla="*/ 151 h 315"/>
                <a:gd name="T22" fmla="*/ 34 w 229"/>
                <a:gd name="T23" fmla="*/ 137 h 315"/>
                <a:gd name="T24" fmla="*/ 38 w 229"/>
                <a:gd name="T25" fmla="*/ 89 h 315"/>
                <a:gd name="T26" fmla="*/ 52 w 229"/>
                <a:gd name="T27" fmla="*/ 75 h 315"/>
                <a:gd name="T28" fmla="*/ 83 w 229"/>
                <a:gd name="T29" fmla="*/ 43 h 315"/>
                <a:gd name="T30" fmla="*/ 145 w 229"/>
                <a:gd name="T31" fmla="*/ 43 h 315"/>
                <a:gd name="T32" fmla="*/ 151 w 229"/>
                <a:gd name="T33" fmla="*/ 49 h 315"/>
                <a:gd name="T34" fmla="*/ 151 w 229"/>
                <a:gd name="T35" fmla="*/ 59 h 315"/>
                <a:gd name="T36" fmla="*/ 145 w 229"/>
                <a:gd name="T37" fmla="*/ 65 h 315"/>
                <a:gd name="T38" fmla="*/ 83 w 229"/>
                <a:gd name="T39" fmla="*/ 65 h 315"/>
                <a:gd name="T40" fmla="*/ 77 w 229"/>
                <a:gd name="T41" fmla="*/ 59 h 315"/>
                <a:gd name="T42" fmla="*/ 77 w 229"/>
                <a:gd name="T43" fmla="*/ 49 h 315"/>
                <a:gd name="T44" fmla="*/ 83 w 229"/>
                <a:gd name="T45" fmla="*/ 43 h 315"/>
                <a:gd name="T46" fmla="*/ 46 w 229"/>
                <a:gd name="T47" fmla="*/ 33 h 315"/>
                <a:gd name="T48" fmla="*/ 182 w 229"/>
                <a:gd name="T49" fmla="*/ 33 h 315"/>
                <a:gd name="T50" fmla="*/ 212 w 229"/>
                <a:gd name="T51" fmla="*/ 63 h 315"/>
                <a:gd name="T52" fmla="*/ 227 w 229"/>
                <a:gd name="T53" fmla="*/ 249 h 315"/>
                <a:gd name="T54" fmla="*/ 198 w 229"/>
                <a:gd name="T55" fmla="*/ 278 h 315"/>
                <a:gd name="T56" fmla="*/ 30 w 229"/>
                <a:gd name="T57" fmla="*/ 278 h 315"/>
                <a:gd name="T58" fmla="*/ 1 w 229"/>
                <a:gd name="T59" fmla="*/ 249 h 315"/>
                <a:gd name="T60" fmla="*/ 16 w 229"/>
                <a:gd name="T61" fmla="*/ 63 h 315"/>
                <a:gd name="T62" fmla="*/ 46 w 229"/>
                <a:gd name="T63" fmla="*/ 33 h 315"/>
                <a:gd name="T64" fmla="*/ 185 w 229"/>
                <a:gd name="T65" fmla="*/ 216 h 315"/>
                <a:gd name="T66" fmla="*/ 201 w 229"/>
                <a:gd name="T67" fmla="*/ 233 h 315"/>
                <a:gd name="T68" fmla="*/ 185 w 229"/>
                <a:gd name="T69" fmla="*/ 249 h 315"/>
                <a:gd name="T70" fmla="*/ 168 w 229"/>
                <a:gd name="T71" fmla="*/ 233 h 315"/>
                <a:gd name="T72" fmla="*/ 185 w 229"/>
                <a:gd name="T73" fmla="*/ 216 h 315"/>
                <a:gd name="T74" fmla="*/ 44 w 229"/>
                <a:gd name="T75" fmla="*/ 216 h 315"/>
                <a:gd name="T76" fmla="*/ 60 w 229"/>
                <a:gd name="T77" fmla="*/ 233 h 315"/>
                <a:gd name="T78" fmla="*/ 44 w 229"/>
                <a:gd name="T79" fmla="*/ 249 h 315"/>
                <a:gd name="T80" fmla="*/ 27 w 229"/>
                <a:gd name="T81" fmla="*/ 233 h 315"/>
                <a:gd name="T82" fmla="*/ 44 w 229"/>
                <a:gd name="T83" fmla="*/ 216 h 315"/>
                <a:gd name="T84" fmla="*/ 80 w 229"/>
                <a:gd name="T85" fmla="*/ 0 h 315"/>
                <a:gd name="T86" fmla="*/ 93 w 229"/>
                <a:gd name="T87" fmla="*/ 0 h 315"/>
                <a:gd name="T88" fmla="*/ 93 w 229"/>
                <a:gd name="T89" fmla="*/ 26 h 315"/>
                <a:gd name="T90" fmla="*/ 80 w 229"/>
                <a:gd name="T91" fmla="*/ 26 h 315"/>
                <a:gd name="T92" fmla="*/ 80 w 229"/>
                <a:gd name="T93" fmla="*/ 0 h 315"/>
                <a:gd name="T94" fmla="*/ 135 w 229"/>
                <a:gd name="T95" fmla="*/ 0 h 315"/>
                <a:gd name="T96" fmla="*/ 148 w 229"/>
                <a:gd name="T97" fmla="*/ 0 h 315"/>
                <a:gd name="T98" fmla="*/ 148 w 229"/>
                <a:gd name="T99" fmla="*/ 26 h 315"/>
                <a:gd name="T100" fmla="*/ 135 w 229"/>
                <a:gd name="T101" fmla="*/ 26 h 315"/>
                <a:gd name="T102" fmla="*/ 135 w 229"/>
                <a:gd name="T103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9" h="315">
                  <a:moveTo>
                    <a:pt x="33" y="286"/>
                  </a:moveTo>
                  <a:cubicBezTo>
                    <a:pt x="195" y="286"/>
                    <a:pt x="195" y="286"/>
                    <a:pt x="195" y="286"/>
                  </a:cubicBezTo>
                  <a:cubicBezTo>
                    <a:pt x="209" y="315"/>
                    <a:pt x="209" y="315"/>
                    <a:pt x="209" y="315"/>
                  </a:cubicBezTo>
                  <a:cubicBezTo>
                    <a:pt x="19" y="315"/>
                    <a:pt x="19" y="315"/>
                    <a:pt x="19" y="315"/>
                  </a:cubicBezTo>
                  <a:cubicBezTo>
                    <a:pt x="33" y="286"/>
                    <a:pt x="33" y="286"/>
                    <a:pt x="33" y="286"/>
                  </a:cubicBezTo>
                  <a:close/>
                  <a:moveTo>
                    <a:pt x="52" y="75"/>
                  </a:moveTo>
                  <a:cubicBezTo>
                    <a:pt x="176" y="75"/>
                    <a:pt x="176" y="75"/>
                    <a:pt x="176" y="75"/>
                  </a:cubicBezTo>
                  <a:cubicBezTo>
                    <a:pt x="184" y="75"/>
                    <a:pt x="190" y="81"/>
                    <a:pt x="190" y="89"/>
                  </a:cubicBezTo>
                  <a:cubicBezTo>
                    <a:pt x="194" y="137"/>
                    <a:pt x="194" y="137"/>
                    <a:pt x="194" y="137"/>
                  </a:cubicBezTo>
                  <a:cubicBezTo>
                    <a:pt x="195" y="145"/>
                    <a:pt x="188" y="151"/>
                    <a:pt x="180" y="151"/>
                  </a:cubicBezTo>
                  <a:cubicBezTo>
                    <a:pt x="48" y="151"/>
                    <a:pt x="48" y="151"/>
                    <a:pt x="48" y="151"/>
                  </a:cubicBezTo>
                  <a:cubicBezTo>
                    <a:pt x="40" y="151"/>
                    <a:pt x="33" y="145"/>
                    <a:pt x="34" y="137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39" y="81"/>
                    <a:pt x="44" y="75"/>
                    <a:pt x="52" y="75"/>
                  </a:cubicBezTo>
                  <a:close/>
                  <a:moveTo>
                    <a:pt x="83" y="43"/>
                  </a:moveTo>
                  <a:cubicBezTo>
                    <a:pt x="145" y="43"/>
                    <a:pt x="145" y="43"/>
                    <a:pt x="145" y="43"/>
                  </a:cubicBezTo>
                  <a:cubicBezTo>
                    <a:pt x="149" y="43"/>
                    <a:pt x="151" y="46"/>
                    <a:pt x="151" y="49"/>
                  </a:cubicBezTo>
                  <a:cubicBezTo>
                    <a:pt x="151" y="59"/>
                    <a:pt x="151" y="59"/>
                    <a:pt x="151" y="59"/>
                  </a:cubicBezTo>
                  <a:cubicBezTo>
                    <a:pt x="151" y="63"/>
                    <a:pt x="149" y="65"/>
                    <a:pt x="145" y="65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80" y="65"/>
                    <a:pt x="77" y="63"/>
                    <a:pt x="77" y="59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6"/>
                    <a:pt x="80" y="43"/>
                    <a:pt x="83" y="43"/>
                  </a:cubicBezTo>
                  <a:close/>
                  <a:moveTo>
                    <a:pt x="46" y="33"/>
                  </a:moveTo>
                  <a:cubicBezTo>
                    <a:pt x="182" y="33"/>
                    <a:pt x="182" y="33"/>
                    <a:pt x="182" y="33"/>
                  </a:cubicBezTo>
                  <a:cubicBezTo>
                    <a:pt x="199" y="33"/>
                    <a:pt x="211" y="47"/>
                    <a:pt x="212" y="63"/>
                  </a:cubicBezTo>
                  <a:cubicBezTo>
                    <a:pt x="227" y="249"/>
                    <a:pt x="227" y="249"/>
                    <a:pt x="227" y="249"/>
                  </a:cubicBezTo>
                  <a:cubicBezTo>
                    <a:pt x="229" y="265"/>
                    <a:pt x="214" y="278"/>
                    <a:pt x="198" y="278"/>
                  </a:cubicBezTo>
                  <a:cubicBezTo>
                    <a:pt x="30" y="278"/>
                    <a:pt x="30" y="278"/>
                    <a:pt x="30" y="278"/>
                  </a:cubicBezTo>
                  <a:cubicBezTo>
                    <a:pt x="14" y="278"/>
                    <a:pt x="0" y="265"/>
                    <a:pt x="1" y="249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8" y="47"/>
                    <a:pt x="30" y="33"/>
                    <a:pt x="46" y="33"/>
                  </a:cubicBezTo>
                  <a:close/>
                  <a:moveTo>
                    <a:pt x="185" y="216"/>
                  </a:moveTo>
                  <a:cubicBezTo>
                    <a:pt x="194" y="216"/>
                    <a:pt x="201" y="223"/>
                    <a:pt x="201" y="233"/>
                  </a:cubicBezTo>
                  <a:cubicBezTo>
                    <a:pt x="201" y="242"/>
                    <a:pt x="194" y="249"/>
                    <a:pt x="185" y="249"/>
                  </a:cubicBezTo>
                  <a:cubicBezTo>
                    <a:pt x="176" y="249"/>
                    <a:pt x="168" y="242"/>
                    <a:pt x="168" y="233"/>
                  </a:cubicBezTo>
                  <a:cubicBezTo>
                    <a:pt x="168" y="223"/>
                    <a:pt x="176" y="216"/>
                    <a:pt x="185" y="216"/>
                  </a:cubicBezTo>
                  <a:close/>
                  <a:moveTo>
                    <a:pt x="44" y="216"/>
                  </a:moveTo>
                  <a:cubicBezTo>
                    <a:pt x="53" y="216"/>
                    <a:pt x="60" y="223"/>
                    <a:pt x="60" y="233"/>
                  </a:cubicBezTo>
                  <a:cubicBezTo>
                    <a:pt x="60" y="242"/>
                    <a:pt x="53" y="249"/>
                    <a:pt x="44" y="249"/>
                  </a:cubicBezTo>
                  <a:cubicBezTo>
                    <a:pt x="35" y="249"/>
                    <a:pt x="27" y="242"/>
                    <a:pt x="27" y="233"/>
                  </a:cubicBezTo>
                  <a:cubicBezTo>
                    <a:pt x="27" y="223"/>
                    <a:pt x="35" y="216"/>
                    <a:pt x="44" y="216"/>
                  </a:cubicBezTo>
                  <a:close/>
                  <a:moveTo>
                    <a:pt x="80" y="0"/>
                  </a:moveTo>
                  <a:cubicBezTo>
                    <a:pt x="93" y="0"/>
                    <a:pt x="93" y="0"/>
                    <a:pt x="93" y="0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0"/>
                    <a:pt x="80" y="0"/>
                    <a:pt x="80" y="0"/>
                  </a:cubicBezTo>
                  <a:close/>
                  <a:moveTo>
                    <a:pt x="135" y="0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148" y="26"/>
                    <a:pt x="148" y="26"/>
                    <a:pt x="148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0"/>
                    <a:pt x="135" y="0"/>
                    <a:pt x="135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4" name="Freeform 10"/>
            <p:cNvSpPr>
              <a:spLocks noEditPoints="1"/>
            </p:cNvSpPr>
            <p:nvPr/>
          </p:nvSpPr>
          <p:spPr bwMode="auto">
            <a:xfrm>
              <a:off x="-2284413" y="1468438"/>
              <a:ext cx="1185862" cy="420688"/>
            </a:xfrm>
            <a:custGeom>
              <a:avLst/>
              <a:gdLst>
                <a:gd name="T0" fmla="*/ 144 w 747"/>
                <a:gd name="T1" fmla="*/ 0 h 265"/>
                <a:gd name="T2" fmla="*/ 198 w 747"/>
                <a:gd name="T3" fmla="*/ 0 h 265"/>
                <a:gd name="T4" fmla="*/ 85 w 747"/>
                <a:gd name="T5" fmla="*/ 265 h 265"/>
                <a:gd name="T6" fmla="*/ 0 w 747"/>
                <a:gd name="T7" fmla="*/ 265 h 265"/>
                <a:gd name="T8" fmla="*/ 144 w 747"/>
                <a:gd name="T9" fmla="*/ 0 h 265"/>
                <a:gd name="T10" fmla="*/ 144 w 747"/>
                <a:gd name="T11" fmla="*/ 0 h 265"/>
                <a:gd name="T12" fmla="*/ 605 w 747"/>
                <a:gd name="T13" fmla="*/ 0 h 265"/>
                <a:gd name="T14" fmla="*/ 550 w 747"/>
                <a:gd name="T15" fmla="*/ 0 h 265"/>
                <a:gd name="T16" fmla="*/ 661 w 747"/>
                <a:gd name="T17" fmla="*/ 265 h 265"/>
                <a:gd name="T18" fmla="*/ 747 w 747"/>
                <a:gd name="T19" fmla="*/ 265 h 265"/>
                <a:gd name="T20" fmla="*/ 605 w 747"/>
                <a:gd name="T21" fmla="*/ 0 h 265"/>
                <a:gd name="T22" fmla="*/ 605 w 747"/>
                <a:gd name="T23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7" h="265">
                  <a:moveTo>
                    <a:pt x="144" y="0"/>
                  </a:moveTo>
                  <a:lnTo>
                    <a:pt x="198" y="0"/>
                  </a:lnTo>
                  <a:lnTo>
                    <a:pt x="85" y="265"/>
                  </a:lnTo>
                  <a:lnTo>
                    <a:pt x="0" y="265"/>
                  </a:lnTo>
                  <a:lnTo>
                    <a:pt x="144" y="0"/>
                  </a:lnTo>
                  <a:lnTo>
                    <a:pt x="144" y="0"/>
                  </a:lnTo>
                  <a:close/>
                  <a:moveTo>
                    <a:pt x="605" y="0"/>
                  </a:moveTo>
                  <a:lnTo>
                    <a:pt x="550" y="0"/>
                  </a:lnTo>
                  <a:lnTo>
                    <a:pt x="661" y="265"/>
                  </a:lnTo>
                  <a:lnTo>
                    <a:pt x="747" y="265"/>
                  </a:lnTo>
                  <a:lnTo>
                    <a:pt x="605" y="0"/>
                  </a:lnTo>
                  <a:lnTo>
                    <a:pt x="60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85" name="Freeform 11"/>
          <p:cNvSpPr>
            <a:spLocks noEditPoints="1"/>
          </p:cNvSpPr>
          <p:nvPr>
            <p:custDataLst>
              <p:tags r:id="rId12"/>
            </p:custDataLst>
          </p:nvPr>
        </p:nvSpPr>
        <p:spPr bwMode="auto">
          <a:xfrm>
            <a:off x="3071813" y="2973388"/>
            <a:ext cx="544512" cy="273050"/>
          </a:xfrm>
          <a:custGeom>
            <a:avLst/>
            <a:gdLst>
              <a:gd name="T0" fmla="*/ 14 w 479"/>
              <a:gd name="T1" fmla="*/ 2 h 241"/>
              <a:gd name="T2" fmla="*/ 109 w 479"/>
              <a:gd name="T3" fmla="*/ 21 h 241"/>
              <a:gd name="T4" fmla="*/ 210 w 479"/>
              <a:gd name="T5" fmla="*/ 79 h 241"/>
              <a:gd name="T6" fmla="*/ 175 w 479"/>
              <a:gd name="T7" fmla="*/ 86 h 241"/>
              <a:gd name="T8" fmla="*/ 170 w 479"/>
              <a:gd name="T9" fmla="*/ 104 h 241"/>
              <a:gd name="T10" fmla="*/ 210 w 479"/>
              <a:gd name="T11" fmla="*/ 125 h 241"/>
              <a:gd name="T12" fmla="*/ 255 w 479"/>
              <a:gd name="T13" fmla="*/ 143 h 241"/>
              <a:gd name="T14" fmla="*/ 289 w 479"/>
              <a:gd name="T15" fmla="*/ 125 h 241"/>
              <a:gd name="T16" fmla="*/ 332 w 479"/>
              <a:gd name="T17" fmla="*/ 147 h 241"/>
              <a:gd name="T18" fmla="*/ 394 w 479"/>
              <a:gd name="T19" fmla="*/ 115 h 241"/>
              <a:gd name="T20" fmla="*/ 409 w 479"/>
              <a:gd name="T21" fmla="*/ 113 h 241"/>
              <a:gd name="T22" fmla="*/ 419 w 479"/>
              <a:gd name="T23" fmla="*/ 115 h 241"/>
              <a:gd name="T24" fmla="*/ 396 w 479"/>
              <a:gd name="T25" fmla="*/ 164 h 241"/>
              <a:gd name="T26" fmla="*/ 360 w 479"/>
              <a:gd name="T27" fmla="*/ 166 h 241"/>
              <a:gd name="T28" fmla="*/ 379 w 479"/>
              <a:gd name="T29" fmla="*/ 194 h 241"/>
              <a:gd name="T30" fmla="*/ 408 w 479"/>
              <a:gd name="T31" fmla="*/ 207 h 241"/>
              <a:gd name="T32" fmla="*/ 402 w 479"/>
              <a:gd name="T33" fmla="*/ 220 h 241"/>
              <a:gd name="T34" fmla="*/ 379 w 479"/>
              <a:gd name="T35" fmla="*/ 218 h 241"/>
              <a:gd name="T36" fmla="*/ 359 w 479"/>
              <a:gd name="T37" fmla="*/ 241 h 241"/>
              <a:gd name="T38" fmla="*/ 349 w 479"/>
              <a:gd name="T39" fmla="*/ 237 h 241"/>
              <a:gd name="T40" fmla="*/ 342 w 479"/>
              <a:gd name="T41" fmla="*/ 229 h 241"/>
              <a:gd name="T42" fmla="*/ 339 w 479"/>
              <a:gd name="T43" fmla="*/ 210 h 241"/>
              <a:gd name="T44" fmla="*/ 197 w 479"/>
              <a:gd name="T45" fmla="*/ 155 h 241"/>
              <a:gd name="T46" fmla="*/ 109 w 479"/>
              <a:gd name="T47" fmla="*/ 226 h 241"/>
              <a:gd name="T48" fmla="*/ 89 w 479"/>
              <a:gd name="T49" fmla="*/ 226 h 241"/>
              <a:gd name="T50" fmla="*/ 85 w 479"/>
              <a:gd name="T51" fmla="*/ 211 h 241"/>
              <a:gd name="T52" fmla="*/ 123 w 479"/>
              <a:gd name="T53" fmla="*/ 109 h 241"/>
              <a:gd name="T54" fmla="*/ 29 w 479"/>
              <a:gd name="T55" fmla="*/ 50 h 241"/>
              <a:gd name="T56" fmla="*/ 4 w 479"/>
              <a:gd name="T57" fmla="*/ 16 h 241"/>
              <a:gd name="T58" fmla="*/ 14 w 479"/>
              <a:gd name="T59" fmla="*/ 2 h 241"/>
              <a:gd name="T60" fmla="*/ 456 w 479"/>
              <a:gd name="T61" fmla="*/ 166 h 241"/>
              <a:gd name="T62" fmla="*/ 467 w 479"/>
              <a:gd name="T63" fmla="*/ 167 h 241"/>
              <a:gd name="T64" fmla="*/ 479 w 479"/>
              <a:gd name="T65" fmla="*/ 172 h 241"/>
              <a:gd name="T66" fmla="*/ 414 w 479"/>
              <a:gd name="T67" fmla="*/ 201 h 241"/>
              <a:gd name="T68" fmla="*/ 383 w 479"/>
              <a:gd name="T69" fmla="*/ 189 h 241"/>
              <a:gd name="T70" fmla="*/ 368 w 479"/>
              <a:gd name="T71" fmla="*/ 172 h 241"/>
              <a:gd name="T72" fmla="*/ 456 w 479"/>
              <a:gd name="T73" fmla="*/ 166 h 241"/>
              <a:gd name="T74" fmla="*/ 414 w 479"/>
              <a:gd name="T75" fmla="*/ 42 h 241"/>
              <a:gd name="T76" fmla="*/ 430 w 479"/>
              <a:gd name="T77" fmla="*/ 45 h 241"/>
              <a:gd name="T78" fmla="*/ 431 w 479"/>
              <a:gd name="T79" fmla="*/ 55 h 241"/>
              <a:gd name="T80" fmla="*/ 281 w 479"/>
              <a:gd name="T81" fmla="*/ 121 h 241"/>
              <a:gd name="T82" fmla="*/ 281 w 479"/>
              <a:gd name="T83" fmla="*/ 121 h 241"/>
              <a:gd name="T84" fmla="*/ 254 w 479"/>
              <a:gd name="T85" fmla="*/ 135 h 241"/>
              <a:gd name="T86" fmla="*/ 214 w 479"/>
              <a:gd name="T87" fmla="*/ 118 h 241"/>
              <a:gd name="T88" fmla="*/ 175 w 479"/>
              <a:gd name="T89" fmla="*/ 98 h 241"/>
              <a:gd name="T90" fmla="*/ 177 w 479"/>
              <a:gd name="T91" fmla="*/ 93 h 241"/>
              <a:gd name="T92" fmla="*/ 414 w 479"/>
              <a:gd name="T93" fmla="*/ 42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79" h="241">
                <a:moveTo>
                  <a:pt x="14" y="2"/>
                </a:moveTo>
                <a:cubicBezTo>
                  <a:pt x="31" y="0"/>
                  <a:pt x="65" y="1"/>
                  <a:pt x="109" y="21"/>
                </a:cubicBezTo>
                <a:cubicBezTo>
                  <a:pt x="136" y="34"/>
                  <a:pt x="173" y="56"/>
                  <a:pt x="210" y="79"/>
                </a:cubicBezTo>
                <a:cubicBezTo>
                  <a:pt x="175" y="86"/>
                  <a:pt x="175" y="86"/>
                  <a:pt x="175" y="86"/>
                </a:cubicBezTo>
                <a:cubicBezTo>
                  <a:pt x="164" y="88"/>
                  <a:pt x="163" y="99"/>
                  <a:pt x="170" y="104"/>
                </a:cubicBezTo>
                <a:cubicBezTo>
                  <a:pt x="180" y="110"/>
                  <a:pt x="191" y="117"/>
                  <a:pt x="210" y="125"/>
                </a:cubicBezTo>
                <a:cubicBezTo>
                  <a:pt x="235" y="137"/>
                  <a:pt x="254" y="144"/>
                  <a:pt x="255" y="143"/>
                </a:cubicBezTo>
                <a:cubicBezTo>
                  <a:pt x="289" y="125"/>
                  <a:pt x="289" y="125"/>
                  <a:pt x="289" y="125"/>
                </a:cubicBezTo>
                <a:cubicBezTo>
                  <a:pt x="332" y="147"/>
                  <a:pt x="332" y="147"/>
                  <a:pt x="332" y="147"/>
                </a:cubicBezTo>
                <a:cubicBezTo>
                  <a:pt x="394" y="115"/>
                  <a:pt x="394" y="115"/>
                  <a:pt x="394" y="115"/>
                </a:cubicBezTo>
                <a:cubicBezTo>
                  <a:pt x="400" y="112"/>
                  <a:pt x="403" y="112"/>
                  <a:pt x="409" y="113"/>
                </a:cubicBezTo>
                <a:cubicBezTo>
                  <a:pt x="419" y="115"/>
                  <a:pt x="419" y="115"/>
                  <a:pt x="419" y="115"/>
                </a:cubicBezTo>
                <a:cubicBezTo>
                  <a:pt x="396" y="164"/>
                  <a:pt x="396" y="164"/>
                  <a:pt x="396" y="164"/>
                </a:cubicBezTo>
                <a:cubicBezTo>
                  <a:pt x="360" y="166"/>
                  <a:pt x="360" y="166"/>
                  <a:pt x="360" y="166"/>
                </a:cubicBezTo>
                <a:cubicBezTo>
                  <a:pt x="358" y="166"/>
                  <a:pt x="357" y="179"/>
                  <a:pt x="379" y="194"/>
                </a:cubicBezTo>
                <a:cubicBezTo>
                  <a:pt x="395" y="205"/>
                  <a:pt x="405" y="207"/>
                  <a:pt x="408" y="207"/>
                </a:cubicBezTo>
                <a:cubicBezTo>
                  <a:pt x="408" y="211"/>
                  <a:pt x="407" y="217"/>
                  <a:pt x="402" y="220"/>
                </a:cubicBezTo>
                <a:cubicBezTo>
                  <a:pt x="396" y="224"/>
                  <a:pt x="379" y="218"/>
                  <a:pt x="379" y="218"/>
                </a:cubicBezTo>
                <a:cubicBezTo>
                  <a:pt x="359" y="241"/>
                  <a:pt x="359" y="241"/>
                  <a:pt x="359" y="241"/>
                </a:cubicBezTo>
                <a:cubicBezTo>
                  <a:pt x="349" y="237"/>
                  <a:pt x="349" y="237"/>
                  <a:pt x="349" y="237"/>
                </a:cubicBezTo>
                <a:cubicBezTo>
                  <a:pt x="345" y="236"/>
                  <a:pt x="343" y="233"/>
                  <a:pt x="342" y="229"/>
                </a:cubicBezTo>
                <a:cubicBezTo>
                  <a:pt x="339" y="210"/>
                  <a:pt x="339" y="210"/>
                  <a:pt x="339" y="210"/>
                </a:cubicBezTo>
                <a:cubicBezTo>
                  <a:pt x="305" y="197"/>
                  <a:pt x="246" y="175"/>
                  <a:pt x="197" y="155"/>
                </a:cubicBezTo>
                <a:cubicBezTo>
                  <a:pt x="109" y="226"/>
                  <a:pt x="109" y="226"/>
                  <a:pt x="109" y="226"/>
                </a:cubicBezTo>
                <a:cubicBezTo>
                  <a:pt x="103" y="231"/>
                  <a:pt x="98" y="229"/>
                  <a:pt x="89" y="226"/>
                </a:cubicBezTo>
                <a:cubicBezTo>
                  <a:pt x="82" y="224"/>
                  <a:pt x="81" y="219"/>
                  <a:pt x="85" y="211"/>
                </a:cubicBezTo>
                <a:cubicBezTo>
                  <a:pt x="123" y="109"/>
                  <a:pt x="123" y="109"/>
                  <a:pt x="123" y="109"/>
                </a:cubicBezTo>
                <a:cubicBezTo>
                  <a:pt x="123" y="109"/>
                  <a:pt x="58" y="73"/>
                  <a:pt x="29" y="50"/>
                </a:cubicBezTo>
                <a:cubicBezTo>
                  <a:pt x="13" y="38"/>
                  <a:pt x="6" y="25"/>
                  <a:pt x="4" y="16"/>
                </a:cubicBezTo>
                <a:cubicBezTo>
                  <a:pt x="0" y="6"/>
                  <a:pt x="4" y="3"/>
                  <a:pt x="14" y="2"/>
                </a:cubicBezTo>
                <a:close/>
                <a:moveTo>
                  <a:pt x="456" y="166"/>
                </a:moveTo>
                <a:cubicBezTo>
                  <a:pt x="460" y="165"/>
                  <a:pt x="464" y="166"/>
                  <a:pt x="467" y="167"/>
                </a:cubicBezTo>
                <a:cubicBezTo>
                  <a:pt x="479" y="172"/>
                  <a:pt x="479" y="172"/>
                  <a:pt x="479" y="172"/>
                </a:cubicBezTo>
                <a:cubicBezTo>
                  <a:pt x="414" y="201"/>
                  <a:pt x="414" y="201"/>
                  <a:pt x="414" y="201"/>
                </a:cubicBezTo>
                <a:cubicBezTo>
                  <a:pt x="411" y="201"/>
                  <a:pt x="397" y="199"/>
                  <a:pt x="383" y="189"/>
                </a:cubicBezTo>
                <a:cubicBezTo>
                  <a:pt x="368" y="176"/>
                  <a:pt x="367" y="172"/>
                  <a:pt x="368" y="172"/>
                </a:cubicBezTo>
                <a:cubicBezTo>
                  <a:pt x="397" y="170"/>
                  <a:pt x="427" y="168"/>
                  <a:pt x="456" y="166"/>
                </a:cubicBezTo>
                <a:close/>
                <a:moveTo>
                  <a:pt x="414" y="42"/>
                </a:moveTo>
                <a:cubicBezTo>
                  <a:pt x="421" y="41"/>
                  <a:pt x="425" y="41"/>
                  <a:pt x="430" y="45"/>
                </a:cubicBezTo>
                <a:cubicBezTo>
                  <a:pt x="436" y="49"/>
                  <a:pt x="436" y="52"/>
                  <a:pt x="431" y="55"/>
                </a:cubicBezTo>
                <a:cubicBezTo>
                  <a:pt x="281" y="121"/>
                  <a:pt x="281" y="121"/>
                  <a:pt x="281" y="121"/>
                </a:cubicBezTo>
                <a:cubicBezTo>
                  <a:pt x="281" y="121"/>
                  <a:pt x="281" y="121"/>
                  <a:pt x="281" y="121"/>
                </a:cubicBezTo>
                <a:cubicBezTo>
                  <a:pt x="254" y="135"/>
                  <a:pt x="254" y="135"/>
                  <a:pt x="254" y="135"/>
                </a:cubicBezTo>
                <a:cubicBezTo>
                  <a:pt x="253" y="135"/>
                  <a:pt x="242" y="131"/>
                  <a:pt x="214" y="118"/>
                </a:cubicBezTo>
                <a:cubicBezTo>
                  <a:pt x="196" y="110"/>
                  <a:pt x="182" y="103"/>
                  <a:pt x="175" y="98"/>
                </a:cubicBezTo>
                <a:cubicBezTo>
                  <a:pt x="172" y="96"/>
                  <a:pt x="173" y="94"/>
                  <a:pt x="177" y="93"/>
                </a:cubicBezTo>
                <a:cubicBezTo>
                  <a:pt x="256" y="78"/>
                  <a:pt x="335" y="60"/>
                  <a:pt x="414" y="42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6" name="Freeform 17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419475" y="3333750"/>
            <a:ext cx="450850" cy="528638"/>
          </a:xfrm>
          <a:custGeom>
            <a:avLst/>
            <a:gdLst>
              <a:gd name="T0" fmla="*/ 461 w 503"/>
              <a:gd name="T1" fmla="*/ 304 h 591"/>
              <a:gd name="T2" fmla="*/ 503 w 503"/>
              <a:gd name="T3" fmla="*/ 267 h 591"/>
              <a:gd name="T4" fmla="*/ 461 w 503"/>
              <a:gd name="T5" fmla="*/ 230 h 591"/>
              <a:gd name="T6" fmla="*/ 278 w 503"/>
              <a:gd name="T7" fmla="*/ 230 h 591"/>
              <a:gd name="T8" fmla="*/ 278 w 503"/>
              <a:gd name="T9" fmla="*/ 109 h 591"/>
              <a:gd name="T10" fmla="*/ 385 w 503"/>
              <a:gd name="T11" fmla="*/ 109 h 591"/>
              <a:gd name="T12" fmla="*/ 410 w 503"/>
              <a:gd name="T13" fmla="*/ 73 h 591"/>
              <a:gd name="T14" fmla="*/ 385 w 503"/>
              <a:gd name="T15" fmla="*/ 36 h 591"/>
              <a:gd name="T16" fmla="*/ 278 w 503"/>
              <a:gd name="T17" fmla="*/ 36 h 591"/>
              <a:gd name="T18" fmla="*/ 278 w 503"/>
              <a:gd name="T19" fmla="*/ 22 h 591"/>
              <a:gd name="T20" fmla="*/ 261 w 503"/>
              <a:gd name="T21" fmla="*/ 0 h 591"/>
              <a:gd name="T22" fmla="*/ 244 w 503"/>
              <a:gd name="T23" fmla="*/ 22 h 591"/>
              <a:gd name="T24" fmla="*/ 244 w 503"/>
              <a:gd name="T25" fmla="*/ 109 h 591"/>
              <a:gd name="T26" fmla="*/ 46 w 503"/>
              <a:gd name="T27" fmla="*/ 109 h 591"/>
              <a:gd name="T28" fmla="*/ 0 w 503"/>
              <a:gd name="T29" fmla="*/ 146 h 591"/>
              <a:gd name="T30" fmla="*/ 46 w 503"/>
              <a:gd name="T31" fmla="*/ 183 h 591"/>
              <a:gd name="T32" fmla="*/ 244 w 503"/>
              <a:gd name="T33" fmla="*/ 183 h 591"/>
              <a:gd name="T34" fmla="*/ 244 w 503"/>
              <a:gd name="T35" fmla="*/ 516 h 591"/>
              <a:gd name="T36" fmla="*/ 224 w 503"/>
              <a:gd name="T37" fmla="*/ 516 h 591"/>
              <a:gd name="T38" fmla="*/ 204 w 503"/>
              <a:gd name="T39" fmla="*/ 537 h 591"/>
              <a:gd name="T40" fmla="*/ 206 w 503"/>
              <a:gd name="T41" fmla="*/ 547 h 591"/>
              <a:gd name="T42" fmla="*/ 181 w 503"/>
              <a:gd name="T43" fmla="*/ 569 h 591"/>
              <a:gd name="T44" fmla="*/ 209 w 503"/>
              <a:gd name="T45" fmla="*/ 591 h 591"/>
              <a:gd name="T46" fmla="*/ 314 w 503"/>
              <a:gd name="T47" fmla="*/ 591 h 591"/>
              <a:gd name="T48" fmla="*/ 342 w 503"/>
              <a:gd name="T49" fmla="*/ 569 h 591"/>
              <a:gd name="T50" fmla="*/ 319 w 503"/>
              <a:gd name="T51" fmla="*/ 547 h 591"/>
              <a:gd name="T52" fmla="*/ 321 w 503"/>
              <a:gd name="T53" fmla="*/ 537 h 591"/>
              <a:gd name="T54" fmla="*/ 300 w 503"/>
              <a:gd name="T55" fmla="*/ 516 h 591"/>
              <a:gd name="T56" fmla="*/ 278 w 503"/>
              <a:gd name="T57" fmla="*/ 516 h 591"/>
              <a:gd name="T58" fmla="*/ 278 w 503"/>
              <a:gd name="T59" fmla="*/ 304 h 591"/>
              <a:gd name="T60" fmla="*/ 461 w 503"/>
              <a:gd name="T61" fmla="*/ 304 h 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03" h="591">
                <a:moveTo>
                  <a:pt x="461" y="304"/>
                </a:moveTo>
                <a:cubicBezTo>
                  <a:pt x="503" y="267"/>
                  <a:pt x="503" y="267"/>
                  <a:pt x="503" y="267"/>
                </a:cubicBezTo>
                <a:cubicBezTo>
                  <a:pt x="461" y="230"/>
                  <a:pt x="461" y="230"/>
                  <a:pt x="461" y="230"/>
                </a:cubicBezTo>
                <a:cubicBezTo>
                  <a:pt x="278" y="230"/>
                  <a:pt x="278" y="230"/>
                  <a:pt x="278" y="230"/>
                </a:cubicBezTo>
                <a:cubicBezTo>
                  <a:pt x="278" y="109"/>
                  <a:pt x="278" y="109"/>
                  <a:pt x="278" y="109"/>
                </a:cubicBezTo>
                <a:cubicBezTo>
                  <a:pt x="385" y="109"/>
                  <a:pt x="385" y="109"/>
                  <a:pt x="385" y="109"/>
                </a:cubicBezTo>
                <a:cubicBezTo>
                  <a:pt x="410" y="73"/>
                  <a:pt x="410" y="73"/>
                  <a:pt x="410" y="73"/>
                </a:cubicBezTo>
                <a:cubicBezTo>
                  <a:pt x="385" y="36"/>
                  <a:pt x="385" y="36"/>
                  <a:pt x="385" y="36"/>
                </a:cubicBezTo>
                <a:cubicBezTo>
                  <a:pt x="278" y="36"/>
                  <a:pt x="278" y="36"/>
                  <a:pt x="278" y="36"/>
                </a:cubicBezTo>
                <a:cubicBezTo>
                  <a:pt x="278" y="22"/>
                  <a:pt x="278" y="22"/>
                  <a:pt x="278" y="22"/>
                </a:cubicBezTo>
                <a:cubicBezTo>
                  <a:pt x="278" y="10"/>
                  <a:pt x="271" y="0"/>
                  <a:pt x="261" y="0"/>
                </a:cubicBezTo>
                <a:cubicBezTo>
                  <a:pt x="252" y="0"/>
                  <a:pt x="244" y="10"/>
                  <a:pt x="244" y="22"/>
                </a:cubicBezTo>
                <a:cubicBezTo>
                  <a:pt x="244" y="109"/>
                  <a:pt x="244" y="109"/>
                  <a:pt x="244" y="109"/>
                </a:cubicBezTo>
                <a:cubicBezTo>
                  <a:pt x="46" y="109"/>
                  <a:pt x="46" y="109"/>
                  <a:pt x="46" y="109"/>
                </a:cubicBezTo>
                <a:cubicBezTo>
                  <a:pt x="0" y="146"/>
                  <a:pt x="0" y="146"/>
                  <a:pt x="0" y="146"/>
                </a:cubicBezTo>
                <a:cubicBezTo>
                  <a:pt x="46" y="183"/>
                  <a:pt x="46" y="183"/>
                  <a:pt x="46" y="183"/>
                </a:cubicBezTo>
                <a:cubicBezTo>
                  <a:pt x="244" y="183"/>
                  <a:pt x="244" y="183"/>
                  <a:pt x="244" y="183"/>
                </a:cubicBezTo>
                <a:cubicBezTo>
                  <a:pt x="244" y="516"/>
                  <a:pt x="244" y="516"/>
                  <a:pt x="244" y="516"/>
                </a:cubicBezTo>
                <a:cubicBezTo>
                  <a:pt x="224" y="516"/>
                  <a:pt x="224" y="516"/>
                  <a:pt x="224" y="516"/>
                </a:cubicBezTo>
                <a:cubicBezTo>
                  <a:pt x="213" y="516"/>
                  <a:pt x="204" y="525"/>
                  <a:pt x="204" y="537"/>
                </a:cubicBezTo>
                <a:cubicBezTo>
                  <a:pt x="204" y="541"/>
                  <a:pt x="205" y="544"/>
                  <a:pt x="206" y="547"/>
                </a:cubicBezTo>
                <a:cubicBezTo>
                  <a:pt x="192" y="548"/>
                  <a:pt x="181" y="557"/>
                  <a:pt x="181" y="569"/>
                </a:cubicBezTo>
                <a:cubicBezTo>
                  <a:pt x="181" y="581"/>
                  <a:pt x="193" y="591"/>
                  <a:pt x="209" y="591"/>
                </a:cubicBezTo>
                <a:cubicBezTo>
                  <a:pt x="314" y="591"/>
                  <a:pt x="314" y="591"/>
                  <a:pt x="314" y="591"/>
                </a:cubicBezTo>
                <a:cubicBezTo>
                  <a:pt x="329" y="591"/>
                  <a:pt x="342" y="581"/>
                  <a:pt x="342" y="569"/>
                </a:cubicBezTo>
                <a:cubicBezTo>
                  <a:pt x="342" y="558"/>
                  <a:pt x="332" y="549"/>
                  <a:pt x="319" y="547"/>
                </a:cubicBezTo>
                <a:cubicBezTo>
                  <a:pt x="320" y="544"/>
                  <a:pt x="321" y="541"/>
                  <a:pt x="321" y="537"/>
                </a:cubicBezTo>
                <a:cubicBezTo>
                  <a:pt x="321" y="525"/>
                  <a:pt x="312" y="516"/>
                  <a:pt x="300" y="516"/>
                </a:cubicBezTo>
                <a:cubicBezTo>
                  <a:pt x="278" y="516"/>
                  <a:pt x="278" y="516"/>
                  <a:pt x="278" y="516"/>
                </a:cubicBezTo>
                <a:cubicBezTo>
                  <a:pt x="278" y="304"/>
                  <a:pt x="278" y="304"/>
                  <a:pt x="278" y="304"/>
                </a:cubicBezTo>
                <a:lnTo>
                  <a:pt x="461" y="304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1" name="Group 86"/>
          <p:cNvGrpSpPr/>
          <p:nvPr>
            <p:custDataLst>
              <p:tags r:id="rId14"/>
            </p:custDataLst>
          </p:nvPr>
        </p:nvGrpSpPr>
        <p:grpSpPr>
          <a:xfrm>
            <a:off x="3791090" y="2972422"/>
            <a:ext cx="428485" cy="398177"/>
            <a:chOff x="3791090" y="2972422"/>
            <a:chExt cx="428485" cy="3981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88" name="Freeform 18"/>
            <p:cNvSpPr>
              <a:spLocks noEditPoints="1"/>
            </p:cNvSpPr>
            <p:nvPr/>
          </p:nvSpPr>
          <p:spPr bwMode="auto">
            <a:xfrm>
              <a:off x="3791090" y="2972422"/>
              <a:ext cx="428485" cy="398177"/>
            </a:xfrm>
            <a:custGeom>
              <a:avLst/>
              <a:gdLst>
                <a:gd name="T0" fmla="*/ 240 w 479"/>
                <a:gd name="T1" fmla="*/ 0 h 445"/>
                <a:gd name="T2" fmla="*/ 0 w 479"/>
                <a:gd name="T3" fmla="*/ 222 h 445"/>
                <a:gd name="T4" fmla="*/ 240 w 479"/>
                <a:gd name="T5" fmla="*/ 445 h 445"/>
                <a:gd name="T6" fmla="*/ 479 w 479"/>
                <a:gd name="T7" fmla="*/ 222 h 445"/>
                <a:gd name="T8" fmla="*/ 240 w 479"/>
                <a:gd name="T9" fmla="*/ 0 h 445"/>
                <a:gd name="T10" fmla="*/ 240 w 479"/>
                <a:gd name="T11" fmla="*/ 377 h 445"/>
                <a:gd name="T12" fmla="*/ 70 w 479"/>
                <a:gd name="T13" fmla="*/ 222 h 445"/>
                <a:gd name="T14" fmla="*/ 240 w 479"/>
                <a:gd name="T15" fmla="*/ 67 h 445"/>
                <a:gd name="T16" fmla="*/ 410 w 479"/>
                <a:gd name="T17" fmla="*/ 222 h 445"/>
                <a:gd name="T18" fmla="*/ 240 w 479"/>
                <a:gd name="T19" fmla="*/ 377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9" h="445">
                  <a:moveTo>
                    <a:pt x="240" y="0"/>
                  </a:moveTo>
                  <a:cubicBezTo>
                    <a:pt x="108" y="0"/>
                    <a:pt x="0" y="99"/>
                    <a:pt x="0" y="222"/>
                  </a:cubicBezTo>
                  <a:cubicBezTo>
                    <a:pt x="0" y="345"/>
                    <a:pt x="108" y="445"/>
                    <a:pt x="240" y="445"/>
                  </a:cubicBezTo>
                  <a:cubicBezTo>
                    <a:pt x="372" y="445"/>
                    <a:pt x="479" y="345"/>
                    <a:pt x="479" y="222"/>
                  </a:cubicBezTo>
                  <a:cubicBezTo>
                    <a:pt x="479" y="99"/>
                    <a:pt x="372" y="0"/>
                    <a:pt x="240" y="0"/>
                  </a:cubicBezTo>
                  <a:close/>
                  <a:moveTo>
                    <a:pt x="240" y="377"/>
                  </a:moveTo>
                  <a:cubicBezTo>
                    <a:pt x="146" y="377"/>
                    <a:pt x="70" y="308"/>
                    <a:pt x="70" y="222"/>
                  </a:cubicBezTo>
                  <a:cubicBezTo>
                    <a:pt x="70" y="137"/>
                    <a:pt x="146" y="67"/>
                    <a:pt x="240" y="67"/>
                  </a:cubicBezTo>
                  <a:cubicBezTo>
                    <a:pt x="333" y="67"/>
                    <a:pt x="410" y="137"/>
                    <a:pt x="410" y="222"/>
                  </a:cubicBezTo>
                  <a:cubicBezTo>
                    <a:pt x="410" y="308"/>
                    <a:pt x="333" y="377"/>
                    <a:pt x="240" y="37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9" name="Freeform 19"/>
            <p:cNvSpPr>
              <a:spLocks/>
            </p:cNvSpPr>
            <p:nvPr/>
          </p:nvSpPr>
          <p:spPr bwMode="auto">
            <a:xfrm>
              <a:off x="3872544" y="3062590"/>
              <a:ext cx="266714" cy="96608"/>
            </a:xfrm>
            <a:custGeom>
              <a:avLst/>
              <a:gdLst>
                <a:gd name="T0" fmla="*/ 298 w 298"/>
                <a:gd name="T1" fmla="*/ 77 h 108"/>
                <a:gd name="T2" fmla="*/ 293 w 298"/>
                <a:gd name="T3" fmla="*/ 71 h 108"/>
                <a:gd name="T4" fmla="*/ 261 w 298"/>
                <a:gd name="T5" fmla="*/ 92 h 108"/>
                <a:gd name="T6" fmla="*/ 230 w 298"/>
                <a:gd name="T7" fmla="*/ 58 h 108"/>
                <a:gd name="T8" fmla="*/ 248 w 298"/>
                <a:gd name="T9" fmla="*/ 24 h 108"/>
                <a:gd name="T10" fmla="*/ 239 w 298"/>
                <a:gd name="T11" fmla="*/ 21 h 108"/>
                <a:gd name="T12" fmla="*/ 223 w 298"/>
                <a:gd name="T13" fmla="*/ 52 h 108"/>
                <a:gd name="T14" fmla="*/ 222 w 298"/>
                <a:gd name="T15" fmla="*/ 53 h 108"/>
                <a:gd name="T16" fmla="*/ 156 w 298"/>
                <a:gd name="T17" fmla="*/ 36 h 108"/>
                <a:gd name="T18" fmla="*/ 156 w 298"/>
                <a:gd name="T19" fmla="*/ 0 h 108"/>
                <a:gd name="T20" fmla="*/ 146 w 298"/>
                <a:gd name="T21" fmla="*/ 0 h 108"/>
                <a:gd name="T22" fmla="*/ 146 w 298"/>
                <a:gd name="T23" fmla="*/ 36 h 108"/>
                <a:gd name="T24" fmla="*/ 89 w 298"/>
                <a:gd name="T25" fmla="*/ 49 h 108"/>
                <a:gd name="T26" fmla="*/ 71 w 298"/>
                <a:gd name="T27" fmla="*/ 15 h 108"/>
                <a:gd name="T28" fmla="*/ 62 w 298"/>
                <a:gd name="T29" fmla="*/ 18 h 108"/>
                <a:gd name="T30" fmla="*/ 69 w 298"/>
                <a:gd name="T31" fmla="*/ 31 h 108"/>
                <a:gd name="T32" fmla="*/ 18 w 298"/>
                <a:gd name="T33" fmla="*/ 79 h 108"/>
                <a:gd name="T34" fmla="*/ 6 w 298"/>
                <a:gd name="T35" fmla="*/ 71 h 108"/>
                <a:gd name="T36" fmla="*/ 0 w 298"/>
                <a:gd name="T37" fmla="*/ 77 h 108"/>
                <a:gd name="T38" fmla="*/ 34 w 298"/>
                <a:gd name="T39" fmla="*/ 100 h 108"/>
                <a:gd name="T40" fmla="*/ 33 w 298"/>
                <a:gd name="T41" fmla="*/ 103 h 108"/>
                <a:gd name="T42" fmla="*/ 44 w 298"/>
                <a:gd name="T43" fmla="*/ 108 h 108"/>
                <a:gd name="T44" fmla="*/ 150 w 298"/>
                <a:gd name="T45" fmla="*/ 47 h 108"/>
                <a:gd name="T46" fmla="*/ 257 w 298"/>
                <a:gd name="T47" fmla="*/ 108 h 108"/>
                <a:gd name="T48" fmla="*/ 268 w 298"/>
                <a:gd name="T49" fmla="*/ 103 h 108"/>
                <a:gd name="T50" fmla="*/ 266 w 298"/>
                <a:gd name="T51" fmla="*/ 99 h 108"/>
                <a:gd name="T52" fmla="*/ 298 w 298"/>
                <a:gd name="T53" fmla="*/ 7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8" h="108">
                  <a:moveTo>
                    <a:pt x="298" y="77"/>
                  </a:moveTo>
                  <a:cubicBezTo>
                    <a:pt x="293" y="71"/>
                    <a:pt x="293" y="71"/>
                    <a:pt x="293" y="71"/>
                  </a:cubicBezTo>
                  <a:cubicBezTo>
                    <a:pt x="261" y="92"/>
                    <a:pt x="261" y="92"/>
                    <a:pt x="261" y="92"/>
                  </a:cubicBezTo>
                  <a:cubicBezTo>
                    <a:pt x="252" y="77"/>
                    <a:pt x="242" y="66"/>
                    <a:pt x="230" y="58"/>
                  </a:cubicBezTo>
                  <a:cubicBezTo>
                    <a:pt x="248" y="24"/>
                    <a:pt x="248" y="24"/>
                    <a:pt x="248" y="24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23" y="52"/>
                    <a:pt x="223" y="52"/>
                    <a:pt x="223" y="52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04" y="42"/>
                    <a:pt x="183" y="37"/>
                    <a:pt x="156" y="36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25" y="37"/>
                    <a:pt x="106" y="41"/>
                    <a:pt x="89" y="49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44" y="43"/>
                    <a:pt x="28" y="61"/>
                    <a:pt x="18" y="79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34" y="101"/>
                    <a:pt x="33" y="102"/>
                    <a:pt x="33" y="103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51" y="94"/>
                    <a:pt x="79" y="47"/>
                    <a:pt x="150" y="47"/>
                  </a:cubicBezTo>
                  <a:cubicBezTo>
                    <a:pt x="215" y="47"/>
                    <a:pt x="240" y="77"/>
                    <a:pt x="257" y="108"/>
                  </a:cubicBezTo>
                  <a:cubicBezTo>
                    <a:pt x="268" y="103"/>
                    <a:pt x="268" y="103"/>
                    <a:pt x="268" y="103"/>
                  </a:cubicBezTo>
                  <a:cubicBezTo>
                    <a:pt x="267" y="102"/>
                    <a:pt x="266" y="100"/>
                    <a:pt x="266" y="99"/>
                  </a:cubicBezTo>
                  <a:lnTo>
                    <a:pt x="298" y="7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0" name="Freeform 20"/>
            <p:cNvSpPr>
              <a:spLocks/>
            </p:cNvSpPr>
            <p:nvPr/>
          </p:nvSpPr>
          <p:spPr bwMode="auto">
            <a:xfrm>
              <a:off x="3893002" y="3166396"/>
              <a:ext cx="27656" cy="38643"/>
            </a:xfrm>
            <a:custGeom>
              <a:avLst/>
              <a:gdLst>
                <a:gd name="T0" fmla="*/ 66 w 73"/>
                <a:gd name="T1" fmla="*/ 57 h 102"/>
                <a:gd name="T2" fmla="*/ 21 w 73"/>
                <a:gd name="T3" fmla="*/ 57 h 102"/>
                <a:gd name="T4" fmla="*/ 21 w 73"/>
                <a:gd name="T5" fmla="*/ 85 h 102"/>
                <a:gd name="T6" fmla="*/ 73 w 73"/>
                <a:gd name="T7" fmla="*/ 85 h 102"/>
                <a:gd name="T8" fmla="*/ 73 w 73"/>
                <a:gd name="T9" fmla="*/ 102 h 102"/>
                <a:gd name="T10" fmla="*/ 0 w 73"/>
                <a:gd name="T11" fmla="*/ 102 h 102"/>
                <a:gd name="T12" fmla="*/ 0 w 73"/>
                <a:gd name="T13" fmla="*/ 0 h 102"/>
                <a:gd name="T14" fmla="*/ 69 w 73"/>
                <a:gd name="T15" fmla="*/ 0 h 102"/>
                <a:gd name="T16" fmla="*/ 69 w 73"/>
                <a:gd name="T17" fmla="*/ 14 h 102"/>
                <a:gd name="T18" fmla="*/ 21 w 73"/>
                <a:gd name="T19" fmla="*/ 14 h 102"/>
                <a:gd name="T20" fmla="*/ 21 w 73"/>
                <a:gd name="T21" fmla="*/ 40 h 102"/>
                <a:gd name="T22" fmla="*/ 66 w 73"/>
                <a:gd name="T23" fmla="*/ 40 h 102"/>
                <a:gd name="T24" fmla="*/ 66 w 73"/>
                <a:gd name="T25" fmla="*/ 57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102">
                  <a:moveTo>
                    <a:pt x="66" y="57"/>
                  </a:moveTo>
                  <a:lnTo>
                    <a:pt x="21" y="57"/>
                  </a:lnTo>
                  <a:lnTo>
                    <a:pt x="21" y="85"/>
                  </a:lnTo>
                  <a:lnTo>
                    <a:pt x="73" y="85"/>
                  </a:lnTo>
                  <a:lnTo>
                    <a:pt x="73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4"/>
                  </a:lnTo>
                  <a:lnTo>
                    <a:pt x="21" y="14"/>
                  </a:lnTo>
                  <a:lnTo>
                    <a:pt x="21" y="40"/>
                  </a:lnTo>
                  <a:lnTo>
                    <a:pt x="66" y="40"/>
                  </a:lnTo>
                  <a:lnTo>
                    <a:pt x="66" y="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1" name="Freeform 21"/>
            <p:cNvSpPr>
              <a:spLocks/>
            </p:cNvSpPr>
            <p:nvPr/>
          </p:nvSpPr>
          <p:spPr bwMode="auto">
            <a:xfrm>
              <a:off x="4100614" y="3168290"/>
              <a:ext cx="26899" cy="38643"/>
            </a:xfrm>
            <a:custGeom>
              <a:avLst/>
              <a:gdLst>
                <a:gd name="T0" fmla="*/ 0 w 71"/>
                <a:gd name="T1" fmla="*/ 0 h 102"/>
                <a:gd name="T2" fmla="*/ 71 w 71"/>
                <a:gd name="T3" fmla="*/ 0 h 102"/>
                <a:gd name="T4" fmla="*/ 71 w 71"/>
                <a:gd name="T5" fmla="*/ 17 h 102"/>
                <a:gd name="T6" fmla="*/ 24 w 71"/>
                <a:gd name="T7" fmla="*/ 17 h 102"/>
                <a:gd name="T8" fmla="*/ 24 w 71"/>
                <a:gd name="T9" fmla="*/ 43 h 102"/>
                <a:gd name="T10" fmla="*/ 66 w 71"/>
                <a:gd name="T11" fmla="*/ 43 h 102"/>
                <a:gd name="T12" fmla="*/ 66 w 71"/>
                <a:gd name="T13" fmla="*/ 59 h 102"/>
                <a:gd name="T14" fmla="*/ 24 w 71"/>
                <a:gd name="T15" fmla="*/ 59 h 102"/>
                <a:gd name="T16" fmla="*/ 24 w 71"/>
                <a:gd name="T17" fmla="*/ 102 h 102"/>
                <a:gd name="T18" fmla="*/ 0 w 71"/>
                <a:gd name="T19" fmla="*/ 102 h 102"/>
                <a:gd name="T20" fmla="*/ 0 w 71"/>
                <a:gd name="T2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102">
                  <a:moveTo>
                    <a:pt x="0" y="0"/>
                  </a:moveTo>
                  <a:lnTo>
                    <a:pt x="71" y="0"/>
                  </a:lnTo>
                  <a:lnTo>
                    <a:pt x="71" y="17"/>
                  </a:lnTo>
                  <a:lnTo>
                    <a:pt x="24" y="17"/>
                  </a:lnTo>
                  <a:lnTo>
                    <a:pt x="24" y="43"/>
                  </a:lnTo>
                  <a:lnTo>
                    <a:pt x="66" y="43"/>
                  </a:lnTo>
                  <a:lnTo>
                    <a:pt x="66" y="59"/>
                  </a:lnTo>
                  <a:lnTo>
                    <a:pt x="24" y="59"/>
                  </a:lnTo>
                  <a:lnTo>
                    <a:pt x="24" y="102"/>
                  </a:lnTo>
                  <a:lnTo>
                    <a:pt x="0" y="10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2" name="Freeform 22"/>
            <p:cNvSpPr>
              <a:spLocks/>
            </p:cNvSpPr>
            <p:nvPr/>
          </p:nvSpPr>
          <p:spPr bwMode="auto">
            <a:xfrm>
              <a:off x="3986958" y="3110325"/>
              <a:ext cx="132599" cy="131463"/>
            </a:xfrm>
            <a:custGeom>
              <a:avLst/>
              <a:gdLst>
                <a:gd name="T0" fmla="*/ 148 w 148"/>
                <a:gd name="T1" fmla="*/ 0 h 147"/>
                <a:gd name="T2" fmla="*/ 148 w 148"/>
                <a:gd name="T3" fmla="*/ 0 h 147"/>
                <a:gd name="T4" fmla="*/ 148 w 148"/>
                <a:gd name="T5" fmla="*/ 0 h 147"/>
                <a:gd name="T6" fmla="*/ 116 w 148"/>
                <a:gd name="T7" fmla="*/ 16 h 147"/>
                <a:gd name="T8" fmla="*/ 22 w 148"/>
                <a:gd name="T9" fmla="*/ 115 h 147"/>
                <a:gd name="T10" fmla="*/ 6 w 148"/>
                <a:gd name="T11" fmla="*/ 120 h 147"/>
                <a:gd name="T12" fmla="*/ 8 w 148"/>
                <a:gd name="T13" fmla="*/ 142 h 147"/>
                <a:gd name="T14" fmla="*/ 30 w 148"/>
                <a:gd name="T15" fmla="*/ 140 h 147"/>
                <a:gd name="T16" fmla="*/ 31 w 148"/>
                <a:gd name="T17" fmla="*/ 122 h 147"/>
                <a:gd name="T18" fmla="*/ 129 w 148"/>
                <a:gd name="T19" fmla="*/ 34 h 147"/>
                <a:gd name="T20" fmla="*/ 148 w 148"/>
                <a:gd name="T21" fmla="*/ 0 h 147"/>
                <a:gd name="T22" fmla="*/ 148 w 148"/>
                <a:gd name="T23" fmla="*/ 0 h 147"/>
                <a:gd name="T24" fmla="*/ 148 w 148"/>
                <a:gd name="T25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" h="147">
                  <a:moveTo>
                    <a:pt x="148" y="0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39" y="5"/>
                    <a:pt x="125" y="12"/>
                    <a:pt x="116" y="16"/>
                  </a:cubicBezTo>
                  <a:cubicBezTo>
                    <a:pt x="104" y="29"/>
                    <a:pt x="51" y="85"/>
                    <a:pt x="22" y="115"/>
                  </a:cubicBezTo>
                  <a:cubicBezTo>
                    <a:pt x="16" y="114"/>
                    <a:pt x="10" y="115"/>
                    <a:pt x="6" y="120"/>
                  </a:cubicBezTo>
                  <a:cubicBezTo>
                    <a:pt x="0" y="126"/>
                    <a:pt x="1" y="136"/>
                    <a:pt x="8" y="142"/>
                  </a:cubicBezTo>
                  <a:cubicBezTo>
                    <a:pt x="14" y="147"/>
                    <a:pt x="24" y="147"/>
                    <a:pt x="30" y="140"/>
                  </a:cubicBezTo>
                  <a:cubicBezTo>
                    <a:pt x="34" y="135"/>
                    <a:pt x="35" y="128"/>
                    <a:pt x="31" y="122"/>
                  </a:cubicBezTo>
                  <a:cubicBezTo>
                    <a:pt x="62" y="93"/>
                    <a:pt x="116" y="45"/>
                    <a:pt x="129" y="34"/>
                  </a:cubicBezTo>
                  <a:cubicBezTo>
                    <a:pt x="134" y="24"/>
                    <a:pt x="142" y="10"/>
                    <a:pt x="148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48" y="0"/>
                    <a:pt x="148" y="0"/>
                    <a:pt x="148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2" name="Group 92"/>
          <p:cNvGrpSpPr/>
          <p:nvPr>
            <p:custDataLst>
              <p:tags r:id="rId15"/>
            </p:custDataLst>
          </p:nvPr>
        </p:nvGrpSpPr>
        <p:grpSpPr>
          <a:xfrm>
            <a:off x="2625780" y="1339983"/>
            <a:ext cx="698252" cy="444989"/>
            <a:chOff x="-5124450" y="3267075"/>
            <a:chExt cx="936625" cy="596901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94" name="Oval 27"/>
            <p:cNvSpPr>
              <a:spLocks noChangeArrowheads="1"/>
            </p:cNvSpPr>
            <p:nvPr/>
          </p:nvSpPr>
          <p:spPr bwMode="auto">
            <a:xfrm>
              <a:off x="-4978400" y="3671888"/>
              <a:ext cx="187325" cy="192088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5" name="Oval 28"/>
            <p:cNvSpPr>
              <a:spLocks noChangeArrowheads="1"/>
            </p:cNvSpPr>
            <p:nvPr/>
          </p:nvSpPr>
          <p:spPr bwMode="auto">
            <a:xfrm>
              <a:off x="-4494213" y="3671888"/>
              <a:ext cx="187325" cy="192088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6" name="Freeform 29"/>
            <p:cNvSpPr>
              <a:spLocks noEditPoints="1"/>
            </p:cNvSpPr>
            <p:nvPr/>
          </p:nvSpPr>
          <p:spPr bwMode="auto">
            <a:xfrm>
              <a:off x="-5124450" y="3267075"/>
              <a:ext cx="936625" cy="533400"/>
            </a:xfrm>
            <a:custGeom>
              <a:avLst/>
              <a:gdLst>
                <a:gd name="T0" fmla="*/ 203 w 250"/>
                <a:gd name="T1" fmla="*/ 69 h 142"/>
                <a:gd name="T2" fmla="*/ 203 w 250"/>
                <a:gd name="T3" fmla="*/ 66 h 142"/>
                <a:gd name="T4" fmla="*/ 130 w 250"/>
                <a:gd name="T5" fmla="*/ 0 h 142"/>
                <a:gd name="T6" fmla="*/ 96 w 250"/>
                <a:gd name="T7" fmla="*/ 0 h 142"/>
                <a:gd name="T8" fmla="*/ 34 w 250"/>
                <a:gd name="T9" fmla="*/ 39 h 142"/>
                <a:gd name="T10" fmla="*/ 32 w 250"/>
                <a:gd name="T11" fmla="*/ 53 h 142"/>
                <a:gd name="T12" fmla="*/ 0 w 250"/>
                <a:gd name="T13" fmla="*/ 105 h 142"/>
                <a:gd name="T14" fmla="*/ 0 w 250"/>
                <a:gd name="T15" fmla="*/ 105 h 142"/>
                <a:gd name="T16" fmla="*/ 33 w 250"/>
                <a:gd name="T17" fmla="*/ 140 h 142"/>
                <a:gd name="T18" fmla="*/ 32 w 250"/>
                <a:gd name="T19" fmla="*/ 133 h 142"/>
                <a:gd name="T20" fmla="*/ 64 w 250"/>
                <a:gd name="T21" fmla="*/ 100 h 142"/>
                <a:gd name="T22" fmla="*/ 96 w 250"/>
                <a:gd name="T23" fmla="*/ 133 h 142"/>
                <a:gd name="T24" fmla="*/ 95 w 250"/>
                <a:gd name="T25" fmla="*/ 142 h 142"/>
                <a:gd name="T26" fmla="*/ 162 w 250"/>
                <a:gd name="T27" fmla="*/ 142 h 142"/>
                <a:gd name="T28" fmla="*/ 160 w 250"/>
                <a:gd name="T29" fmla="*/ 133 h 142"/>
                <a:gd name="T30" fmla="*/ 193 w 250"/>
                <a:gd name="T31" fmla="*/ 100 h 142"/>
                <a:gd name="T32" fmla="*/ 225 w 250"/>
                <a:gd name="T33" fmla="*/ 133 h 142"/>
                <a:gd name="T34" fmla="*/ 224 w 250"/>
                <a:gd name="T35" fmla="*/ 137 h 142"/>
                <a:gd name="T36" fmla="*/ 250 w 250"/>
                <a:gd name="T37" fmla="*/ 105 h 142"/>
                <a:gd name="T38" fmla="*/ 250 w 250"/>
                <a:gd name="T39" fmla="*/ 105 h 142"/>
                <a:gd name="T40" fmla="*/ 203 w 250"/>
                <a:gd name="T41" fmla="*/ 69 h 142"/>
                <a:gd name="T42" fmla="*/ 182 w 250"/>
                <a:gd name="T43" fmla="*/ 68 h 142"/>
                <a:gd name="T44" fmla="*/ 69 w 250"/>
                <a:gd name="T45" fmla="*/ 68 h 142"/>
                <a:gd name="T46" fmla="*/ 69 w 250"/>
                <a:gd name="T47" fmla="*/ 48 h 142"/>
                <a:gd name="T48" fmla="*/ 106 w 250"/>
                <a:gd name="T49" fmla="*/ 11 h 142"/>
                <a:gd name="T50" fmla="*/ 129 w 250"/>
                <a:gd name="T51" fmla="*/ 11 h 142"/>
                <a:gd name="T52" fmla="*/ 182 w 250"/>
                <a:gd name="T53" fmla="*/ 58 h 142"/>
                <a:gd name="T54" fmla="*/ 182 w 250"/>
                <a:gd name="T55" fmla="*/ 6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0" h="142">
                  <a:moveTo>
                    <a:pt x="203" y="69"/>
                  </a:moveTo>
                  <a:cubicBezTo>
                    <a:pt x="203" y="66"/>
                    <a:pt x="203" y="66"/>
                    <a:pt x="203" y="66"/>
                  </a:cubicBezTo>
                  <a:cubicBezTo>
                    <a:pt x="203" y="37"/>
                    <a:pt x="158" y="0"/>
                    <a:pt x="13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67" y="0"/>
                    <a:pt x="34" y="11"/>
                    <a:pt x="34" y="39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6" y="54"/>
                    <a:pt x="0" y="85"/>
                    <a:pt x="0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21"/>
                    <a:pt x="14" y="135"/>
                    <a:pt x="33" y="140"/>
                  </a:cubicBezTo>
                  <a:cubicBezTo>
                    <a:pt x="32" y="137"/>
                    <a:pt x="32" y="135"/>
                    <a:pt x="32" y="133"/>
                  </a:cubicBezTo>
                  <a:cubicBezTo>
                    <a:pt x="32" y="115"/>
                    <a:pt x="46" y="100"/>
                    <a:pt x="64" y="100"/>
                  </a:cubicBezTo>
                  <a:cubicBezTo>
                    <a:pt x="82" y="100"/>
                    <a:pt x="96" y="115"/>
                    <a:pt x="96" y="133"/>
                  </a:cubicBezTo>
                  <a:cubicBezTo>
                    <a:pt x="96" y="136"/>
                    <a:pt x="96" y="139"/>
                    <a:pt x="95" y="142"/>
                  </a:cubicBezTo>
                  <a:cubicBezTo>
                    <a:pt x="162" y="142"/>
                    <a:pt x="162" y="142"/>
                    <a:pt x="162" y="142"/>
                  </a:cubicBezTo>
                  <a:cubicBezTo>
                    <a:pt x="161" y="139"/>
                    <a:pt x="160" y="136"/>
                    <a:pt x="160" y="133"/>
                  </a:cubicBezTo>
                  <a:cubicBezTo>
                    <a:pt x="160" y="115"/>
                    <a:pt x="175" y="100"/>
                    <a:pt x="193" y="100"/>
                  </a:cubicBezTo>
                  <a:cubicBezTo>
                    <a:pt x="210" y="100"/>
                    <a:pt x="225" y="115"/>
                    <a:pt x="225" y="133"/>
                  </a:cubicBezTo>
                  <a:cubicBezTo>
                    <a:pt x="225" y="134"/>
                    <a:pt x="225" y="136"/>
                    <a:pt x="224" y="137"/>
                  </a:cubicBezTo>
                  <a:cubicBezTo>
                    <a:pt x="240" y="131"/>
                    <a:pt x="250" y="119"/>
                    <a:pt x="250" y="105"/>
                  </a:cubicBezTo>
                  <a:cubicBezTo>
                    <a:pt x="250" y="105"/>
                    <a:pt x="250" y="105"/>
                    <a:pt x="250" y="105"/>
                  </a:cubicBezTo>
                  <a:cubicBezTo>
                    <a:pt x="250" y="85"/>
                    <a:pt x="229" y="69"/>
                    <a:pt x="203" y="69"/>
                  </a:cubicBezTo>
                  <a:close/>
                  <a:moveTo>
                    <a:pt x="182" y="68"/>
                  </a:moveTo>
                  <a:cubicBezTo>
                    <a:pt x="69" y="68"/>
                    <a:pt x="69" y="68"/>
                    <a:pt x="69" y="6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28"/>
                    <a:pt x="86" y="11"/>
                    <a:pt x="106" y="11"/>
                  </a:cubicBezTo>
                  <a:cubicBezTo>
                    <a:pt x="129" y="11"/>
                    <a:pt x="129" y="11"/>
                    <a:pt x="129" y="11"/>
                  </a:cubicBezTo>
                  <a:cubicBezTo>
                    <a:pt x="149" y="11"/>
                    <a:pt x="182" y="37"/>
                    <a:pt x="182" y="58"/>
                  </a:cubicBezTo>
                  <a:lnTo>
                    <a:pt x="182" y="6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3" name="Group 96"/>
          <p:cNvGrpSpPr/>
          <p:nvPr>
            <p:custDataLst>
              <p:tags r:id="rId16"/>
            </p:custDataLst>
          </p:nvPr>
        </p:nvGrpSpPr>
        <p:grpSpPr>
          <a:xfrm>
            <a:off x="3408100" y="1521971"/>
            <a:ext cx="442181" cy="464700"/>
            <a:chOff x="-4997450" y="4354513"/>
            <a:chExt cx="685800" cy="720725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98" name="Freeform 30"/>
            <p:cNvSpPr>
              <a:spLocks noEditPoints="1"/>
            </p:cNvSpPr>
            <p:nvPr/>
          </p:nvSpPr>
          <p:spPr bwMode="auto">
            <a:xfrm>
              <a:off x="-4997450" y="4475163"/>
              <a:ext cx="685800" cy="231775"/>
            </a:xfrm>
            <a:custGeom>
              <a:avLst/>
              <a:gdLst>
                <a:gd name="T0" fmla="*/ 126 w 183"/>
                <a:gd name="T1" fmla="*/ 27 h 62"/>
                <a:gd name="T2" fmla="*/ 95 w 183"/>
                <a:gd name="T3" fmla="*/ 1 h 62"/>
                <a:gd name="T4" fmla="*/ 92 w 183"/>
                <a:gd name="T5" fmla="*/ 0 h 62"/>
                <a:gd name="T6" fmla="*/ 91 w 183"/>
                <a:gd name="T7" fmla="*/ 0 h 62"/>
                <a:gd name="T8" fmla="*/ 91 w 183"/>
                <a:gd name="T9" fmla="*/ 0 h 62"/>
                <a:gd name="T10" fmla="*/ 88 w 183"/>
                <a:gd name="T11" fmla="*/ 1 h 62"/>
                <a:gd name="T12" fmla="*/ 57 w 183"/>
                <a:gd name="T13" fmla="*/ 27 h 62"/>
                <a:gd name="T14" fmla="*/ 0 w 183"/>
                <a:gd name="T15" fmla="*/ 58 h 62"/>
                <a:gd name="T16" fmla="*/ 0 w 183"/>
                <a:gd name="T17" fmla="*/ 62 h 62"/>
                <a:gd name="T18" fmla="*/ 183 w 183"/>
                <a:gd name="T19" fmla="*/ 62 h 62"/>
                <a:gd name="T20" fmla="*/ 183 w 183"/>
                <a:gd name="T21" fmla="*/ 58 h 62"/>
                <a:gd name="T22" fmla="*/ 126 w 183"/>
                <a:gd name="T23" fmla="*/ 27 h 62"/>
                <a:gd name="T24" fmla="*/ 9 w 183"/>
                <a:gd name="T25" fmla="*/ 58 h 62"/>
                <a:gd name="T26" fmla="*/ 91 w 183"/>
                <a:gd name="T27" fmla="*/ 17 h 62"/>
                <a:gd name="T28" fmla="*/ 91 w 183"/>
                <a:gd name="T29" fmla="*/ 17 h 62"/>
                <a:gd name="T30" fmla="*/ 92 w 183"/>
                <a:gd name="T31" fmla="*/ 17 h 62"/>
                <a:gd name="T32" fmla="*/ 174 w 183"/>
                <a:gd name="T33" fmla="*/ 58 h 62"/>
                <a:gd name="T34" fmla="*/ 9 w 183"/>
                <a:gd name="T35" fmla="*/ 5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3" h="62">
                  <a:moveTo>
                    <a:pt x="126" y="27"/>
                  </a:moveTo>
                  <a:cubicBezTo>
                    <a:pt x="116" y="19"/>
                    <a:pt x="105" y="5"/>
                    <a:pt x="95" y="1"/>
                  </a:cubicBezTo>
                  <a:cubicBezTo>
                    <a:pt x="94" y="1"/>
                    <a:pt x="93" y="0"/>
                    <a:pt x="92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0" y="0"/>
                    <a:pt x="89" y="1"/>
                    <a:pt x="88" y="1"/>
                  </a:cubicBezTo>
                  <a:cubicBezTo>
                    <a:pt x="78" y="5"/>
                    <a:pt x="67" y="19"/>
                    <a:pt x="57" y="27"/>
                  </a:cubicBezTo>
                  <a:cubicBezTo>
                    <a:pt x="31" y="39"/>
                    <a:pt x="0" y="51"/>
                    <a:pt x="0" y="58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83" y="62"/>
                    <a:pt x="183" y="62"/>
                    <a:pt x="183" y="62"/>
                  </a:cubicBezTo>
                  <a:cubicBezTo>
                    <a:pt x="183" y="62"/>
                    <a:pt x="183" y="62"/>
                    <a:pt x="183" y="58"/>
                  </a:cubicBezTo>
                  <a:cubicBezTo>
                    <a:pt x="183" y="51"/>
                    <a:pt x="151" y="39"/>
                    <a:pt x="126" y="27"/>
                  </a:cubicBezTo>
                  <a:close/>
                  <a:moveTo>
                    <a:pt x="9" y="58"/>
                  </a:moveTo>
                  <a:cubicBezTo>
                    <a:pt x="91" y="17"/>
                    <a:pt x="91" y="17"/>
                    <a:pt x="91" y="17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9" y="5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9" name="Oval 31"/>
            <p:cNvSpPr>
              <a:spLocks noChangeArrowheads="1"/>
            </p:cNvSpPr>
            <p:nvPr/>
          </p:nvSpPr>
          <p:spPr bwMode="auto">
            <a:xfrm>
              <a:off x="-4672013" y="4494213"/>
              <a:ext cx="30163" cy="30163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0" name="Freeform 32"/>
            <p:cNvSpPr>
              <a:spLocks/>
            </p:cNvSpPr>
            <p:nvPr/>
          </p:nvSpPr>
          <p:spPr bwMode="auto">
            <a:xfrm>
              <a:off x="-4705350" y="4354513"/>
              <a:ext cx="109538" cy="112713"/>
            </a:xfrm>
            <a:custGeom>
              <a:avLst/>
              <a:gdLst>
                <a:gd name="T0" fmla="*/ 14 w 29"/>
                <a:gd name="T1" fmla="*/ 30 h 30"/>
                <a:gd name="T2" fmla="*/ 11 w 29"/>
                <a:gd name="T3" fmla="*/ 30 h 30"/>
                <a:gd name="T4" fmla="*/ 11 w 29"/>
                <a:gd name="T5" fmla="*/ 18 h 30"/>
                <a:gd name="T6" fmla="*/ 14 w 29"/>
                <a:gd name="T7" fmla="*/ 18 h 30"/>
                <a:gd name="T8" fmla="*/ 18 w 29"/>
                <a:gd name="T9" fmla="*/ 17 h 30"/>
                <a:gd name="T10" fmla="*/ 20 w 29"/>
                <a:gd name="T11" fmla="*/ 12 h 30"/>
                <a:gd name="T12" fmla="*/ 18 w 29"/>
                <a:gd name="T13" fmla="*/ 8 h 30"/>
                <a:gd name="T14" fmla="*/ 14 w 29"/>
                <a:gd name="T15" fmla="*/ 7 h 30"/>
                <a:gd name="T16" fmla="*/ 11 w 29"/>
                <a:gd name="T17" fmla="*/ 8 h 30"/>
                <a:gd name="T18" fmla="*/ 9 w 29"/>
                <a:gd name="T19" fmla="*/ 12 h 30"/>
                <a:gd name="T20" fmla="*/ 9 w 29"/>
                <a:gd name="T21" fmla="*/ 13 h 30"/>
                <a:gd name="T22" fmla="*/ 0 w 29"/>
                <a:gd name="T23" fmla="*/ 13 h 30"/>
                <a:gd name="T24" fmla="*/ 2 w 29"/>
                <a:gd name="T25" fmla="*/ 7 h 30"/>
                <a:gd name="T26" fmla="*/ 6 w 29"/>
                <a:gd name="T27" fmla="*/ 2 h 30"/>
                <a:gd name="T28" fmla="*/ 15 w 29"/>
                <a:gd name="T29" fmla="*/ 0 h 30"/>
                <a:gd name="T30" fmla="*/ 26 w 29"/>
                <a:gd name="T31" fmla="*/ 4 h 30"/>
                <a:gd name="T32" fmla="*/ 29 w 29"/>
                <a:gd name="T33" fmla="*/ 13 h 30"/>
                <a:gd name="T34" fmla="*/ 26 w 29"/>
                <a:gd name="T35" fmla="*/ 21 h 30"/>
                <a:gd name="T36" fmla="*/ 18 w 29"/>
                <a:gd name="T37" fmla="*/ 24 h 30"/>
                <a:gd name="T38" fmla="*/ 17 w 29"/>
                <a:gd name="T39" fmla="*/ 24 h 30"/>
                <a:gd name="T40" fmla="*/ 14 w 29"/>
                <a:gd name="T4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" h="30">
                  <a:moveTo>
                    <a:pt x="14" y="30"/>
                  </a:moveTo>
                  <a:cubicBezTo>
                    <a:pt x="11" y="30"/>
                    <a:pt x="11" y="30"/>
                    <a:pt x="11" y="30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2" y="18"/>
                    <a:pt x="13" y="18"/>
                    <a:pt x="14" y="18"/>
                  </a:cubicBezTo>
                  <a:cubicBezTo>
                    <a:pt x="15" y="18"/>
                    <a:pt x="17" y="18"/>
                    <a:pt x="18" y="17"/>
                  </a:cubicBezTo>
                  <a:cubicBezTo>
                    <a:pt x="19" y="16"/>
                    <a:pt x="20" y="14"/>
                    <a:pt x="20" y="12"/>
                  </a:cubicBezTo>
                  <a:cubicBezTo>
                    <a:pt x="20" y="11"/>
                    <a:pt x="19" y="9"/>
                    <a:pt x="18" y="8"/>
                  </a:cubicBezTo>
                  <a:cubicBezTo>
                    <a:pt x="17" y="7"/>
                    <a:pt x="16" y="7"/>
                    <a:pt x="14" y="7"/>
                  </a:cubicBezTo>
                  <a:cubicBezTo>
                    <a:pt x="13" y="7"/>
                    <a:pt x="11" y="7"/>
                    <a:pt x="11" y="8"/>
                  </a:cubicBezTo>
                  <a:cubicBezTo>
                    <a:pt x="10" y="9"/>
                    <a:pt x="9" y="11"/>
                    <a:pt x="9" y="12"/>
                  </a:cubicBezTo>
                  <a:cubicBezTo>
                    <a:pt x="9" y="12"/>
                    <a:pt x="9" y="13"/>
                    <a:pt x="9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1"/>
                    <a:pt x="1" y="9"/>
                    <a:pt x="2" y="7"/>
                  </a:cubicBezTo>
                  <a:cubicBezTo>
                    <a:pt x="2" y="5"/>
                    <a:pt x="4" y="4"/>
                    <a:pt x="6" y="2"/>
                  </a:cubicBezTo>
                  <a:cubicBezTo>
                    <a:pt x="9" y="1"/>
                    <a:pt x="12" y="0"/>
                    <a:pt x="15" y="0"/>
                  </a:cubicBezTo>
                  <a:cubicBezTo>
                    <a:pt x="20" y="0"/>
                    <a:pt x="23" y="2"/>
                    <a:pt x="26" y="4"/>
                  </a:cubicBezTo>
                  <a:cubicBezTo>
                    <a:pt x="28" y="6"/>
                    <a:pt x="29" y="9"/>
                    <a:pt x="29" y="13"/>
                  </a:cubicBezTo>
                  <a:cubicBezTo>
                    <a:pt x="29" y="16"/>
                    <a:pt x="28" y="19"/>
                    <a:pt x="26" y="21"/>
                  </a:cubicBezTo>
                  <a:cubicBezTo>
                    <a:pt x="24" y="23"/>
                    <a:pt x="21" y="24"/>
                    <a:pt x="18" y="24"/>
                  </a:cubicBezTo>
                  <a:cubicBezTo>
                    <a:pt x="18" y="24"/>
                    <a:pt x="17" y="24"/>
                    <a:pt x="17" y="24"/>
                  </a:cubicBezTo>
                  <a:lnTo>
                    <a:pt x="14" y="3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1" name="Freeform 33"/>
            <p:cNvSpPr>
              <a:spLocks/>
            </p:cNvSpPr>
            <p:nvPr/>
          </p:nvSpPr>
          <p:spPr bwMode="auto">
            <a:xfrm>
              <a:off x="-4821238" y="4637088"/>
              <a:ext cx="330200" cy="438150"/>
            </a:xfrm>
            <a:custGeom>
              <a:avLst/>
              <a:gdLst>
                <a:gd name="T0" fmla="*/ 88 w 88"/>
                <a:gd name="T1" fmla="*/ 107 h 117"/>
                <a:gd name="T2" fmla="*/ 78 w 88"/>
                <a:gd name="T3" fmla="*/ 117 h 117"/>
                <a:gd name="T4" fmla="*/ 10 w 88"/>
                <a:gd name="T5" fmla="*/ 117 h 117"/>
                <a:gd name="T6" fmla="*/ 0 w 88"/>
                <a:gd name="T7" fmla="*/ 107 h 117"/>
                <a:gd name="T8" fmla="*/ 0 w 88"/>
                <a:gd name="T9" fmla="*/ 11 h 117"/>
                <a:gd name="T10" fmla="*/ 10 w 88"/>
                <a:gd name="T11" fmla="*/ 0 h 117"/>
                <a:gd name="T12" fmla="*/ 78 w 88"/>
                <a:gd name="T13" fmla="*/ 0 h 117"/>
                <a:gd name="T14" fmla="*/ 88 w 88"/>
                <a:gd name="T15" fmla="*/ 11 h 117"/>
                <a:gd name="T16" fmla="*/ 88 w 88"/>
                <a:gd name="T17" fmla="*/ 10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117">
                  <a:moveTo>
                    <a:pt x="88" y="107"/>
                  </a:moveTo>
                  <a:cubicBezTo>
                    <a:pt x="88" y="112"/>
                    <a:pt x="84" y="117"/>
                    <a:pt x="78" y="117"/>
                  </a:cubicBezTo>
                  <a:cubicBezTo>
                    <a:pt x="10" y="117"/>
                    <a:pt x="10" y="117"/>
                    <a:pt x="10" y="117"/>
                  </a:cubicBezTo>
                  <a:cubicBezTo>
                    <a:pt x="4" y="117"/>
                    <a:pt x="0" y="112"/>
                    <a:pt x="0" y="10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4" y="0"/>
                    <a:pt x="88" y="5"/>
                    <a:pt x="88" y="11"/>
                  </a:cubicBezTo>
                  <a:lnTo>
                    <a:pt x="88" y="10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4" name="Group 101"/>
          <p:cNvGrpSpPr/>
          <p:nvPr>
            <p:custDataLst>
              <p:tags r:id="rId17"/>
            </p:custDataLst>
          </p:nvPr>
        </p:nvGrpSpPr>
        <p:grpSpPr>
          <a:xfrm>
            <a:off x="2907031" y="1916082"/>
            <a:ext cx="408167" cy="228051"/>
            <a:chOff x="-3778250" y="3316288"/>
            <a:chExt cx="892175" cy="498475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03" name="Freeform 34"/>
            <p:cNvSpPr>
              <a:spLocks noEditPoints="1"/>
            </p:cNvSpPr>
            <p:nvPr/>
          </p:nvSpPr>
          <p:spPr bwMode="auto">
            <a:xfrm>
              <a:off x="-3554413" y="3319463"/>
              <a:ext cx="487363" cy="492125"/>
            </a:xfrm>
            <a:custGeom>
              <a:avLst/>
              <a:gdLst>
                <a:gd name="T0" fmla="*/ 65 w 130"/>
                <a:gd name="T1" fmla="*/ 0 h 131"/>
                <a:gd name="T2" fmla="*/ 0 w 130"/>
                <a:gd name="T3" fmla="*/ 66 h 131"/>
                <a:gd name="T4" fmla="*/ 65 w 130"/>
                <a:gd name="T5" fmla="*/ 131 h 131"/>
                <a:gd name="T6" fmla="*/ 130 w 130"/>
                <a:gd name="T7" fmla="*/ 66 h 131"/>
                <a:gd name="T8" fmla="*/ 65 w 130"/>
                <a:gd name="T9" fmla="*/ 0 h 131"/>
                <a:gd name="T10" fmla="*/ 65 w 130"/>
                <a:gd name="T11" fmla="*/ 117 h 131"/>
                <a:gd name="T12" fmla="*/ 13 w 130"/>
                <a:gd name="T13" fmla="*/ 66 h 131"/>
                <a:gd name="T14" fmla="*/ 65 w 130"/>
                <a:gd name="T15" fmla="*/ 14 h 131"/>
                <a:gd name="T16" fmla="*/ 116 w 130"/>
                <a:gd name="T17" fmla="*/ 66 h 131"/>
                <a:gd name="T18" fmla="*/ 65 w 130"/>
                <a:gd name="T19" fmla="*/ 11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31">
                  <a:moveTo>
                    <a:pt x="65" y="0"/>
                  </a:moveTo>
                  <a:cubicBezTo>
                    <a:pt x="29" y="0"/>
                    <a:pt x="0" y="30"/>
                    <a:pt x="0" y="66"/>
                  </a:cubicBezTo>
                  <a:cubicBezTo>
                    <a:pt x="0" y="101"/>
                    <a:pt x="29" y="131"/>
                    <a:pt x="65" y="131"/>
                  </a:cubicBezTo>
                  <a:cubicBezTo>
                    <a:pt x="101" y="131"/>
                    <a:pt x="130" y="101"/>
                    <a:pt x="130" y="66"/>
                  </a:cubicBezTo>
                  <a:cubicBezTo>
                    <a:pt x="130" y="30"/>
                    <a:pt x="101" y="0"/>
                    <a:pt x="65" y="0"/>
                  </a:cubicBezTo>
                  <a:close/>
                  <a:moveTo>
                    <a:pt x="65" y="117"/>
                  </a:moveTo>
                  <a:cubicBezTo>
                    <a:pt x="36" y="117"/>
                    <a:pt x="13" y="94"/>
                    <a:pt x="13" y="66"/>
                  </a:cubicBezTo>
                  <a:cubicBezTo>
                    <a:pt x="13" y="37"/>
                    <a:pt x="36" y="14"/>
                    <a:pt x="65" y="14"/>
                  </a:cubicBezTo>
                  <a:cubicBezTo>
                    <a:pt x="93" y="14"/>
                    <a:pt x="116" y="37"/>
                    <a:pt x="116" y="66"/>
                  </a:cubicBezTo>
                  <a:cubicBezTo>
                    <a:pt x="116" y="94"/>
                    <a:pt x="93" y="117"/>
                    <a:pt x="65" y="11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4" name="Oval 35"/>
            <p:cNvSpPr>
              <a:spLocks noChangeArrowheads="1"/>
            </p:cNvSpPr>
            <p:nvPr/>
          </p:nvSpPr>
          <p:spPr bwMode="auto">
            <a:xfrm>
              <a:off x="-3467100" y="3409950"/>
              <a:ext cx="311150" cy="311150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5" name="Freeform 36"/>
            <p:cNvSpPr>
              <a:spLocks/>
            </p:cNvSpPr>
            <p:nvPr/>
          </p:nvSpPr>
          <p:spPr bwMode="auto">
            <a:xfrm>
              <a:off x="-3778250" y="3316288"/>
              <a:ext cx="168275" cy="498475"/>
            </a:xfrm>
            <a:custGeom>
              <a:avLst/>
              <a:gdLst>
                <a:gd name="T0" fmla="*/ 45 w 45"/>
                <a:gd name="T1" fmla="*/ 33 h 133"/>
                <a:gd name="T2" fmla="*/ 22 w 45"/>
                <a:gd name="T3" fmla="*/ 0 h 133"/>
                <a:gd name="T4" fmla="*/ 0 w 45"/>
                <a:gd name="T5" fmla="*/ 33 h 133"/>
                <a:gd name="T6" fmla="*/ 16 w 45"/>
                <a:gd name="T7" fmla="*/ 57 h 133"/>
                <a:gd name="T8" fmla="*/ 14 w 45"/>
                <a:gd name="T9" fmla="*/ 133 h 133"/>
                <a:gd name="T10" fmla="*/ 31 w 45"/>
                <a:gd name="T11" fmla="*/ 133 h 133"/>
                <a:gd name="T12" fmla="*/ 28 w 45"/>
                <a:gd name="T13" fmla="*/ 57 h 133"/>
                <a:gd name="T14" fmla="*/ 45 w 45"/>
                <a:gd name="T15" fmla="*/ 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133">
                  <a:moveTo>
                    <a:pt x="45" y="33"/>
                  </a:moveTo>
                  <a:cubicBezTo>
                    <a:pt x="45" y="17"/>
                    <a:pt x="35" y="0"/>
                    <a:pt x="22" y="0"/>
                  </a:cubicBezTo>
                  <a:cubicBezTo>
                    <a:pt x="10" y="0"/>
                    <a:pt x="0" y="17"/>
                    <a:pt x="0" y="33"/>
                  </a:cubicBezTo>
                  <a:cubicBezTo>
                    <a:pt x="0" y="46"/>
                    <a:pt x="7" y="55"/>
                    <a:pt x="16" y="57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38" y="55"/>
                    <a:pt x="45" y="46"/>
                    <a:pt x="45" y="3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6" name="Freeform 37"/>
            <p:cNvSpPr>
              <a:spLocks/>
            </p:cNvSpPr>
            <p:nvPr/>
          </p:nvSpPr>
          <p:spPr bwMode="auto">
            <a:xfrm>
              <a:off x="-3036888" y="3319463"/>
              <a:ext cx="150813" cy="492125"/>
            </a:xfrm>
            <a:custGeom>
              <a:avLst/>
              <a:gdLst>
                <a:gd name="T0" fmla="*/ 40 w 40"/>
                <a:gd name="T1" fmla="*/ 39 h 131"/>
                <a:gd name="T2" fmla="*/ 37 w 40"/>
                <a:gd name="T3" fmla="*/ 15 h 131"/>
                <a:gd name="T4" fmla="*/ 31 w 40"/>
                <a:gd name="T5" fmla="*/ 1 h 131"/>
                <a:gd name="T6" fmla="*/ 31 w 40"/>
                <a:gd name="T7" fmla="*/ 31 h 131"/>
                <a:gd name="T8" fmla="*/ 27 w 40"/>
                <a:gd name="T9" fmla="*/ 31 h 131"/>
                <a:gd name="T10" fmla="*/ 27 w 40"/>
                <a:gd name="T11" fmla="*/ 0 h 131"/>
                <a:gd name="T12" fmla="*/ 22 w 40"/>
                <a:gd name="T13" fmla="*/ 0 h 131"/>
                <a:gd name="T14" fmla="*/ 22 w 40"/>
                <a:gd name="T15" fmla="*/ 31 h 131"/>
                <a:gd name="T16" fmla="*/ 21 w 40"/>
                <a:gd name="T17" fmla="*/ 31 h 131"/>
                <a:gd name="T18" fmla="*/ 21 w 40"/>
                <a:gd name="T19" fmla="*/ 31 h 131"/>
                <a:gd name="T20" fmla="*/ 17 w 40"/>
                <a:gd name="T21" fmla="*/ 31 h 131"/>
                <a:gd name="T22" fmla="*/ 17 w 40"/>
                <a:gd name="T23" fmla="*/ 0 h 131"/>
                <a:gd name="T24" fmla="*/ 13 w 40"/>
                <a:gd name="T25" fmla="*/ 0 h 131"/>
                <a:gd name="T26" fmla="*/ 13 w 40"/>
                <a:gd name="T27" fmla="*/ 31 h 131"/>
                <a:gd name="T28" fmla="*/ 8 w 40"/>
                <a:gd name="T29" fmla="*/ 31 h 131"/>
                <a:gd name="T30" fmla="*/ 8 w 40"/>
                <a:gd name="T31" fmla="*/ 1 h 131"/>
                <a:gd name="T32" fmla="*/ 2 w 40"/>
                <a:gd name="T33" fmla="*/ 15 h 131"/>
                <a:gd name="T34" fmla="*/ 0 w 40"/>
                <a:gd name="T35" fmla="*/ 39 h 131"/>
                <a:gd name="T36" fmla="*/ 14 w 40"/>
                <a:gd name="T37" fmla="*/ 56 h 131"/>
                <a:gd name="T38" fmla="*/ 11 w 40"/>
                <a:gd name="T39" fmla="*/ 131 h 131"/>
                <a:gd name="T40" fmla="*/ 28 w 40"/>
                <a:gd name="T41" fmla="*/ 131 h 131"/>
                <a:gd name="T42" fmla="*/ 26 w 40"/>
                <a:gd name="T43" fmla="*/ 56 h 131"/>
                <a:gd name="T44" fmla="*/ 40 w 40"/>
                <a:gd name="T45" fmla="*/ 3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131">
                  <a:moveTo>
                    <a:pt x="40" y="39"/>
                  </a:moveTo>
                  <a:cubicBezTo>
                    <a:pt x="37" y="15"/>
                    <a:pt x="37" y="15"/>
                    <a:pt x="37" y="15"/>
                  </a:cubicBezTo>
                  <a:cubicBezTo>
                    <a:pt x="37" y="10"/>
                    <a:pt x="35" y="4"/>
                    <a:pt x="31" y="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4" y="0"/>
                    <a:pt x="22" y="0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0"/>
                    <a:pt x="13" y="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4"/>
                    <a:pt x="2" y="10"/>
                    <a:pt x="2" y="1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7"/>
                    <a:pt x="5" y="54"/>
                    <a:pt x="14" y="56"/>
                  </a:cubicBezTo>
                  <a:cubicBezTo>
                    <a:pt x="11" y="131"/>
                    <a:pt x="11" y="131"/>
                    <a:pt x="11" y="131"/>
                  </a:cubicBezTo>
                  <a:cubicBezTo>
                    <a:pt x="28" y="131"/>
                    <a:pt x="28" y="131"/>
                    <a:pt x="28" y="131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34" y="54"/>
                    <a:pt x="40" y="47"/>
                    <a:pt x="40" y="3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11" name="Freeform 45"/>
          <p:cNvSpPr>
            <a:spLocks noEditPoints="1"/>
          </p:cNvSpPr>
          <p:nvPr>
            <p:custDataLst>
              <p:tags r:id="rId18"/>
            </p:custDataLst>
          </p:nvPr>
        </p:nvSpPr>
        <p:spPr bwMode="auto">
          <a:xfrm>
            <a:off x="3251200" y="1065213"/>
            <a:ext cx="277813" cy="422275"/>
          </a:xfrm>
          <a:custGeom>
            <a:avLst/>
            <a:gdLst>
              <a:gd name="T0" fmla="*/ 266 w 266"/>
              <a:gd name="T1" fmla="*/ 133 h 403"/>
              <a:gd name="T2" fmla="*/ 133 w 266"/>
              <a:gd name="T3" fmla="*/ 0 h 403"/>
              <a:gd name="T4" fmla="*/ 0 w 266"/>
              <a:gd name="T5" fmla="*/ 133 h 403"/>
              <a:gd name="T6" fmla="*/ 2 w 266"/>
              <a:gd name="T7" fmla="*/ 156 h 403"/>
              <a:gd name="T8" fmla="*/ 19 w 266"/>
              <a:gd name="T9" fmla="*/ 203 h 403"/>
              <a:gd name="T10" fmla="*/ 19 w 266"/>
              <a:gd name="T11" fmla="*/ 203 h 403"/>
              <a:gd name="T12" fmla="*/ 133 w 266"/>
              <a:gd name="T13" fmla="*/ 403 h 403"/>
              <a:gd name="T14" fmla="*/ 133 w 266"/>
              <a:gd name="T15" fmla="*/ 403 h 403"/>
              <a:gd name="T16" fmla="*/ 133 w 266"/>
              <a:gd name="T17" fmla="*/ 403 h 403"/>
              <a:gd name="T18" fmla="*/ 247 w 266"/>
              <a:gd name="T19" fmla="*/ 203 h 403"/>
              <a:gd name="T20" fmla="*/ 247 w 266"/>
              <a:gd name="T21" fmla="*/ 203 h 403"/>
              <a:gd name="T22" fmla="*/ 266 w 266"/>
              <a:gd name="T23" fmla="*/ 133 h 403"/>
              <a:gd name="T24" fmla="*/ 133 w 266"/>
              <a:gd name="T25" fmla="*/ 189 h 403"/>
              <a:gd name="T26" fmla="*/ 76 w 266"/>
              <a:gd name="T27" fmla="*/ 131 h 403"/>
              <a:gd name="T28" fmla="*/ 133 w 266"/>
              <a:gd name="T29" fmla="*/ 74 h 403"/>
              <a:gd name="T30" fmla="*/ 190 w 266"/>
              <a:gd name="T31" fmla="*/ 131 h 403"/>
              <a:gd name="T32" fmla="*/ 133 w 266"/>
              <a:gd name="T33" fmla="*/ 189 h 4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66" h="403">
                <a:moveTo>
                  <a:pt x="266" y="133"/>
                </a:moveTo>
                <a:cubicBezTo>
                  <a:pt x="266" y="60"/>
                  <a:pt x="207" y="0"/>
                  <a:pt x="133" y="0"/>
                </a:cubicBezTo>
                <a:cubicBezTo>
                  <a:pt x="59" y="0"/>
                  <a:pt x="0" y="60"/>
                  <a:pt x="0" y="133"/>
                </a:cubicBezTo>
                <a:cubicBezTo>
                  <a:pt x="0" y="141"/>
                  <a:pt x="0" y="149"/>
                  <a:pt x="2" y="156"/>
                </a:cubicBezTo>
                <a:cubicBezTo>
                  <a:pt x="4" y="173"/>
                  <a:pt x="11" y="189"/>
                  <a:pt x="19" y="203"/>
                </a:cubicBezTo>
                <a:cubicBezTo>
                  <a:pt x="19" y="203"/>
                  <a:pt x="19" y="203"/>
                  <a:pt x="19" y="203"/>
                </a:cubicBezTo>
                <a:cubicBezTo>
                  <a:pt x="133" y="403"/>
                  <a:pt x="133" y="403"/>
                  <a:pt x="133" y="403"/>
                </a:cubicBezTo>
                <a:cubicBezTo>
                  <a:pt x="133" y="403"/>
                  <a:pt x="133" y="403"/>
                  <a:pt x="133" y="403"/>
                </a:cubicBezTo>
                <a:cubicBezTo>
                  <a:pt x="133" y="403"/>
                  <a:pt x="133" y="403"/>
                  <a:pt x="133" y="403"/>
                </a:cubicBezTo>
                <a:cubicBezTo>
                  <a:pt x="247" y="203"/>
                  <a:pt x="247" y="203"/>
                  <a:pt x="247" y="203"/>
                </a:cubicBezTo>
                <a:cubicBezTo>
                  <a:pt x="247" y="203"/>
                  <a:pt x="247" y="203"/>
                  <a:pt x="247" y="203"/>
                </a:cubicBezTo>
                <a:cubicBezTo>
                  <a:pt x="259" y="182"/>
                  <a:pt x="266" y="159"/>
                  <a:pt x="266" y="133"/>
                </a:cubicBezTo>
                <a:close/>
                <a:moveTo>
                  <a:pt x="133" y="189"/>
                </a:moveTo>
                <a:cubicBezTo>
                  <a:pt x="101" y="189"/>
                  <a:pt x="76" y="163"/>
                  <a:pt x="76" y="131"/>
                </a:cubicBezTo>
                <a:cubicBezTo>
                  <a:pt x="76" y="100"/>
                  <a:pt x="101" y="74"/>
                  <a:pt x="133" y="74"/>
                </a:cubicBezTo>
                <a:cubicBezTo>
                  <a:pt x="165" y="74"/>
                  <a:pt x="190" y="100"/>
                  <a:pt x="190" y="131"/>
                </a:cubicBezTo>
                <a:cubicBezTo>
                  <a:pt x="190" y="163"/>
                  <a:pt x="165" y="189"/>
                  <a:pt x="133" y="189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6" name="Group 111"/>
          <p:cNvGrpSpPr/>
          <p:nvPr>
            <p:custDataLst>
              <p:tags r:id="rId19"/>
            </p:custDataLst>
          </p:nvPr>
        </p:nvGrpSpPr>
        <p:grpSpPr>
          <a:xfrm flipH="1">
            <a:off x="470431" y="1002375"/>
            <a:ext cx="286880" cy="182826"/>
            <a:chOff x="-5124450" y="3267075"/>
            <a:chExt cx="936625" cy="596901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13" name="Oval 27"/>
            <p:cNvSpPr>
              <a:spLocks noChangeArrowheads="1"/>
            </p:cNvSpPr>
            <p:nvPr/>
          </p:nvSpPr>
          <p:spPr bwMode="auto">
            <a:xfrm>
              <a:off x="-4978400" y="3671888"/>
              <a:ext cx="187325" cy="192088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4" name="Oval 28"/>
            <p:cNvSpPr>
              <a:spLocks noChangeArrowheads="1"/>
            </p:cNvSpPr>
            <p:nvPr/>
          </p:nvSpPr>
          <p:spPr bwMode="auto">
            <a:xfrm>
              <a:off x="-4494213" y="3671888"/>
              <a:ext cx="187325" cy="192088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5" name="Freeform 29"/>
            <p:cNvSpPr>
              <a:spLocks noEditPoints="1"/>
            </p:cNvSpPr>
            <p:nvPr/>
          </p:nvSpPr>
          <p:spPr bwMode="auto">
            <a:xfrm>
              <a:off x="-5124450" y="3267075"/>
              <a:ext cx="936625" cy="533400"/>
            </a:xfrm>
            <a:custGeom>
              <a:avLst/>
              <a:gdLst>
                <a:gd name="T0" fmla="*/ 203 w 250"/>
                <a:gd name="T1" fmla="*/ 69 h 142"/>
                <a:gd name="T2" fmla="*/ 203 w 250"/>
                <a:gd name="T3" fmla="*/ 66 h 142"/>
                <a:gd name="T4" fmla="*/ 130 w 250"/>
                <a:gd name="T5" fmla="*/ 0 h 142"/>
                <a:gd name="T6" fmla="*/ 96 w 250"/>
                <a:gd name="T7" fmla="*/ 0 h 142"/>
                <a:gd name="T8" fmla="*/ 34 w 250"/>
                <a:gd name="T9" fmla="*/ 39 h 142"/>
                <a:gd name="T10" fmla="*/ 32 w 250"/>
                <a:gd name="T11" fmla="*/ 53 h 142"/>
                <a:gd name="T12" fmla="*/ 0 w 250"/>
                <a:gd name="T13" fmla="*/ 105 h 142"/>
                <a:gd name="T14" fmla="*/ 0 w 250"/>
                <a:gd name="T15" fmla="*/ 105 h 142"/>
                <a:gd name="T16" fmla="*/ 33 w 250"/>
                <a:gd name="T17" fmla="*/ 140 h 142"/>
                <a:gd name="T18" fmla="*/ 32 w 250"/>
                <a:gd name="T19" fmla="*/ 133 h 142"/>
                <a:gd name="T20" fmla="*/ 64 w 250"/>
                <a:gd name="T21" fmla="*/ 100 h 142"/>
                <a:gd name="T22" fmla="*/ 96 w 250"/>
                <a:gd name="T23" fmla="*/ 133 h 142"/>
                <a:gd name="T24" fmla="*/ 95 w 250"/>
                <a:gd name="T25" fmla="*/ 142 h 142"/>
                <a:gd name="T26" fmla="*/ 162 w 250"/>
                <a:gd name="T27" fmla="*/ 142 h 142"/>
                <a:gd name="T28" fmla="*/ 160 w 250"/>
                <a:gd name="T29" fmla="*/ 133 h 142"/>
                <a:gd name="T30" fmla="*/ 193 w 250"/>
                <a:gd name="T31" fmla="*/ 100 h 142"/>
                <a:gd name="T32" fmla="*/ 225 w 250"/>
                <a:gd name="T33" fmla="*/ 133 h 142"/>
                <a:gd name="T34" fmla="*/ 224 w 250"/>
                <a:gd name="T35" fmla="*/ 137 h 142"/>
                <a:gd name="T36" fmla="*/ 250 w 250"/>
                <a:gd name="T37" fmla="*/ 105 h 142"/>
                <a:gd name="T38" fmla="*/ 250 w 250"/>
                <a:gd name="T39" fmla="*/ 105 h 142"/>
                <a:gd name="T40" fmla="*/ 203 w 250"/>
                <a:gd name="T41" fmla="*/ 69 h 142"/>
                <a:gd name="T42" fmla="*/ 182 w 250"/>
                <a:gd name="T43" fmla="*/ 68 h 142"/>
                <a:gd name="T44" fmla="*/ 69 w 250"/>
                <a:gd name="T45" fmla="*/ 68 h 142"/>
                <a:gd name="T46" fmla="*/ 69 w 250"/>
                <a:gd name="T47" fmla="*/ 48 h 142"/>
                <a:gd name="T48" fmla="*/ 106 w 250"/>
                <a:gd name="T49" fmla="*/ 11 h 142"/>
                <a:gd name="T50" fmla="*/ 129 w 250"/>
                <a:gd name="T51" fmla="*/ 11 h 142"/>
                <a:gd name="T52" fmla="*/ 182 w 250"/>
                <a:gd name="T53" fmla="*/ 58 h 142"/>
                <a:gd name="T54" fmla="*/ 182 w 250"/>
                <a:gd name="T55" fmla="*/ 6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0" h="142">
                  <a:moveTo>
                    <a:pt x="203" y="69"/>
                  </a:moveTo>
                  <a:cubicBezTo>
                    <a:pt x="203" y="66"/>
                    <a:pt x="203" y="66"/>
                    <a:pt x="203" y="66"/>
                  </a:cubicBezTo>
                  <a:cubicBezTo>
                    <a:pt x="203" y="37"/>
                    <a:pt x="158" y="0"/>
                    <a:pt x="13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67" y="0"/>
                    <a:pt x="34" y="11"/>
                    <a:pt x="34" y="39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6" y="54"/>
                    <a:pt x="0" y="85"/>
                    <a:pt x="0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21"/>
                    <a:pt x="14" y="135"/>
                    <a:pt x="33" y="140"/>
                  </a:cubicBezTo>
                  <a:cubicBezTo>
                    <a:pt x="32" y="137"/>
                    <a:pt x="32" y="135"/>
                    <a:pt x="32" y="133"/>
                  </a:cubicBezTo>
                  <a:cubicBezTo>
                    <a:pt x="32" y="115"/>
                    <a:pt x="46" y="100"/>
                    <a:pt x="64" y="100"/>
                  </a:cubicBezTo>
                  <a:cubicBezTo>
                    <a:pt x="82" y="100"/>
                    <a:pt x="96" y="115"/>
                    <a:pt x="96" y="133"/>
                  </a:cubicBezTo>
                  <a:cubicBezTo>
                    <a:pt x="96" y="136"/>
                    <a:pt x="96" y="139"/>
                    <a:pt x="95" y="142"/>
                  </a:cubicBezTo>
                  <a:cubicBezTo>
                    <a:pt x="162" y="142"/>
                    <a:pt x="162" y="142"/>
                    <a:pt x="162" y="142"/>
                  </a:cubicBezTo>
                  <a:cubicBezTo>
                    <a:pt x="161" y="139"/>
                    <a:pt x="160" y="136"/>
                    <a:pt x="160" y="133"/>
                  </a:cubicBezTo>
                  <a:cubicBezTo>
                    <a:pt x="160" y="115"/>
                    <a:pt x="175" y="100"/>
                    <a:pt x="193" y="100"/>
                  </a:cubicBezTo>
                  <a:cubicBezTo>
                    <a:pt x="210" y="100"/>
                    <a:pt x="225" y="115"/>
                    <a:pt x="225" y="133"/>
                  </a:cubicBezTo>
                  <a:cubicBezTo>
                    <a:pt x="225" y="134"/>
                    <a:pt x="225" y="136"/>
                    <a:pt x="224" y="137"/>
                  </a:cubicBezTo>
                  <a:cubicBezTo>
                    <a:pt x="240" y="131"/>
                    <a:pt x="250" y="119"/>
                    <a:pt x="250" y="105"/>
                  </a:cubicBezTo>
                  <a:cubicBezTo>
                    <a:pt x="250" y="105"/>
                    <a:pt x="250" y="105"/>
                    <a:pt x="250" y="105"/>
                  </a:cubicBezTo>
                  <a:cubicBezTo>
                    <a:pt x="250" y="85"/>
                    <a:pt x="229" y="69"/>
                    <a:pt x="203" y="69"/>
                  </a:cubicBezTo>
                  <a:close/>
                  <a:moveTo>
                    <a:pt x="182" y="68"/>
                  </a:moveTo>
                  <a:cubicBezTo>
                    <a:pt x="69" y="68"/>
                    <a:pt x="69" y="68"/>
                    <a:pt x="69" y="6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28"/>
                    <a:pt x="86" y="11"/>
                    <a:pt x="106" y="11"/>
                  </a:cubicBezTo>
                  <a:cubicBezTo>
                    <a:pt x="129" y="11"/>
                    <a:pt x="129" y="11"/>
                    <a:pt x="129" y="11"/>
                  </a:cubicBezTo>
                  <a:cubicBezTo>
                    <a:pt x="149" y="11"/>
                    <a:pt x="182" y="37"/>
                    <a:pt x="182" y="58"/>
                  </a:cubicBezTo>
                  <a:lnTo>
                    <a:pt x="182" y="6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7" name="Group 115"/>
          <p:cNvGrpSpPr/>
          <p:nvPr>
            <p:custDataLst>
              <p:tags r:id="rId20"/>
            </p:custDataLst>
          </p:nvPr>
        </p:nvGrpSpPr>
        <p:grpSpPr>
          <a:xfrm>
            <a:off x="44187" y="1288457"/>
            <a:ext cx="582692" cy="325562"/>
            <a:chOff x="-3778250" y="3316288"/>
            <a:chExt cx="892175" cy="498475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17" name="Freeform 34"/>
            <p:cNvSpPr>
              <a:spLocks noEditPoints="1"/>
            </p:cNvSpPr>
            <p:nvPr/>
          </p:nvSpPr>
          <p:spPr bwMode="auto">
            <a:xfrm>
              <a:off x="-3554413" y="3319463"/>
              <a:ext cx="487363" cy="492125"/>
            </a:xfrm>
            <a:custGeom>
              <a:avLst/>
              <a:gdLst>
                <a:gd name="T0" fmla="*/ 65 w 130"/>
                <a:gd name="T1" fmla="*/ 0 h 131"/>
                <a:gd name="T2" fmla="*/ 0 w 130"/>
                <a:gd name="T3" fmla="*/ 66 h 131"/>
                <a:gd name="T4" fmla="*/ 65 w 130"/>
                <a:gd name="T5" fmla="*/ 131 h 131"/>
                <a:gd name="T6" fmla="*/ 130 w 130"/>
                <a:gd name="T7" fmla="*/ 66 h 131"/>
                <a:gd name="T8" fmla="*/ 65 w 130"/>
                <a:gd name="T9" fmla="*/ 0 h 131"/>
                <a:gd name="T10" fmla="*/ 65 w 130"/>
                <a:gd name="T11" fmla="*/ 117 h 131"/>
                <a:gd name="T12" fmla="*/ 13 w 130"/>
                <a:gd name="T13" fmla="*/ 66 h 131"/>
                <a:gd name="T14" fmla="*/ 65 w 130"/>
                <a:gd name="T15" fmla="*/ 14 h 131"/>
                <a:gd name="T16" fmla="*/ 116 w 130"/>
                <a:gd name="T17" fmla="*/ 66 h 131"/>
                <a:gd name="T18" fmla="*/ 65 w 130"/>
                <a:gd name="T19" fmla="*/ 11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31">
                  <a:moveTo>
                    <a:pt x="65" y="0"/>
                  </a:moveTo>
                  <a:cubicBezTo>
                    <a:pt x="29" y="0"/>
                    <a:pt x="0" y="30"/>
                    <a:pt x="0" y="66"/>
                  </a:cubicBezTo>
                  <a:cubicBezTo>
                    <a:pt x="0" y="101"/>
                    <a:pt x="29" y="131"/>
                    <a:pt x="65" y="131"/>
                  </a:cubicBezTo>
                  <a:cubicBezTo>
                    <a:pt x="101" y="131"/>
                    <a:pt x="130" y="101"/>
                    <a:pt x="130" y="66"/>
                  </a:cubicBezTo>
                  <a:cubicBezTo>
                    <a:pt x="130" y="30"/>
                    <a:pt x="101" y="0"/>
                    <a:pt x="65" y="0"/>
                  </a:cubicBezTo>
                  <a:close/>
                  <a:moveTo>
                    <a:pt x="65" y="117"/>
                  </a:moveTo>
                  <a:cubicBezTo>
                    <a:pt x="36" y="117"/>
                    <a:pt x="13" y="94"/>
                    <a:pt x="13" y="66"/>
                  </a:cubicBezTo>
                  <a:cubicBezTo>
                    <a:pt x="13" y="37"/>
                    <a:pt x="36" y="14"/>
                    <a:pt x="65" y="14"/>
                  </a:cubicBezTo>
                  <a:cubicBezTo>
                    <a:pt x="93" y="14"/>
                    <a:pt x="116" y="37"/>
                    <a:pt x="116" y="66"/>
                  </a:cubicBezTo>
                  <a:cubicBezTo>
                    <a:pt x="116" y="94"/>
                    <a:pt x="93" y="117"/>
                    <a:pt x="65" y="11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8" name="Oval 35"/>
            <p:cNvSpPr>
              <a:spLocks noChangeArrowheads="1"/>
            </p:cNvSpPr>
            <p:nvPr/>
          </p:nvSpPr>
          <p:spPr bwMode="auto">
            <a:xfrm>
              <a:off x="-3467100" y="3409950"/>
              <a:ext cx="311150" cy="311150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9" name="Freeform 36"/>
            <p:cNvSpPr>
              <a:spLocks/>
            </p:cNvSpPr>
            <p:nvPr/>
          </p:nvSpPr>
          <p:spPr bwMode="auto">
            <a:xfrm>
              <a:off x="-3778250" y="3316288"/>
              <a:ext cx="168275" cy="498475"/>
            </a:xfrm>
            <a:custGeom>
              <a:avLst/>
              <a:gdLst>
                <a:gd name="T0" fmla="*/ 45 w 45"/>
                <a:gd name="T1" fmla="*/ 33 h 133"/>
                <a:gd name="T2" fmla="*/ 22 w 45"/>
                <a:gd name="T3" fmla="*/ 0 h 133"/>
                <a:gd name="T4" fmla="*/ 0 w 45"/>
                <a:gd name="T5" fmla="*/ 33 h 133"/>
                <a:gd name="T6" fmla="*/ 16 w 45"/>
                <a:gd name="T7" fmla="*/ 57 h 133"/>
                <a:gd name="T8" fmla="*/ 14 w 45"/>
                <a:gd name="T9" fmla="*/ 133 h 133"/>
                <a:gd name="T10" fmla="*/ 31 w 45"/>
                <a:gd name="T11" fmla="*/ 133 h 133"/>
                <a:gd name="T12" fmla="*/ 28 w 45"/>
                <a:gd name="T13" fmla="*/ 57 h 133"/>
                <a:gd name="T14" fmla="*/ 45 w 45"/>
                <a:gd name="T15" fmla="*/ 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133">
                  <a:moveTo>
                    <a:pt x="45" y="33"/>
                  </a:moveTo>
                  <a:cubicBezTo>
                    <a:pt x="45" y="17"/>
                    <a:pt x="35" y="0"/>
                    <a:pt x="22" y="0"/>
                  </a:cubicBezTo>
                  <a:cubicBezTo>
                    <a:pt x="10" y="0"/>
                    <a:pt x="0" y="17"/>
                    <a:pt x="0" y="33"/>
                  </a:cubicBezTo>
                  <a:cubicBezTo>
                    <a:pt x="0" y="46"/>
                    <a:pt x="7" y="55"/>
                    <a:pt x="16" y="57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38" y="55"/>
                    <a:pt x="45" y="46"/>
                    <a:pt x="45" y="3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0" name="Freeform 37"/>
            <p:cNvSpPr>
              <a:spLocks/>
            </p:cNvSpPr>
            <p:nvPr/>
          </p:nvSpPr>
          <p:spPr bwMode="auto">
            <a:xfrm>
              <a:off x="-3036888" y="3319463"/>
              <a:ext cx="150813" cy="492125"/>
            </a:xfrm>
            <a:custGeom>
              <a:avLst/>
              <a:gdLst>
                <a:gd name="T0" fmla="*/ 40 w 40"/>
                <a:gd name="T1" fmla="*/ 39 h 131"/>
                <a:gd name="T2" fmla="*/ 37 w 40"/>
                <a:gd name="T3" fmla="*/ 15 h 131"/>
                <a:gd name="T4" fmla="*/ 31 w 40"/>
                <a:gd name="T5" fmla="*/ 1 h 131"/>
                <a:gd name="T6" fmla="*/ 31 w 40"/>
                <a:gd name="T7" fmla="*/ 31 h 131"/>
                <a:gd name="T8" fmla="*/ 27 w 40"/>
                <a:gd name="T9" fmla="*/ 31 h 131"/>
                <a:gd name="T10" fmla="*/ 27 w 40"/>
                <a:gd name="T11" fmla="*/ 0 h 131"/>
                <a:gd name="T12" fmla="*/ 22 w 40"/>
                <a:gd name="T13" fmla="*/ 0 h 131"/>
                <a:gd name="T14" fmla="*/ 22 w 40"/>
                <a:gd name="T15" fmla="*/ 31 h 131"/>
                <a:gd name="T16" fmla="*/ 21 w 40"/>
                <a:gd name="T17" fmla="*/ 31 h 131"/>
                <a:gd name="T18" fmla="*/ 21 w 40"/>
                <a:gd name="T19" fmla="*/ 31 h 131"/>
                <a:gd name="T20" fmla="*/ 17 w 40"/>
                <a:gd name="T21" fmla="*/ 31 h 131"/>
                <a:gd name="T22" fmla="*/ 17 w 40"/>
                <a:gd name="T23" fmla="*/ 0 h 131"/>
                <a:gd name="T24" fmla="*/ 13 w 40"/>
                <a:gd name="T25" fmla="*/ 0 h 131"/>
                <a:gd name="T26" fmla="*/ 13 w 40"/>
                <a:gd name="T27" fmla="*/ 31 h 131"/>
                <a:gd name="T28" fmla="*/ 8 w 40"/>
                <a:gd name="T29" fmla="*/ 31 h 131"/>
                <a:gd name="T30" fmla="*/ 8 w 40"/>
                <a:gd name="T31" fmla="*/ 1 h 131"/>
                <a:gd name="T32" fmla="*/ 2 w 40"/>
                <a:gd name="T33" fmla="*/ 15 h 131"/>
                <a:gd name="T34" fmla="*/ 0 w 40"/>
                <a:gd name="T35" fmla="*/ 39 h 131"/>
                <a:gd name="T36" fmla="*/ 14 w 40"/>
                <a:gd name="T37" fmla="*/ 56 h 131"/>
                <a:gd name="T38" fmla="*/ 11 w 40"/>
                <a:gd name="T39" fmla="*/ 131 h 131"/>
                <a:gd name="T40" fmla="*/ 28 w 40"/>
                <a:gd name="T41" fmla="*/ 131 h 131"/>
                <a:gd name="T42" fmla="*/ 26 w 40"/>
                <a:gd name="T43" fmla="*/ 56 h 131"/>
                <a:gd name="T44" fmla="*/ 40 w 40"/>
                <a:gd name="T45" fmla="*/ 3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131">
                  <a:moveTo>
                    <a:pt x="40" y="39"/>
                  </a:moveTo>
                  <a:cubicBezTo>
                    <a:pt x="37" y="15"/>
                    <a:pt x="37" y="15"/>
                    <a:pt x="37" y="15"/>
                  </a:cubicBezTo>
                  <a:cubicBezTo>
                    <a:pt x="37" y="10"/>
                    <a:pt x="35" y="4"/>
                    <a:pt x="31" y="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4" y="0"/>
                    <a:pt x="22" y="0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0"/>
                    <a:pt x="13" y="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4"/>
                    <a:pt x="2" y="10"/>
                    <a:pt x="2" y="1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7"/>
                    <a:pt x="5" y="54"/>
                    <a:pt x="14" y="56"/>
                  </a:cubicBezTo>
                  <a:cubicBezTo>
                    <a:pt x="11" y="131"/>
                    <a:pt x="11" y="131"/>
                    <a:pt x="11" y="131"/>
                  </a:cubicBezTo>
                  <a:cubicBezTo>
                    <a:pt x="28" y="131"/>
                    <a:pt x="28" y="131"/>
                    <a:pt x="28" y="131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34" y="54"/>
                    <a:pt x="40" y="47"/>
                    <a:pt x="40" y="3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8" name="Group 120"/>
          <p:cNvGrpSpPr/>
          <p:nvPr>
            <p:custDataLst>
              <p:tags r:id="rId21"/>
            </p:custDataLst>
          </p:nvPr>
        </p:nvGrpSpPr>
        <p:grpSpPr>
          <a:xfrm>
            <a:off x="75623" y="1759793"/>
            <a:ext cx="229122" cy="155492"/>
            <a:chOff x="-1341438" y="968375"/>
            <a:chExt cx="795338" cy="539751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22" name="Freeform 38"/>
            <p:cNvSpPr>
              <a:spLocks/>
            </p:cNvSpPr>
            <p:nvPr/>
          </p:nvSpPr>
          <p:spPr bwMode="auto">
            <a:xfrm>
              <a:off x="-1341438" y="1392238"/>
              <a:ext cx="795338" cy="115888"/>
            </a:xfrm>
            <a:custGeom>
              <a:avLst/>
              <a:gdLst>
                <a:gd name="T0" fmla="*/ 0 w 212"/>
                <a:gd name="T1" fmla="*/ 17 h 31"/>
                <a:gd name="T2" fmla="*/ 14 w 212"/>
                <a:gd name="T3" fmla="*/ 31 h 31"/>
                <a:gd name="T4" fmla="*/ 197 w 212"/>
                <a:gd name="T5" fmla="*/ 31 h 31"/>
                <a:gd name="T6" fmla="*/ 212 w 212"/>
                <a:gd name="T7" fmla="*/ 17 h 31"/>
                <a:gd name="T8" fmla="*/ 212 w 212"/>
                <a:gd name="T9" fmla="*/ 0 h 31"/>
                <a:gd name="T10" fmla="*/ 0 w 212"/>
                <a:gd name="T11" fmla="*/ 0 h 31"/>
                <a:gd name="T12" fmla="*/ 0 w 212"/>
                <a:gd name="T13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2" h="31">
                  <a:moveTo>
                    <a:pt x="0" y="17"/>
                  </a:moveTo>
                  <a:cubicBezTo>
                    <a:pt x="0" y="25"/>
                    <a:pt x="6" y="31"/>
                    <a:pt x="14" y="31"/>
                  </a:cubicBezTo>
                  <a:cubicBezTo>
                    <a:pt x="197" y="31"/>
                    <a:pt x="197" y="31"/>
                    <a:pt x="197" y="31"/>
                  </a:cubicBezTo>
                  <a:cubicBezTo>
                    <a:pt x="205" y="31"/>
                    <a:pt x="212" y="25"/>
                    <a:pt x="212" y="17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3" name="Rectangle 39"/>
            <p:cNvSpPr>
              <a:spLocks noChangeArrowheads="1"/>
            </p:cNvSpPr>
            <p:nvPr/>
          </p:nvSpPr>
          <p:spPr bwMode="auto">
            <a:xfrm>
              <a:off x="-1341438" y="1235075"/>
              <a:ext cx="795338" cy="12700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4" name="Freeform 40"/>
            <p:cNvSpPr>
              <a:spLocks noEditPoints="1"/>
            </p:cNvSpPr>
            <p:nvPr/>
          </p:nvSpPr>
          <p:spPr bwMode="auto">
            <a:xfrm>
              <a:off x="-1341438" y="968375"/>
              <a:ext cx="795338" cy="236538"/>
            </a:xfrm>
            <a:custGeom>
              <a:avLst/>
              <a:gdLst>
                <a:gd name="T0" fmla="*/ 197 w 212"/>
                <a:gd name="T1" fmla="*/ 0 h 63"/>
                <a:gd name="T2" fmla="*/ 14 w 212"/>
                <a:gd name="T3" fmla="*/ 0 h 63"/>
                <a:gd name="T4" fmla="*/ 0 w 212"/>
                <a:gd name="T5" fmla="*/ 14 h 63"/>
                <a:gd name="T6" fmla="*/ 0 w 212"/>
                <a:gd name="T7" fmla="*/ 63 h 63"/>
                <a:gd name="T8" fmla="*/ 212 w 212"/>
                <a:gd name="T9" fmla="*/ 63 h 63"/>
                <a:gd name="T10" fmla="*/ 212 w 212"/>
                <a:gd name="T11" fmla="*/ 14 h 63"/>
                <a:gd name="T12" fmla="*/ 197 w 212"/>
                <a:gd name="T13" fmla="*/ 0 h 63"/>
                <a:gd name="T14" fmla="*/ 26 w 212"/>
                <a:gd name="T15" fmla="*/ 14 h 63"/>
                <a:gd name="T16" fmla="*/ 87 w 212"/>
                <a:gd name="T17" fmla="*/ 14 h 63"/>
                <a:gd name="T18" fmla="*/ 87 w 212"/>
                <a:gd name="T19" fmla="*/ 25 h 63"/>
                <a:gd name="T20" fmla="*/ 26 w 212"/>
                <a:gd name="T21" fmla="*/ 25 h 63"/>
                <a:gd name="T22" fmla="*/ 26 w 212"/>
                <a:gd name="T23" fmla="*/ 14 h 63"/>
                <a:gd name="T24" fmla="*/ 26 w 212"/>
                <a:gd name="T25" fmla="*/ 28 h 63"/>
                <a:gd name="T26" fmla="*/ 97 w 212"/>
                <a:gd name="T27" fmla="*/ 28 h 63"/>
                <a:gd name="T28" fmla="*/ 97 w 212"/>
                <a:gd name="T29" fmla="*/ 39 h 63"/>
                <a:gd name="T30" fmla="*/ 26 w 212"/>
                <a:gd name="T31" fmla="*/ 39 h 63"/>
                <a:gd name="T32" fmla="*/ 26 w 212"/>
                <a:gd name="T33" fmla="*/ 28 h 63"/>
                <a:gd name="T34" fmla="*/ 102 w 212"/>
                <a:gd name="T35" fmla="*/ 54 h 63"/>
                <a:gd name="T36" fmla="*/ 26 w 212"/>
                <a:gd name="T37" fmla="*/ 54 h 63"/>
                <a:gd name="T38" fmla="*/ 26 w 212"/>
                <a:gd name="T39" fmla="*/ 43 h 63"/>
                <a:gd name="T40" fmla="*/ 102 w 212"/>
                <a:gd name="T41" fmla="*/ 43 h 63"/>
                <a:gd name="T42" fmla="*/ 102 w 212"/>
                <a:gd name="T43" fmla="*/ 5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2" h="63">
                  <a:moveTo>
                    <a:pt x="197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2" y="14"/>
                    <a:pt x="212" y="14"/>
                    <a:pt x="212" y="14"/>
                  </a:cubicBezTo>
                  <a:cubicBezTo>
                    <a:pt x="212" y="6"/>
                    <a:pt x="205" y="0"/>
                    <a:pt x="197" y="0"/>
                  </a:cubicBezTo>
                  <a:close/>
                  <a:moveTo>
                    <a:pt x="26" y="14"/>
                  </a:moveTo>
                  <a:cubicBezTo>
                    <a:pt x="87" y="14"/>
                    <a:pt x="87" y="14"/>
                    <a:pt x="87" y="14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26" y="25"/>
                    <a:pt x="26" y="25"/>
                    <a:pt x="26" y="25"/>
                  </a:cubicBezTo>
                  <a:lnTo>
                    <a:pt x="26" y="14"/>
                  </a:lnTo>
                  <a:close/>
                  <a:moveTo>
                    <a:pt x="26" y="28"/>
                  </a:moveTo>
                  <a:cubicBezTo>
                    <a:pt x="97" y="28"/>
                    <a:pt x="97" y="28"/>
                    <a:pt x="97" y="28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26" y="39"/>
                    <a:pt x="26" y="39"/>
                    <a:pt x="26" y="39"/>
                  </a:cubicBezTo>
                  <a:lnTo>
                    <a:pt x="26" y="28"/>
                  </a:lnTo>
                  <a:close/>
                  <a:moveTo>
                    <a:pt x="102" y="54"/>
                  </a:moveTo>
                  <a:cubicBezTo>
                    <a:pt x="26" y="54"/>
                    <a:pt x="26" y="54"/>
                    <a:pt x="26" y="54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102" y="43"/>
                    <a:pt x="102" y="43"/>
                    <a:pt x="102" y="43"/>
                  </a:cubicBezTo>
                  <a:lnTo>
                    <a:pt x="102" y="5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25" name="Freeform 45"/>
          <p:cNvSpPr>
            <a:spLocks noEditPoints="1"/>
          </p:cNvSpPr>
          <p:nvPr>
            <p:custDataLst>
              <p:tags r:id="rId22"/>
            </p:custDataLst>
          </p:nvPr>
        </p:nvSpPr>
        <p:spPr bwMode="auto">
          <a:xfrm>
            <a:off x="47625" y="2079625"/>
            <a:ext cx="292100" cy="441325"/>
          </a:xfrm>
          <a:custGeom>
            <a:avLst/>
            <a:gdLst>
              <a:gd name="T0" fmla="*/ 266 w 266"/>
              <a:gd name="T1" fmla="*/ 133 h 403"/>
              <a:gd name="T2" fmla="*/ 133 w 266"/>
              <a:gd name="T3" fmla="*/ 0 h 403"/>
              <a:gd name="T4" fmla="*/ 0 w 266"/>
              <a:gd name="T5" fmla="*/ 133 h 403"/>
              <a:gd name="T6" fmla="*/ 2 w 266"/>
              <a:gd name="T7" fmla="*/ 156 h 403"/>
              <a:gd name="T8" fmla="*/ 19 w 266"/>
              <a:gd name="T9" fmla="*/ 203 h 403"/>
              <a:gd name="T10" fmla="*/ 19 w 266"/>
              <a:gd name="T11" fmla="*/ 203 h 403"/>
              <a:gd name="T12" fmla="*/ 133 w 266"/>
              <a:gd name="T13" fmla="*/ 403 h 403"/>
              <a:gd name="T14" fmla="*/ 133 w 266"/>
              <a:gd name="T15" fmla="*/ 403 h 403"/>
              <a:gd name="T16" fmla="*/ 133 w 266"/>
              <a:gd name="T17" fmla="*/ 403 h 403"/>
              <a:gd name="T18" fmla="*/ 247 w 266"/>
              <a:gd name="T19" fmla="*/ 203 h 403"/>
              <a:gd name="T20" fmla="*/ 247 w 266"/>
              <a:gd name="T21" fmla="*/ 203 h 403"/>
              <a:gd name="T22" fmla="*/ 266 w 266"/>
              <a:gd name="T23" fmla="*/ 133 h 403"/>
              <a:gd name="T24" fmla="*/ 133 w 266"/>
              <a:gd name="T25" fmla="*/ 189 h 403"/>
              <a:gd name="T26" fmla="*/ 76 w 266"/>
              <a:gd name="T27" fmla="*/ 131 h 403"/>
              <a:gd name="T28" fmla="*/ 133 w 266"/>
              <a:gd name="T29" fmla="*/ 74 h 403"/>
              <a:gd name="T30" fmla="*/ 190 w 266"/>
              <a:gd name="T31" fmla="*/ 131 h 403"/>
              <a:gd name="T32" fmla="*/ 133 w 266"/>
              <a:gd name="T33" fmla="*/ 189 h 4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66" h="403">
                <a:moveTo>
                  <a:pt x="266" y="133"/>
                </a:moveTo>
                <a:cubicBezTo>
                  <a:pt x="266" y="60"/>
                  <a:pt x="207" y="0"/>
                  <a:pt x="133" y="0"/>
                </a:cubicBezTo>
                <a:cubicBezTo>
                  <a:pt x="59" y="0"/>
                  <a:pt x="0" y="60"/>
                  <a:pt x="0" y="133"/>
                </a:cubicBezTo>
                <a:cubicBezTo>
                  <a:pt x="0" y="141"/>
                  <a:pt x="0" y="149"/>
                  <a:pt x="2" y="156"/>
                </a:cubicBezTo>
                <a:cubicBezTo>
                  <a:pt x="4" y="173"/>
                  <a:pt x="11" y="189"/>
                  <a:pt x="19" y="203"/>
                </a:cubicBezTo>
                <a:cubicBezTo>
                  <a:pt x="19" y="203"/>
                  <a:pt x="19" y="203"/>
                  <a:pt x="19" y="203"/>
                </a:cubicBezTo>
                <a:cubicBezTo>
                  <a:pt x="133" y="403"/>
                  <a:pt x="133" y="403"/>
                  <a:pt x="133" y="403"/>
                </a:cubicBezTo>
                <a:cubicBezTo>
                  <a:pt x="133" y="403"/>
                  <a:pt x="133" y="403"/>
                  <a:pt x="133" y="403"/>
                </a:cubicBezTo>
                <a:cubicBezTo>
                  <a:pt x="133" y="403"/>
                  <a:pt x="133" y="403"/>
                  <a:pt x="133" y="403"/>
                </a:cubicBezTo>
                <a:cubicBezTo>
                  <a:pt x="247" y="203"/>
                  <a:pt x="247" y="203"/>
                  <a:pt x="247" y="203"/>
                </a:cubicBezTo>
                <a:cubicBezTo>
                  <a:pt x="247" y="203"/>
                  <a:pt x="247" y="203"/>
                  <a:pt x="247" y="203"/>
                </a:cubicBezTo>
                <a:cubicBezTo>
                  <a:pt x="259" y="182"/>
                  <a:pt x="266" y="159"/>
                  <a:pt x="266" y="133"/>
                </a:cubicBezTo>
                <a:close/>
                <a:moveTo>
                  <a:pt x="133" y="189"/>
                </a:moveTo>
                <a:cubicBezTo>
                  <a:pt x="101" y="189"/>
                  <a:pt x="76" y="163"/>
                  <a:pt x="76" y="131"/>
                </a:cubicBezTo>
                <a:cubicBezTo>
                  <a:pt x="76" y="100"/>
                  <a:pt x="101" y="74"/>
                  <a:pt x="133" y="74"/>
                </a:cubicBezTo>
                <a:cubicBezTo>
                  <a:pt x="165" y="74"/>
                  <a:pt x="190" y="100"/>
                  <a:pt x="190" y="131"/>
                </a:cubicBezTo>
                <a:cubicBezTo>
                  <a:pt x="190" y="163"/>
                  <a:pt x="165" y="189"/>
                  <a:pt x="133" y="189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9" name="Group 125"/>
          <p:cNvGrpSpPr/>
          <p:nvPr>
            <p:custDataLst>
              <p:tags r:id="rId23"/>
            </p:custDataLst>
          </p:nvPr>
        </p:nvGrpSpPr>
        <p:grpSpPr>
          <a:xfrm>
            <a:off x="367804" y="1791376"/>
            <a:ext cx="210406" cy="290118"/>
            <a:chOff x="-2284413" y="254000"/>
            <a:chExt cx="1185862" cy="1635126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27" name="Freeform 9"/>
            <p:cNvSpPr>
              <a:spLocks noEditPoints="1"/>
            </p:cNvSpPr>
            <p:nvPr/>
          </p:nvSpPr>
          <p:spPr bwMode="auto">
            <a:xfrm>
              <a:off x="-2119313" y="254000"/>
              <a:ext cx="858837" cy="1181100"/>
            </a:xfrm>
            <a:custGeom>
              <a:avLst/>
              <a:gdLst>
                <a:gd name="T0" fmla="*/ 33 w 229"/>
                <a:gd name="T1" fmla="*/ 286 h 315"/>
                <a:gd name="T2" fmla="*/ 195 w 229"/>
                <a:gd name="T3" fmla="*/ 286 h 315"/>
                <a:gd name="T4" fmla="*/ 209 w 229"/>
                <a:gd name="T5" fmla="*/ 315 h 315"/>
                <a:gd name="T6" fmla="*/ 19 w 229"/>
                <a:gd name="T7" fmla="*/ 315 h 315"/>
                <a:gd name="T8" fmla="*/ 33 w 229"/>
                <a:gd name="T9" fmla="*/ 286 h 315"/>
                <a:gd name="T10" fmla="*/ 52 w 229"/>
                <a:gd name="T11" fmla="*/ 75 h 315"/>
                <a:gd name="T12" fmla="*/ 176 w 229"/>
                <a:gd name="T13" fmla="*/ 75 h 315"/>
                <a:gd name="T14" fmla="*/ 190 w 229"/>
                <a:gd name="T15" fmla="*/ 89 h 315"/>
                <a:gd name="T16" fmla="*/ 194 w 229"/>
                <a:gd name="T17" fmla="*/ 137 h 315"/>
                <a:gd name="T18" fmla="*/ 180 w 229"/>
                <a:gd name="T19" fmla="*/ 151 h 315"/>
                <a:gd name="T20" fmla="*/ 48 w 229"/>
                <a:gd name="T21" fmla="*/ 151 h 315"/>
                <a:gd name="T22" fmla="*/ 34 w 229"/>
                <a:gd name="T23" fmla="*/ 137 h 315"/>
                <a:gd name="T24" fmla="*/ 38 w 229"/>
                <a:gd name="T25" fmla="*/ 89 h 315"/>
                <a:gd name="T26" fmla="*/ 52 w 229"/>
                <a:gd name="T27" fmla="*/ 75 h 315"/>
                <a:gd name="T28" fmla="*/ 83 w 229"/>
                <a:gd name="T29" fmla="*/ 43 h 315"/>
                <a:gd name="T30" fmla="*/ 145 w 229"/>
                <a:gd name="T31" fmla="*/ 43 h 315"/>
                <a:gd name="T32" fmla="*/ 151 w 229"/>
                <a:gd name="T33" fmla="*/ 49 h 315"/>
                <a:gd name="T34" fmla="*/ 151 w 229"/>
                <a:gd name="T35" fmla="*/ 59 h 315"/>
                <a:gd name="T36" fmla="*/ 145 w 229"/>
                <a:gd name="T37" fmla="*/ 65 h 315"/>
                <a:gd name="T38" fmla="*/ 83 w 229"/>
                <a:gd name="T39" fmla="*/ 65 h 315"/>
                <a:gd name="T40" fmla="*/ 77 w 229"/>
                <a:gd name="T41" fmla="*/ 59 h 315"/>
                <a:gd name="T42" fmla="*/ 77 w 229"/>
                <a:gd name="T43" fmla="*/ 49 h 315"/>
                <a:gd name="T44" fmla="*/ 83 w 229"/>
                <a:gd name="T45" fmla="*/ 43 h 315"/>
                <a:gd name="T46" fmla="*/ 46 w 229"/>
                <a:gd name="T47" fmla="*/ 33 h 315"/>
                <a:gd name="T48" fmla="*/ 182 w 229"/>
                <a:gd name="T49" fmla="*/ 33 h 315"/>
                <a:gd name="T50" fmla="*/ 212 w 229"/>
                <a:gd name="T51" fmla="*/ 63 h 315"/>
                <a:gd name="T52" fmla="*/ 227 w 229"/>
                <a:gd name="T53" fmla="*/ 249 h 315"/>
                <a:gd name="T54" fmla="*/ 198 w 229"/>
                <a:gd name="T55" fmla="*/ 278 h 315"/>
                <a:gd name="T56" fmla="*/ 30 w 229"/>
                <a:gd name="T57" fmla="*/ 278 h 315"/>
                <a:gd name="T58" fmla="*/ 1 w 229"/>
                <a:gd name="T59" fmla="*/ 249 h 315"/>
                <a:gd name="T60" fmla="*/ 16 w 229"/>
                <a:gd name="T61" fmla="*/ 63 h 315"/>
                <a:gd name="T62" fmla="*/ 46 w 229"/>
                <a:gd name="T63" fmla="*/ 33 h 315"/>
                <a:gd name="T64" fmla="*/ 185 w 229"/>
                <a:gd name="T65" fmla="*/ 216 h 315"/>
                <a:gd name="T66" fmla="*/ 201 w 229"/>
                <a:gd name="T67" fmla="*/ 233 h 315"/>
                <a:gd name="T68" fmla="*/ 185 w 229"/>
                <a:gd name="T69" fmla="*/ 249 h 315"/>
                <a:gd name="T70" fmla="*/ 168 w 229"/>
                <a:gd name="T71" fmla="*/ 233 h 315"/>
                <a:gd name="T72" fmla="*/ 185 w 229"/>
                <a:gd name="T73" fmla="*/ 216 h 315"/>
                <a:gd name="T74" fmla="*/ 44 w 229"/>
                <a:gd name="T75" fmla="*/ 216 h 315"/>
                <a:gd name="T76" fmla="*/ 60 w 229"/>
                <a:gd name="T77" fmla="*/ 233 h 315"/>
                <a:gd name="T78" fmla="*/ 44 w 229"/>
                <a:gd name="T79" fmla="*/ 249 h 315"/>
                <a:gd name="T80" fmla="*/ 27 w 229"/>
                <a:gd name="T81" fmla="*/ 233 h 315"/>
                <a:gd name="T82" fmla="*/ 44 w 229"/>
                <a:gd name="T83" fmla="*/ 216 h 315"/>
                <a:gd name="T84" fmla="*/ 80 w 229"/>
                <a:gd name="T85" fmla="*/ 0 h 315"/>
                <a:gd name="T86" fmla="*/ 93 w 229"/>
                <a:gd name="T87" fmla="*/ 0 h 315"/>
                <a:gd name="T88" fmla="*/ 93 w 229"/>
                <a:gd name="T89" fmla="*/ 26 h 315"/>
                <a:gd name="T90" fmla="*/ 80 w 229"/>
                <a:gd name="T91" fmla="*/ 26 h 315"/>
                <a:gd name="T92" fmla="*/ 80 w 229"/>
                <a:gd name="T93" fmla="*/ 0 h 315"/>
                <a:gd name="T94" fmla="*/ 135 w 229"/>
                <a:gd name="T95" fmla="*/ 0 h 315"/>
                <a:gd name="T96" fmla="*/ 148 w 229"/>
                <a:gd name="T97" fmla="*/ 0 h 315"/>
                <a:gd name="T98" fmla="*/ 148 w 229"/>
                <a:gd name="T99" fmla="*/ 26 h 315"/>
                <a:gd name="T100" fmla="*/ 135 w 229"/>
                <a:gd name="T101" fmla="*/ 26 h 315"/>
                <a:gd name="T102" fmla="*/ 135 w 229"/>
                <a:gd name="T103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9" h="315">
                  <a:moveTo>
                    <a:pt x="33" y="286"/>
                  </a:moveTo>
                  <a:cubicBezTo>
                    <a:pt x="195" y="286"/>
                    <a:pt x="195" y="286"/>
                    <a:pt x="195" y="286"/>
                  </a:cubicBezTo>
                  <a:cubicBezTo>
                    <a:pt x="209" y="315"/>
                    <a:pt x="209" y="315"/>
                    <a:pt x="209" y="315"/>
                  </a:cubicBezTo>
                  <a:cubicBezTo>
                    <a:pt x="19" y="315"/>
                    <a:pt x="19" y="315"/>
                    <a:pt x="19" y="315"/>
                  </a:cubicBezTo>
                  <a:cubicBezTo>
                    <a:pt x="33" y="286"/>
                    <a:pt x="33" y="286"/>
                    <a:pt x="33" y="286"/>
                  </a:cubicBezTo>
                  <a:close/>
                  <a:moveTo>
                    <a:pt x="52" y="75"/>
                  </a:moveTo>
                  <a:cubicBezTo>
                    <a:pt x="176" y="75"/>
                    <a:pt x="176" y="75"/>
                    <a:pt x="176" y="75"/>
                  </a:cubicBezTo>
                  <a:cubicBezTo>
                    <a:pt x="184" y="75"/>
                    <a:pt x="190" y="81"/>
                    <a:pt x="190" y="89"/>
                  </a:cubicBezTo>
                  <a:cubicBezTo>
                    <a:pt x="194" y="137"/>
                    <a:pt x="194" y="137"/>
                    <a:pt x="194" y="137"/>
                  </a:cubicBezTo>
                  <a:cubicBezTo>
                    <a:pt x="195" y="145"/>
                    <a:pt x="188" y="151"/>
                    <a:pt x="180" y="151"/>
                  </a:cubicBezTo>
                  <a:cubicBezTo>
                    <a:pt x="48" y="151"/>
                    <a:pt x="48" y="151"/>
                    <a:pt x="48" y="151"/>
                  </a:cubicBezTo>
                  <a:cubicBezTo>
                    <a:pt x="40" y="151"/>
                    <a:pt x="33" y="145"/>
                    <a:pt x="34" y="137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39" y="81"/>
                    <a:pt x="44" y="75"/>
                    <a:pt x="52" y="75"/>
                  </a:cubicBezTo>
                  <a:close/>
                  <a:moveTo>
                    <a:pt x="83" y="43"/>
                  </a:moveTo>
                  <a:cubicBezTo>
                    <a:pt x="145" y="43"/>
                    <a:pt x="145" y="43"/>
                    <a:pt x="145" y="43"/>
                  </a:cubicBezTo>
                  <a:cubicBezTo>
                    <a:pt x="149" y="43"/>
                    <a:pt x="151" y="46"/>
                    <a:pt x="151" y="49"/>
                  </a:cubicBezTo>
                  <a:cubicBezTo>
                    <a:pt x="151" y="59"/>
                    <a:pt x="151" y="59"/>
                    <a:pt x="151" y="59"/>
                  </a:cubicBezTo>
                  <a:cubicBezTo>
                    <a:pt x="151" y="63"/>
                    <a:pt x="149" y="65"/>
                    <a:pt x="145" y="65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80" y="65"/>
                    <a:pt x="77" y="63"/>
                    <a:pt x="77" y="59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6"/>
                    <a:pt x="80" y="43"/>
                    <a:pt x="83" y="43"/>
                  </a:cubicBezTo>
                  <a:close/>
                  <a:moveTo>
                    <a:pt x="46" y="33"/>
                  </a:moveTo>
                  <a:cubicBezTo>
                    <a:pt x="182" y="33"/>
                    <a:pt x="182" y="33"/>
                    <a:pt x="182" y="33"/>
                  </a:cubicBezTo>
                  <a:cubicBezTo>
                    <a:pt x="199" y="33"/>
                    <a:pt x="211" y="47"/>
                    <a:pt x="212" y="63"/>
                  </a:cubicBezTo>
                  <a:cubicBezTo>
                    <a:pt x="227" y="249"/>
                    <a:pt x="227" y="249"/>
                    <a:pt x="227" y="249"/>
                  </a:cubicBezTo>
                  <a:cubicBezTo>
                    <a:pt x="229" y="265"/>
                    <a:pt x="214" y="278"/>
                    <a:pt x="198" y="278"/>
                  </a:cubicBezTo>
                  <a:cubicBezTo>
                    <a:pt x="30" y="278"/>
                    <a:pt x="30" y="278"/>
                    <a:pt x="30" y="278"/>
                  </a:cubicBezTo>
                  <a:cubicBezTo>
                    <a:pt x="14" y="278"/>
                    <a:pt x="0" y="265"/>
                    <a:pt x="1" y="249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8" y="47"/>
                    <a:pt x="30" y="33"/>
                    <a:pt x="46" y="33"/>
                  </a:cubicBezTo>
                  <a:close/>
                  <a:moveTo>
                    <a:pt x="185" y="216"/>
                  </a:moveTo>
                  <a:cubicBezTo>
                    <a:pt x="194" y="216"/>
                    <a:pt x="201" y="223"/>
                    <a:pt x="201" y="233"/>
                  </a:cubicBezTo>
                  <a:cubicBezTo>
                    <a:pt x="201" y="242"/>
                    <a:pt x="194" y="249"/>
                    <a:pt x="185" y="249"/>
                  </a:cubicBezTo>
                  <a:cubicBezTo>
                    <a:pt x="176" y="249"/>
                    <a:pt x="168" y="242"/>
                    <a:pt x="168" y="233"/>
                  </a:cubicBezTo>
                  <a:cubicBezTo>
                    <a:pt x="168" y="223"/>
                    <a:pt x="176" y="216"/>
                    <a:pt x="185" y="216"/>
                  </a:cubicBezTo>
                  <a:close/>
                  <a:moveTo>
                    <a:pt x="44" y="216"/>
                  </a:moveTo>
                  <a:cubicBezTo>
                    <a:pt x="53" y="216"/>
                    <a:pt x="60" y="223"/>
                    <a:pt x="60" y="233"/>
                  </a:cubicBezTo>
                  <a:cubicBezTo>
                    <a:pt x="60" y="242"/>
                    <a:pt x="53" y="249"/>
                    <a:pt x="44" y="249"/>
                  </a:cubicBezTo>
                  <a:cubicBezTo>
                    <a:pt x="35" y="249"/>
                    <a:pt x="27" y="242"/>
                    <a:pt x="27" y="233"/>
                  </a:cubicBezTo>
                  <a:cubicBezTo>
                    <a:pt x="27" y="223"/>
                    <a:pt x="35" y="216"/>
                    <a:pt x="44" y="216"/>
                  </a:cubicBezTo>
                  <a:close/>
                  <a:moveTo>
                    <a:pt x="80" y="0"/>
                  </a:moveTo>
                  <a:cubicBezTo>
                    <a:pt x="93" y="0"/>
                    <a:pt x="93" y="0"/>
                    <a:pt x="93" y="0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0"/>
                    <a:pt x="80" y="0"/>
                    <a:pt x="80" y="0"/>
                  </a:cubicBezTo>
                  <a:close/>
                  <a:moveTo>
                    <a:pt x="135" y="0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148" y="26"/>
                    <a:pt x="148" y="26"/>
                    <a:pt x="148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0"/>
                    <a:pt x="135" y="0"/>
                    <a:pt x="135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8" name="Freeform 10"/>
            <p:cNvSpPr>
              <a:spLocks noEditPoints="1"/>
            </p:cNvSpPr>
            <p:nvPr/>
          </p:nvSpPr>
          <p:spPr bwMode="auto">
            <a:xfrm>
              <a:off x="-2284413" y="1468438"/>
              <a:ext cx="1185862" cy="420688"/>
            </a:xfrm>
            <a:custGeom>
              <a:avLst/>
              <a:gdLst>
                <a:gd name="T0" fmla="*/ 144 w 747"/>
                <a:gd name="T1" fmla="*/ 0 h 265"/>
                <a:gd name="T2" fmla="*/ 198 w 747"/>
                <a:gd name="T3" fmla="*/ 0 h 265"/>
                <a:gd name="T4" fmla="*/ 85 w 747"/>
                <a:gd name="T5" fmla="*/ 265 h 265"/>
                <a:gd name="T6" fmla="*/ 0 w 747"/>
                <a:gd name="T7" fmla="*/ 265 h 265"/>
                <a:gd name="T8" fmla="*/ 144 w 747"/>
                <a:gd name="T9" fmla="*/ 0 h 265"/>
                <a:gd name="T10" fmla="*/ 144 w 747"/>
                <a:gd name="T11" fmla="*/ 0 h 265"/>
                <a:gd name="T12" fmla="*/ 605 w 747"/>
                <a:gd name="T13" fmla="*/ 0 h 265"/>
                <a:gd name="T14" fmla="*/ 550 w 747"/>
                <a:gd name="T15" fmla="*/ 0 h 265"/>
                <a:gd name="T16" fmla="*/ 661 w 747"/>
                <a:gd name="T17" fmla="*/ 265 h 265"/>
                <a:gd name="T18" fmla="*/ 747 w 747"/>
                <a:gd name="T19" fmla="*/ 265 h 265"/>
                <a:gd name="T20" fmla="*/ 605 w 747"/>
                <a:gd name="T21" fmla="*/ 0 h 265"/>
                <a:gd name="T22" fmla="*/ 605 w 747"/>
                <a:gd name="T23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7" h="265">
                  <a:moveTo>
                    <a:pt x="144" y="0"/>
                  </a:moveTo>
                  <a:lnTo>
                    <a:pt x="198" y="0"/>
                  </a:lnTo>
                  <a:lnTo>
                    <a:pt x="85" y="265"/>
                  </a:lnTo>
                  <a:lnTo>
                    <a:pt x="0" y="265"/>
                  </a:lnTo>
                  <a:lnTo>
                    <a:pt x="144" y="0"/>
                  </a:lnTo>
                  <a:lnTo>
                    <a:pt x="144" y="0"/>
                  </a:lnTo>
                  <a:close/>
                  <a:moveTo>
                    <a:pt x="605" y="0"/>
                  </a:moveTo>
                  <a:lnTo>
                    <a:pt x="550" y="0"/>
                  </a:lnTo>
                  <a:lnTo>
                    <a:pt x="661" y="265"/>
                  </a:lnTo>
                  <a:lnTo>
                    <a:pt x="747" y="265"/>
                  </a:lnTo>
                  <a:lnTo>
                    <a:pt x="605" y="0"/>
                  </a:lnTo>
                  <a:lnTo>
                    <a:pt x="60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29" name="Freeform 35"/>
          <p:cNvSpPr>
            <a:spLocks noEditPoints="1"/>
          </p:cNvSpPr>
          <p:nvPr>
            <p:custDataLst>
              <p:tags r:id="rId24"/>
            </p:custDataLst>
          </p:nvPr>
        </p:nvSpPr>
        <p:spPr bwMode="auto">
          <a:xfrm>
            <a:off x="61913" y="704850"/>
            <a:ext cx="374650" cy="303213"/>
          </a:xfrm>
          <a:custGeom>
            <a:avLst/>
            <a:gdLst>
              <a:gd name="T0" fmla="*/ 92 w 430"/>
              <a:gd name="T1" fmla="*/ 49 h 348"/>
              <a:gd name="T2" fmla="*/ 71 w 430"/>
              <a:gd name="T3" fmla="*/ 31 h 348"/>
              <a:gd name="T4" fmla="*/ 32 w 430"/>
              <a:gd name="T5" fmla="*/ 11 h 348"/>
              <a:gd name="T6" fmla="*/ 24 w 430"/>
              <a:gd name="T7" fmla="*/ 31 h 348"/>
              <a:gd name="T8" fmla="*/ 134 w 430"/>
              <a:gd name="T9" fmla="*/ 240 h 348"/>
              <a:gd name="T10" fmla="*/ 155 w 430"/>
              <a:gd name="T11" fmla="*/ 289 h 348"/>
              <a:gd name="T12" fmla="*/ 141 w 430"/>
              <a:gd name="T13" fmla="*/ 314 h 348"/>
              <a:gd name="T14" fmla="*/ 140 w 430"/>
              <a:gd name="T15" fmla="*/ 320 h 348"/>
              <a:gd name="T16" fmla="*/ 195 w 430"/>
              <a:gd name="T17" fmla="*/ 317 h 348"/>
              <a:gd name="T18" fmla="*/ 181 w 430"/>
              <a:gd name="T19" fmla="*/ 295 h 348"/>
              <a:gd name="T20" fmla="*/ 340 w 430"/>
              <a:gd name="T21" fmla="*/ 291 h 348"/>
              <a:gd name="T22" fmla="*/ 381 w 430"/>
              <a:gd name="T23" fmla="*/ 320 h 348"/>
              <a:gd name="T24" fmla="*/ 387 w 430"/>
              <a:gd name="T25" fmla="*/ 289 h 348"/>
              <a:gd name="T26" fmla="*/ 393 w 430"/>
              <a:gd name="T27" fmla="*/ 274 h 348"/>
              <a:gd name="T28" fmla="*/ 390 w 430"/>
              <a:gd name="T29" fmla="*/ 273 h 348"/>
              <a:gd name="T30" fmla="*/ 135 w 430"/>
              <a:gd name="T31" fmla="*/ 272 h 348"/>
              <a:gd name="T32" fmla="*/ 154 w 430"/>
              <a:gd name="T33" fmla="*/ 234 h 348"/>
              <a:gd name="T34" fmla="*/ 180 w 430"/>
              <a:gd name="T35" fmla="*/ 238 h 348"/>
              <a:gd name="T36" fmla="*/ 405 w 430"/>
              <a:gd name="T37" fmla="*/ 218 h 348"/>
              <a:gd name="T38" fmla="*/ 430 w 430"/>
              <a:gd name="T39" fmla="*/ 81 h 348"/>
              <a:gd name="T40" fmla="*/ 140 w 430"/>
              <a:gd name="T41" fmla="*/ 79 h 348"/>
              <a:gd name="T42" fmla="*/ 118 w 430"/>
              <a:gd name="T43" fmla="*/ 101 h 348"/>
              <a:gd name="T44" fmla="*/ 134 w 430"/>
              <a:gd name="T45" fmla="*/ 113 h 348"/>
              <a:gd name="T46" fmla="*/ 351 w 430"/>
              <a:gd name="T47" fmla="*/ 125 h 348"/>
              <a:gd name="T48" fmla="*/ 311 w 430"/>
              <a:gd name="T49" fmla="*/ 90 h 348"/>
              <a:gd name="T50" fmla="*/ 302 w 430"/>
              <a:gd name="T51" fmla="*/ 99 h 348"/>
              <a:gd name="T52" fmla="*/ 211 w 430"/>
              <a:gd name="T53" fmla="*/ 111 h 348"/>
              <a:gd name="T54" fmla="*/ 185 w 430"/>
              <a:gd name="T55" fmla="*/ 85 h 348"/>
              <a:gd name="T56" fmla="*/ 171 w 430"/>
              <a:gd name="T57" fmla="*/ 99 h 348"/>
              <a:gd name="T58" fmla="*/ 166 w 430"/>
              <a:gd name="T59" fmla="*/ 207 h 348"/>
              <a:gd name="T60" fmla="*/ 171 w 430"/>
              <a:gd name="T61" fmla="*/ 202 h 348"/>
              <a:gd name="T62" fmla="*/ 160 w 430"/>
              <a:gd name="T63" fmla="*/ 139 h 348"/>
              <a:gd name="T64" fmla="*/ 185 w 430"/>
              <a:gd name="T65" fmla="*/ 216 h 348"/>
              <a:gd name="T66" fmla="*/ 174 w 430"/>
              <a:gd name="T67" fmla="*/ 176 h 348"/>
              <a:gd name="T68" fmla="*/ 185 w 430"/>
              <a:gd name="T69" fmla="*/ 136 h 348"/>
              <a:gd name="T70" fmla="*/ 185 w 430"/>
              <a:gd name="T71" fmla="*/ 136 h 348"/>
              <a:gd name="T72" fmla="*/ 222 w 430"/>
              <a:gd name="T73" fmla="*/ 202 h 348"/>
              <a:gd name="T74" fmla="*/ 211 w 430"/>
              <a:gd name="T75" fmla="*/ 139 h 348"/>
              <a:gd name="T76" fmla="*/ 225 w 430"/>
              <a:gd name="T77" fmla="*/ 176 h 348"/>
              <a:gd name="T78" fmla="*/ 236 w 430"/>
              <a:gd name="T79" fmla="*/ 136 h 348"/>
              <a:gd name="T80" fmla="*/ 236 w 430"/>
              <a:gd name="T81" fmla="*/ 136 h 348"/>
              <a:gd name="T82" fmla="*/ 251 w 430"/>
              <a:gd name="T83" fmla="*/ 99 h 348"/>
              <a:gd name="T84" fmla="*/ 251 w 430"/>
              <a:gd name="T85" fmla="*/ 202 h 348"/>
              <a:gd name="T86" fmla="*/ 262 w 430"/>
              <a:gd name="T87" fmla="*/ 162 h 348"/>
              <a:gd name="T88" fmla="*/ 262 w 430"/>
              <a:gd name="T89" fmla="*/ 162 h 348"/>
              <a:gd name="T90" fmla="*/ 299 w 430"/>
              <a:gd name="T91" fmla="*/ 176 h 348"/>
              <a:gd name="T92" fmla="*/ 288 w 430"/>
              <a:gd name="T93" fmla="*/ 113 h 348"/>
              <a:gd name="T94" fmla="*/ 311 w 430"/>
              <a:gd name="T95" fmla="*/ 211 h 348"/>
              <a:gd name="T96" fmla="*/ 316 w 430"/>
              <a:gd name="T97" fmla="*/ 211 h 348"/>
              <a:gd name="T98" fmla="*/ 325 w 430"/>
              <a:gd name="T99" fmla="*/ 150 h 348"/>
              <a:gd name="T100" fmla="*/ 339 w 430"/>
              <a:gd name="T101" fmla="*/ 164 h 348"/>
              <a:gd name="T102" fmla="*/ 360 w 430"/>
              <a:gd name="T103" fmla="*/ 209 h 348"/>
              <a:gd name="T104" fmla="*/ 370 w 430"/>
              <a:gd name="T105" fmla="*/ 208 h 348"/>
              <a:gd name="T106" fmla="*/ 376 w 430"/>
              <a:gd name="T107" fmla="*/ 150 h 348"/>
              <a:gd name="T108" fmla="*/ 359 w 430"/>
              <a:gd name="T109" fmla="*/ 93 h 348"/>
              <a:gd name="T110" fmla="*/ 396 w 430"/>
              <a:gd name="T111" fmla="*/ 182 h 348"/>
              <a:gd name="T112" fmla="*/ 398 w 430"/>
              <a:gd name="T113" fmla="*/ 172 h 348"/>
              <a:gd name="T114" fmla="*/ 390 w 430"/>
              <a:gd name="T115" fmla="*/ 113 h 348"/>
              <a:gd name="T116" fmla="*/ 404 w 430"/>
              <a:gd name="T117" fmla="*/ 99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30" h="348">
                <a:moveTo>
                  <a:pt x="430" y="81"/>
                </a:moveTo>
                <a:cubicBezTo>
                  <a:pt x="430" y="78"/>
                  <a:pt x="430" y="76"/>
                  <a:pt x="428" y="74"/>
                </a:cubicBezTo>
                <a:cubicBezTo>
                  <a:pt x="427" y="72"/>
                  <a:pt x="424" y="71"/>
                  <a:pt x="422" y="71"/>
                </a:cubicBezTo>
                <a:cubicBezTo>
                  <a:pt x="92" y="49"/>
                  <a:pt x="92" y="49"/>
                  <a:pt x="92" y="49"/>
                </a:cubicBezTo>
                <a:cubicBezTo>
                  <a:pt x="89" y="48"/>
                  <a:pt x="86" y="50"/>
                  <a:pt x="84" y="52"/>
                </a:cubicBezTo>
                <a:cubicBezTo>
                  <a:pt x="83" y="54"/>
                  <a:pt x="82" y="57"/>
                  <a:pt x="83" y="59"/>
                </a:cubicBezTo>
                <a:cubicBezTo>
                  <a:pt x="83" y="59"/>
                  <a:pt x="83" y="59"/>
                  <a:pt x="83" y="59"/>
                </a:cubicBezTo>
                <a:cubicBezTo>
                  <a:pt x="71" y="31"/>
                  <a:pt x="71" y="31"/>
                  <a:pt x="71" y="31"/>
                </a:cubicBezTo>
                <a:cubicBezTo>
                  <a:pt x="71" y="29"/>
                  <a:pt x="69" y="27"/>
                  <a:pt x="67" y="26"/>
                </a:cubicBezTo>
                <a:cubicBezTo>
                  <a:pt x="58" y="22"/>
                  <a:pt x="58" y="22"/>
                  <a:pt x="58" y="22"/>
                </a:cubicBezTo>
                <a:cubicBezTo>
                  <a:pt x="58" y="22"/>
                  <a:pt x="58" y="22"/>
                  <a:pt x="58" y="22"/>
                </a:cubicBezTo>
                <a:cubicBezTo>
                  <a:pt x="32" y="11"/>
                  <a:pt x="32" y="11"/>
                  <a:pt x="32" y="11"/>
                </a:cubicBezTo>
                <a:cubicBezTo>
                  <a:pt x="30" y="4"/>
                  <a:pt x="24" y="0"/>
                  <a:pt x="17" y="0"/>
                </a:cubicBezTo>
                <a:cubicBezTo>
                  <a:pt x="8" y="0"/>
                  <a:pt x="0" y="7"/>
                  <a:pt x="0" y="16"/>
                </a:cubicBezTo>
                <a:cubicBezTo>
                  <a:pt x="0" y="25"/>
                  <a:pt x="8" y="32"/>
                  <a:pt x="17" y="32"/>
                </a:cubicBezTo>
                <a:cubicBezTo>
                  <a:pt x="19" y="32"/>
                  <a:pt x="22" y="32"/>
                  <a:pt x="24" y="31"/>
                </a:cubicBezTo>
                <a:cubicBezTo>
                  <a:pt x="49" y="41"/>
                  <a:pt x="49" y="41"/>
                  <a:pt x="49" y="41"/>
                </a:cubicBezTo>
                <a:cubicBezTo>
                  <a:pt x="49" y="41"/>
                  <a:pt x="49" y="41"/>
                  <a:pt x="49" y="41"/>
                </a:cubicBezTo>
                <a:cubicBezTo>
                  <a:pt x="55" y="43"/>
                  <a:pt x="55" y="43"/>
                  <a:pt x="55" y="43"/>
                </a:cubicBezTo>
                <a:cubicBezTo>
                  <a:pt x="134" y="240"/>
                  <a:pt x="134" y="240"/>
                  <a:pt x="134" y="240"/>
                </a:cubicBezTo>
                <a:cubicBezTo>
                  <a:pt x="113" y="276"/>
                  <a:pt x="113" y="276"/>
                  <a:pt x="113" y="276"/>
                </a:cubicBezTo>
                <a:cubicBezTo>
                  <a:pt x="111" y="279"/>
                  <a:pt x="111" y="282"/>
                  <a:pt x="113" y="284"/>
                </a:cubicBezTo>
                <a:cubicBezTo>
                  <a:pt x="114" y="287"/>
                  <a:pt x="117" y="289"/>
                  <a:pt x="120" y="289"/>
                </a:cubicBezTo>
                <a:cubicBezTo>
                  <a:pt x="155" y="289"/>
                  <a:pt x="155" y="289"/>
                  <a:pt x="155" y="289"/>
                </a:cubicBezTo>
                <a:cubicBezTo>
                  <a:pt x="155" y="291"/>
                  <a:pt x="155" y="291"/>
                  <a:pt x="155" y="291"/>
                </a:cubicBezTo>
                <a:cubicBezTo>
                  <a:pt x="155" y="295"/>
                  <a:pt x="155" y="295"/>
                  <a:pt x="155" y="295"/>
                </a:cubicBezTo>
                <a:cubicBezTo>
                  <a:pt x="148" y="299"/>
                  <a:pt x="143" y="306"/>
                  <a:pt x="141" y="314"/>
                </a:cubicBezTo>
                <a:cubicBezTo>
                  <a:pt x="141" y="314"/>
                  <a:pt x="141" y="314"/>
                  <a:pt x="141" y="314"/>
                </a:cubicBezTo>
                <a:cubicBezTo>
                  <a:pt x="141" y="314"/>
                  <a:pt x="141" y="314"/>
                  <a:pt x="141" y="314"/>
                </a:cubicBezTo>
                <a:cubicBezTo>
                  <a:pt x="141" y="315"/>
                  <a:pt x="140" y="316"/>
                  <a:pt x="140" y="316"/>
                </a:cubicBezTo>
                <a:cubicBezTo>
                  <a:pt x="140" y="317"/>
                  <a:pt x="140" y="317"/>
                  <a:pt x="140" y="317"/>
                </a:cubicBezTo>
                <a:cubicBezTo>
                  <a:pt x="140" y="318"/>
                  <a:pt x="140" y="319"/>
                  <a:pt x="140" y="320"/>
                </a:cubicBezTo>
                <a:cubicBezTo>
                  <a:pt x="140" y="335"/>
                  <a:pt x="153" y="348"/>
                  <a:pt x="168" y="348"/>
                </a:cubicBezTo>
                <a:cubicBezTo>
                  <a:pt x="183" y="348"/>
                  <a:pt x="195" y="335"/>
                  <a:pt x="195" y="320"/>
                </a:cubicBezTo>
                <a:cubicBezTo>
                  <a:pt x="195" y="319"/>
                  <a:pt x="195" y="318"/>
                  <a:pt x="195" y="317"/>
                </a:cubicBezTo>
                <a:cubicBezTo>
                  <a:pt x="195" y="317"/>
                  <a:pt x="195" y="317"/>
                  <a:pt x="195" y="317"/>
                </a:cubicBezTo>
                <a:cubicBezTo>
                  <a:pt x="195" y="316"/>
                  <a:pt x="195" y="315"/>
                  <a:pt x="195" y="314"/>
                </a:cubicBezTo>
                <a:cubicBezTo>
                  <a:pt x="195" y="314"/>
                  <a:pt x="195" y="314"/>
                  <a:pt x="195" y="314"/>
                </a:cubicBezTo>
                <a:cubicBezTo>
                  <a:pt x="195" y="314"/>
                  <a:pt x="195" y="314"/>
                  <a:pt x="195" y="314"/>
                </a:cubicBezTo>
                <a:cubicBezTo>
                  <a:pt x="193" y="306"/>
                  <a:pt x="188" y="299"/>
                  <a:pt x="181" y="295"/>
                </a:cubicBezTo>
                <a:cubicBezTo>
                  <a:pt x="181" y="291"/>
                  <a:pt x="181" y="291"/>
                  <a:pt x="181" y="291"/>
                </a:cubicBezTo>
                <a:cubicBezTo>
                  <a:pt x="181" y="289"/>
                  <a:pt x="181" y="289"/>
                  <a:pt x="181" y="289"/>
                </a:cubicBezTo>
                <a:cubicBezTo>
                  <a:pt x="340" y="289"/>
                  <a:pt x="340" y="289"/>
                  <a:pt x="340" y="289"/>
                </a:cubicBezTo>
                <a:cubicBezTo>
                  <a:pt x="340" y="291"/>
                  <a:pt x="340" y="291"/>
                  <a:pt x="340" y="291"/>
                </a:cubicBezTo>
                <a:cubicBezTo>
                  <a:pt x="340" y="295"/>
                  <a:pt x="340" y="295"/>
                  <a:pt x="340" y="295"/>
                </a:cubicBezTo>
                <a:cubicBezTo>
                  <a:pt x="331" y="300"/>
                  <a:pt x="325" y="309"/>
                  <a:pt x="325" y="320"/>
                </a:cubicBezTo>
                <a:cubicBezTo>
                  <a:pt x="325" y="335"/>
                  <a:pt x="338" y="348"/>
                  <a:pt x="353" y="348"/>
                </a:cubicBezTo>
                <a:cubicBezTo>
                  <a:pt x="368" y="348"/>
                  <a:pt x="381" y="335"/>
                  <a:pt x="381" y="320"/>
                </a:cubicBezTo>
                <a:cubicBezTo>
                  <a:pt x="381" y="309"/>
                  <a:pt x="375" y="300"/>
                  <a:pt x="366" y="295"/>
                </a:cubicBezTo>
                <a:cubicBezTo>
                  <a:pt x="366" y="291"/>
                  <a:pt x="366" y="291"/>
                  <a:pt x="366" y="291"/>
                </a:cubicBezTo>
                <a:cubicBezTo>
                  <a:pt x="366" y="289"/>
                  <a:pt x="366" y="289"/>
                  <a:pt x="366" y="289"/>
                </a:cubicBezTo>
                <a:cubicBezTo>
                  <a:pt x="387" y="289"/>
                  <a:pt x="387" y="289"/>
                  <a:pt x="387" y="289"/>
                </a:cubicBezTo>
                <a:cubicBezTo>
                  <a:pt x="391" y="289"/>
                  <a:pt x="395" y="285"/>
                  <a:pt x="395" y="280"/>
                </a:cubicBezTo>
                <a:cubicBezTo>
                  <a:pt x="395" y="278"/>
                  <a:pt x="394" y="276"/>
                  <a:pt x="393" y="275"/>
                </a:cubicBezTo>
                <a:cubicBezTo>
                  <a:pt x="393" y="275"/>
                  <a:pt x="393" y="275"/>
                  <a:pt x="393" y="275"/>
                </a:cubicBezTo>
                <a:cubicBezTo>
                  <a:pt x="393" y="274"/>
                  <a:pt x="393" y="274"/>
                  <a:pt x="393" y="274"/>
                </a:cubicBezTo>
                <a:cubicBezTo>
                  <a:pt x="392" y="274"/>
                  <a:pt x="392" y="274"/>
                  <a:pt x="392" y="274"/>
                </a:cubicBezTo>
                <a:cubicBezTo>
                  <a:pt x="392" y="274"/>
                  <a:pt x="392" y="273"/>
                  <a:pt x="391" y="273"/>
                </a:cubicBezTo>
                <a:cubicBezTo>
                  <a:pt x="391" y="273"/>
                  <a:pt x="391" y="273"/>
                  <a:pt x="390" y="273"/>
                </a:cubicBezTo>
                <a:cubicBezTo>
                  <a:pt x="390" y="273"/>
                  <a:pt x="390" y="273"/>
                  <a:pt x="390" y="273"/>
                </a:cubicBezTo>
                <a:cubicBezTo>
                  <a:pt x="390" y="272"/>
                  <a:pt x="389" y="272"/>
                  <a:pt x="389" y="272"/>
                </a:cubicBezTo>
                <a:cubicBezTo>
                  <a:pt x="389" y="272"/>
                  <a:pt x="389" y="272"/>
                  <a:pt x="388" y="272"/>
                </a:cubicBezTo>
                <a:cubicBezTo>
                  <a:pt x="388" y="272"/>
                  <a:pt x="387" y="272"/>
                  <a:pt x="387" y="272"/>
                </a:cubicBezTo>
                <a:cubicBezTo>
                  <a:pt x="135" y="272"/>
                  <a:pt x="135" y="272"/>
                  <a:pt x="135" y="272"/>
                </a:cubicBezTo>
                <a:cubicBezTo>
                  <a:pt x="153" y="242"/>
                  <a:pt x="153" y="242"/>
                  <a:pt x="153" y="242"/>
                </a:cubicBezTo>
                <a:cubicBezTo>
                  <a:pt x="153" y="242"/>
                  <a:pt x="153" y="242"/>
                  <a:pt x="153" y="242"/>
                </a:cubicBezTo>
                <a:cubicBezTo>
                  <a:pt x="153" y="242"/>
                  <a:pt x="153" y="242"/>
                  <a:pt x="153" y="242"/>
                </a:cubicBezTo>
                <a:cubicBezTo>
                  <a:pt x="154" y="240"/>
                  <a:pt x="155" y="237"/>
                  <a:pt x="154" y="234"/>
                </a:cubicBezTo>
                <a:cubicBezTo>
                  <a:pt x="148" y="220"/>
                  <a:pt x="148" y="220"/>
                  <a:pt x="148" y="220"/>
                </a:cubicBezTo>
                <a:cubicBezTo>
                  <a:pt x="148" y="220"/>
                  <a:pt x="148" y="220"/>
                  <a:pt x="148" y="220"/>
                </a:cubicBezTo>
                <a:cubicBezTo>
                  <a:pt x="175" y="237"/>
                  <a:pt x="175" y="237"/>
                  <a:pt x="175" y="237"/>
                </a:cubicBezTo>
                <a:cubicBezTo>
                  <a:pt x="177" y="238"/>
                  <a:pt x="178" y="238"/>
                  <a:pt x="180" y="238"/>
                </a:cubicBezTo>
                <a:cubicBezTo>
                  <a:pt x="180" y="238"/>
                  <a:pt x="180" y="238"/>
                  <a:pt x="180" y="238"/>
                </a:cubicBezTo>
                <a:cubicBezTo>
                  <a:pt x="382" y="229"/>
                  <a:pt x="382" y="229"/>
                  <a:pt x="382" y="229"/>
                </a:cubicBezTo>
                <a:cubicBezTo>
                  <a:pt x="383" y="229"/>
                  <a:pt x="384" y="229"/>
                  <a:pt x="385" y="228"/>
                </a:cubicBezTo>
                <a:cubicBezTo>
                  <a:pt x="405" y="218"/>
                  <a:pt x="405" y="218"/>
                  <a:pt x="405" y="218"/>
                </a:cubicBezTo>
                <a:cubicBezTo>
                  <a:pt x="407" y="217"/>
                  <a:pt x="409" y="215"/>
                  <a:pt x="409" y="212"/>
                </a:cubicBezTo>
                <a:cubicBezTo>
                  <a:pt x="430" y="85"/>
                  <a:pt x="430" y="85"/>
                  <a:pt x="430" y="85"/>
                </a:cubicBezTo>
                <a:cubicBezTo>
                  <a:pt x="430" y="84"/>
                  <a:pt x="430" y="83"/>
                  <a:pt x="430" y="82"/>
                </a:cubicBezTo>
                <a:lnTo>
                  <a:pt x="430" y="81"/>
                </a:lnTo>
                <a:close/>
                <a:moveTo>
                  <a:pt x="140" y="79"/>
                </a:moveTo>
                <a:cubicBezTo>
                  <a:pt x="134" y="85"/>
                  <a:pt x="134" y="85"/>
                  <a:pt x="134" y="85"/>
                </a:cubicBezTo>
                <a:cubicBezTo>
                  <a:pt x="127" y="78"/>
                  <a:pt x="127" y="78"/>
                  <a:pt x="127" y="78"/>
                </a:cubicBezTo>
                <a:lnTo>
                  <a:pt x="140" y="79"/>
                </a:lnTo>
                <a:close/>
                <a:moveTo>
                  <a:pt x="118" y="101"/>
                </a:moveTo>
                <a:cubicBezTo>
                  <a:pt x="116" y="95"/>
                  <a:pt x="116" y="95"/>
                  <a:pt x="116" y="95"/>
                </a:cubicBezTo>
                <a:cubicBezTo>
                  <a:pt x="120" y="99"/>
                  <a:pt x="120" y="99"/>
                  <a:pt x="120" y="99"/>
                </a:cubicBezTo>
                <a:lnTo>
                  <a:pt x="118" y="101"/>
                </a:lnTo>
                <a:close/>
                <a:moveTo>
                  <a:pt x="134" y="136"/>
                </a:moveTo>
                <a:cubicBezTo>
                  <a:pt x="131" y="134"/>
                  <a:pt x="131" y="134"/>
                  <a:pt x="131" y="134"/>
                </a:cubicBezTo>
                <a:cubicBezTo>
                  <a:pt x="126" y="121"/>
                  <a:pt x="126" y="121"/>
                  <a:pt x="126" y="121"/>
                </a:cubicBezTo>
                <a:cubicBezTo>
                  <a:pt x="134" y="113"/>
                  <a:pt x="134" y="113"/>
                  <a:pt x="134" y="113"/>
                </a:cubicBezTo>
                <a:cubicBezTo>
                  <a:pt x="145" y="125"/>
                  <a:pt x="145" y="125"/>
                  <a:pt x="145" y="125"/>
                </a:cubicBezTo>
                <a:lnTo>
                  <a:pt x="134" y="136"/>
                </a:lnTo>
                <a:close/>
                <a:moveTo>
                  <a:pt x="339" y="113"/>
                </a:moveTo>
                <a:cubicBezTo>
                  <a:pt x="351" y="125"/>
                  <a:pt x="351" y="125"/>
                  <a:pt x="351" y="125"/>
                </a:cubicBezTo>
                <a:cubicBezTo>
                  <a:pt x="339" y="136"/>
                  <a:pt x="339" y="136"/>
                  <a:pt x="339" y="136"/>
                </a:cubicBezTo>
                <a:cubicBezTo>
                  <a:pt x="327" y="125"/>
                  <a:pt x="327" y="125"/>
                  <a:pt x="327" y="125"/>
                </a:cubicBezTo>
                <a:lnTo>
                  <a:pt x="339" y="113"/>
                </a:lnTo>
                <a:close/>
                <a:moveTo>
                  <a:pt x="311" y="90"/>
                </a:moveTo>
                <a:cubicBezTo>
                  <a:pt x="316" y="90"/>
                  <a:pt x="316" y="90"/>
                  <a:pt x="316" y="90"/>
                </a:cubicBezTo>
                <a:cubicBezTo>
                  <a:pt x="325" y="99"/>
                  <a:pt x="325" y="99"/>
                  <a:pt x="325" y="99"/>
                </a:cubicBezTo>
                <a:cubicBezTo>
                  <a:pt x="313" y="111"/>
                  <a:pt x="313" y="111"/>
                  <a:pt x="313" y="111"/>
                </a:cubicBezTo>
                <a:cubicBezTo>
                  <a:pt x="302" y="99"/>
                  <a:pt x="302" y="99"/>
                  <a:pt x="302" y="99"/>
                </a:cubicBezTo>
                <a:lnTo>
                  <a:pt x="311" y="90"/>
                </a:lnTo>
                <a:close/>
                <a:moveTo>
                  <a:pt x="211" y="87"/>
                </a:moveTo>
                <a:cubicBezTo>
                  <a:pt x="222" y="99"/>
                  <a:pt x="222" y="99"/>
                  <a:pt x="222" y="99"/>
                </a:cubicBezTo>
                <a:cubicBezTo>
                  <a:pt x="211" y="111"/>
                  <a:pt x="211" y="111"/>
                  <a:pt x="211" y="111"/>
                </a:cubicBezTo>
                <a:cubicBezTo>
                  <a:pt x="199" y="99"/>
                  <a:pt x="199" y="99"/>
                  <a:pt x="199" y="99"/>
                </a:cubicBezTo>
                <a:lnTo>
                  <a:pt x="211" y="87"/>
                </a:lnTo>
                <a:close/>
                <a:moveTo>
                  <a:pt x="188" y="82"/>
                </a:moveTo>
                <a:cubicBezTo>
                  <a:pt x="185" y="85"/>
                  <a:pt x="185" y="85"/>
                  <a:pt x="185" y="85"/>
                </a:cubicBezTo>
                <a:cubicBezTo>
                  <a:pt x="182" y="81"/>
                  <a:pt x="182" y="81"/>
                  <a:pt x="182" y="81"/>
                </a:cubicBezTo>
                <a:lnTo>
                  <a:pt x="188" y="82"/>
                </a:lnTo>
                <a:close/>
                <a:moveTo>
                  <a:pt x="160" y="87"/>
                </a:moveTo>
                <a:cubicBezTo>
                  <a:pt x="171" y="99"/>
                  <a:pt x="171" y="99"/>
                  <a:pt x="171" y="99"/>
                </a:cubicBezTo>
                <a:cubicBezTo>
                  <a:pt x="160" y="111"/>
                  <a:pt x="160" y="111"/>
                  <a:pt x="160" y="111"/>
                </a:cubicBezTo>
                <a:cubicBezTo>
                  <a:pt x="148" y="99"/>
                  <a:pt x="148" y="99"/>
                  <a:pt x="148" y="99"/>
                </a:cubicBezTo>
                <a:lnTo>
                  <a:pt x="160" y="87"/>
                </a:lnTo>
                <a:close/>
                <a:moveTo>
                  <a:pt x="166" y="207"/>
                </a:moveTo>
                <a:cubicBezTo>
                  <a:pt x="159" y="203"/>
                  <a:pt x="159" y="203"/>
                  <a:pt x="159" y="203"/>
                </a:cubicBezTo>
                <a:cubicBezTo>
                  <a:pt x="156" y="194"/>
                  <a:pt x="156" y="194"/>
                  <a:pt x="156" y="194"/>
                </a:cubicBezTo>
                <a:cubicBezTo>
                  <a:pt x="160" y="190"/>
                  <a:pt x="160" y="190"/>
                  <a:pt x="160" y="190"/>
                </a:cubicBezTo>
                <a:cubicBezTo>
                  <a:pt x="171" y="202"/>
                  <a:pt x="171" y="202"/>
                  <a:pt x="171" y="202"/>
                </a:cubicBezTo>
                <a:lnTo>
                  <a:pt x="166" y="207"/>
                </a:lnTo>
                <a:close/>
                <a:moveTo>
                  <a:pt x="160" y="162"/>
                </a:moveTo>
                <a:cubicBezTo>
                  <a:pt x="148" y="150"/>
                  <a:pt x="148" y="150"/>
                  <a:pt x="148" y="150"/>
                </a:cubicBezTo>
                <a:cubicBezTo>
                  <a:pt x="160" y="139"/>
                  <a:pt x="160" y="139"/>
                  <a:pt x="160" y="139"/>
                </a:cubicBezTo>
                <a:cubicBezTo>
                  <a:pt x="171" y="150"/>
                  <a:pt x="171" y="150"/>
                  <a:pt x="171" y="150"/>
                </a:cubicBezTo>
                <a:lnTo>
                  <a:pt x="160" y="162"/>
                </a:lnTo>
                <a:close/>
                <a:moveTo>
                  <a:pt x="185" y="216"/>
                </a:moveTo>
                <a:cubicBezTo>
                  <a:pt x="185" y="216"/>
                  <a:pt x="185" y="216"/>
                  <a:pt x="185" y="216"/>
                </a:cubicBezTo>
                <a:cubicBezTo>
                  <a:pt x="186" y="216"/>
                  <a:pt x="186" y="216"/>
                  <a:pt x="186" y="216"/>
                </a:cubicBezTo>
                <a:lnTo>
                  <a:pt x="185" y="216"/>
                </a:lnTo>
                <a:close/>
                <a:moveTo>
                  <a:pt x="185" y="188"/>
                </a:moveTo>
                <a:cubicBezTo>
                  <a:pt x="174" y="176"/>
                  <a:pt x="174" y="176"/>
                  <a:pt x="174" y="176"/>
                </a:cubicBezTo>
                <a:cubicBezTo>
                  <a:pt x="185" y="164"/>
                  <a:pt x="185" y="164"/>
                  <a:pt x="185" y="164"/>
                </a:cubicBezTo>
                <a:cubicBezTo>
                  <a:pt x="197" y="176"/>
                  <a:pt x="197" y="176"/>
                  <a:pt x="197" y="176"/>
                </a:cubicBezTo>
                <a:lnTo>
                  <a:pt x="185" y="188"/>
                </a:lnTo>
                <a:close/>
                <a:moveTo>
                  <a:pt x="185" y="136"/>
                </a:moveTo>
                <a:cubicBezTo>
                  <a:pt x="174" y="125"/>
                  <a:pt x="174" y="125"/>
                  <a:pt x="174" y="125"/>
                </a:cubicBezTo>
                <a:cubicBezTo>
                  <a:pt x="185" y="113"/>
                  <a:pt x="185" y="113"/>
                  <a:pt x="185" y="113"/>
                </a:cubicBezTo>
                <a:cubicBezTo>
                  <a:pt x="197" y="125"/>
                  <a:pt x="197" y="125"/>
                  <a:pt x="197" y="125"/>
                </a:cubicBezTo>
                <a:lnTo>
                  <a:pt x="185" y="136"/>
                </a:lnTo>
                <a:close/>
                <a:moveTo>
                  <a:pt x="211" y="213"/>
                </a:moveTo>
                <a:cubicBezTo>
                  <a:pt x="199" y="202"/>
                  <a:pt x="199" y="202"/>
                  <a:pt x="199" y="202"/>
                </a:cubicBezTo>
                <a:cubicBezTo>
                  <a:pt x="211" y="190"/>
                  <a:pt x="211" y="190"/>
                  <a:pt x="211" y="190"/>
                </a:cubicBezTo>
                <a:cubicBezTo>
                  <a:pt x="222" y="202"/>
                  <a:pt x="222" y="202"/>
                  <a:pt x="222" y="202"/>
                </a:cubicBezTo>
                <a:lnTo>
                  <a:pt x="211" y="213"/>
                </a:lnTo>
                <a:close/>
                <a:moveTo>
                  <a:pt x="211" y="162"/>
                </a:moveTo>
                <a:cubicBezTo>
                  <a:pt x="199" y="150"/>
                  <a:pt x="199" y="150"/>
                  <a:pt x="199" y="150"/>
                </a:cubicBezTo>
                <a:cubicBezTo>
                  <a:pt x="211" y="139"/>
                  <a:pt x="211" y="139"/>
                  <a:pt x="211" y="139"/>
                </a:cubicBezTo>
                <a:cubicBezTo>
                  <a:pt x="222" y="150"/>
                  <a:pt x="222" y="150"/>
                  <a:pt x="222" y="150"/>
                </a:cubicBezTo>
                <a:lnTo>
                  <a:pt x="211" y="162"/>
                </a:lnTo>
                <a:close/>
                <a:moveTo>
                  <a:pt x="236" y="188"/>
                </a:moveTo>
                <a:cubicBezTo>
                  <a:pt x="225" y="176"/>
                  <a:pt x="225" y="176"/>
                  <a:pt x="225" y="176"/>
                </a:cubicBezTo>
                <a:cubicBezTo>
                  <a:pt x="236" y="164"/>
                  <a:pt x="236" y="164"/>
                  <a:pt x="236" y="164"/>
                </a:cubicBezTo>
                <a:cubicBezTo>
                  <a:pt x="248" y="176"/>
                  <a:pt x="248" y="176"/>
                  <a:pt x="248" y="176"/>
                </a:cubicBezTo>
                <a:lnTo>
                  <a:pt x="236" y="188"/>
                </a:lnTo>
                <a:close/>
                <a:moveTo>
                  <a:pt x="236" y="136"/>
                </a:moveTo>
                <a:cubicBezTo>
                  <a:pt x="225" y="125"/>
                  <a:pt x="225" y="125"/>
                  <a:pt x="225" y="125"/>
                </a:cubicBezTo>
                <a:cubicBezTo>
                  <a:pt x="236" y="113"/>
                  <a:pt x="236" y="113"/>
                  <a:pt x="236" y="113"/>
                </a:cubicBezTo>
                <a:cubicBezTo>
                  <a:pt x="248" y="125"/>
                  <a:pt x="248" y="125"/>
                  <a:pt x="248" y="125"/>
                </a:cubicBezTo>
                <a:lnTo>
                  <a:pt x="236" y="136"/>
                </a:lnTo>
                <a:close/>
                <a:moveTo>
                  <a:pt x="262" y="87"/>
                </a:moveTo>
                <a:cubicBezTo>
                  <a:pt x="274" y="99"/>
                  <a:pt x="274" y="99"/>
                  <a:pt x="274" y="99"/>
                </a:cubicBezTo>
                <a:cubicBezTo>
                  <a:pt x="262" y="111"/>
                  <a:pt x="262" y="111"/>
                  <a:pt x="262" y="111"/>
                </a:cubicBezTo>
                <a:cubicBezTo>
                  <a:pt x="251" y="99"/>
                  <a:pt x="251" y="99"/>
                  <a:pt x="251" y="99"/>
                </a:cubicBezTo>
                <a:lnTo>
                  <a:pt x="262" y="87"/>
                </a:lnTo>
                <a:close/>
                <a:moveTo>
                  <a:pt x="263" y="213"/>
                </a:moveTo>
                <a:cubicBezTo>
                  <a:pt x="262" y="213"/>
                  <a:pt x="262" y="213"/>
                  <a:pt x="262" y="213"/>
                </a:cubicBezTo>
                <a:cubicBezTo>
                  <a:pt x="251" y="202"/>
                  <a:pt x="251" y="202"/>
                  <a:pt x="251" y="202"/>
                </a:cubicBezTo>
                <a:cubicBezTo>
                  <a:pt x="262" y="190"/>
                  <a:pt x="262" y="190"/>
                  <a:pt x="262" y="190"/>
                </a:cubicBezTo>
                <a:cubicBezTo>
                  <a:pt x="274" y="202"/>
                  <a:pt x="274" y="202"/>
                  <a:pt x="274" y="202"/>
                </a:cubicBezTo>
                <a:lnTo>
                  <a:pt x="263" y="213"/>
                </a:lnTo>
                <a:close/>
                <a:moveTo>
                  <a:pt x="262" y="162"/>
                </a:moveTo>
                <a:cubicBezTo>
                  <a:pt x="251" y="150"/>
                  <a:pt x="251" y="150"/>
                  <a:pt x="251" y="150"/>
                </a:cubicBezTo>
                <a:cubicBezTo>
                  <a:pt x="262" y="139"/>
                  <a:pt x="262" y="139"/>
                  <a:pt x="262" y="139"/>
                </a:cubicBezTo>
                <a:cubicBezTo>
                  <a:pt x="274" y="150"/>
                  <a:pt x="274" y="150"/>
                  <a:pt x="274" y="150"/>
                </a:cubicBezTo>
                <a:lnTo>
                  <a:pt x="262" y="162"/>
                </a:lnTo>
                <a:close/>
                <a:moveTo>
                  <a:pt x="288" y="188"/>
                </a:moveTo>
                <a:cubicBezTo>
                  <a:pt x="276" y="176"/>
                  <a:pt x="276" y="176"/>
                  <a:pt x="276" y="176"/>
                </a:cubicBezTo>
                <a:cubicBezTo>
                  <a:pt x="288" y="164"/>
                  <a:pt x="288" y="164"/>
                  <a:pt x="288" y="164"/>
                </a:cubicBezTo>
                <a:cubicBezTo>
                  <a:pt x="299" y="176"/>
                  <a:pt x="299" y="176"/>
                  <a:pt x="299" y="176"/>
                </a:cubicBezTo>
                <a:lnTo>
                  <a:pt x="288" y="188"/>
                </a:lnTo>
                <a:close/>
                <a:moveTo>
                  <a:pt x="288" y="136"/>
                </a:moveTo>
                <a:cubicBezTo>
                  <a:pt x="276" y="125"/>
                  <a:pt x="276" y="125"/>
                  <a:pt x="276" y="125"/>
                </a:cubicBezTo>
                <a:cubicBezTo>
                  <a:pt x="288" y="113"/>
                  <a:pt x="288" y="113"/>
                  <a:pt x="288" y="113"/>
                </a:cubicBezTo>
                <a:cubicBezTo>
                  <a:pt x="299" y="125"/>
                  <a:pt x="299" y="125"/>
                  <a:pt x="299" y="125"/>
                </a:cubicBezTo>
                <a:lnTo>
                  <a:pt x="288" y="136"/>
                </a:lnTo>
                <a:close/>
                <a:moveTo>
                  <a:pt x="316" y="211"/>
                </a:moveTo>
                <a:cubicBezTo>
                  <a:pt x="311" y="211"/>
                  <a:pt x="311" y="211"/>
                  <a:pt x="311" y="211"/>
                </a:cubicBezTo>
                <a:cubicBezTo>
                  <a:pt x="302" y="202"/>
                  <a:pt x="302" y="202"/>
                  <a:pt x="302" y="202"/>
                </a:cubicBezTo>
                <a:cubicBezTo>
                  <a:pt x="313" y="190"/>
                  <a:pt x="313" y="190"/>
                  <a:pt x="313" y="190"/>
                </a:cubicBezTo>
                <a:cubicBezTo>
                  <a:pt x="325" y="202"/>
                  <a:pt x="325" y="202"/>
                  <a:pt x="325" y="202"/>
                </a:cubicBezTo>
                <a:lnTo>
                  <a:pt x="316" y="211"/>
                </a:lnTo>
                <a:close/>
                <a:moveTo>
                  <a:pt x="313" y="162"/>
                </a:moveTo>
                <a:cubicBezTo>
                  <a:pt x="302" y="150"/>
                  <a:pt x="302" y="150"/>
                  <a:pt x="302" y="150"/>
                </a:cubicBezTo>
                <a:cubicBezTo>
                  <a:pt x="313" y="139"/>
                  <a:pt x="313" y="139"/>
                  <a:pt x="313" y="139"/>
                </a:cubicBezTo>
                <a:cubicBezTo>
                  <a:pt x="325" y="150"/>
                  <a:pt x="325" y="150"/>
                  <a:pt x="325" y="150"/>
                </a:cubicBezTo>
                <a:lnTo>
                  <a:pt x="313" y="162"/>
                </a:lnTo>
                <a:close/>
                <a:moveTo>
                  <a:pt x="339" y="188"/>
                </a:moveTo>
                <a:cubicBezTo>
                  <a:pt x="327" y="176"/>
                  <a:pt x="327" y="176"/>
                  <a:pt x="327" y="176"/>
                </a:cubicBezTo>
                <a:cubicBezTo>
                  <a:pt x="339" y="164"/>
                  <a:pt x="339" y="164"/>
                  <a:pt x="339" y="164"/>
                </a:cubicBezTo>
                <a:cubicBezTo>
                  <a:pt x="351" y="176"/>
                  <a:pt x="351" y="176"/>
                  <a:pt x="351" y="176"/>
                </a:cubicBezTo>
                <a:lnTo>
                  <a:pt x="339" y="188"/>
                </a:lnTo>
                <a:close/>
                <a:moveTo>
                  <a:pt x="370" y="208"/>
                </a:moveTo>
                <a:cubicBezTo>
                  <a:pt x="360" y="209"/>
                  <a:pt x="360" y="209"/>
                  <a:pt x="360" y="209"/>
                </a:cubicBezTo>
                <a:cubicBezTo>
                  <a:pt x="353" y="202"/>
                  <a:pt x="353" y="202"/>
                  <a:pt x="353" y="202"/>
                </a:cubicBezTo>
                <a:cubicBezTo>
                  <a:pt x="365" y="190"/>
                  <a:pt x="365" y="190"/>
                  <a:pt x="365" y="190"/>
                </a:cubicBezTo>
                <a:cubicBezTo>
                  <a:pt x="376" y="202"/>
                  <a:pt x="376" y="202"/>
                  <a:pt x="376" y="202"/>
                </a:cubicBezTo>
                <a:lnTo>
                  <a:pt x="370" y="208"/>
                </a:lnTo>
                <a:close/>
                <a:moveTo>
                  <a:pt x="365" y="162"/>
                </a:moveTo>
                <a:cubicBezTo>
                  <a:pt x="353" y="150"/>
                  <a:pt x="353" y="150"/>
                  <a:pt x="353" y="150"/>
                </a:cubicBezTo>
                <a:cubicBezTo>
                  <a:pt x="365" y="139"/>
                  <a:pt x="365" y="139"/>
                  <a:pt x="365" y="139"/>
                </a:cubicBezTo>
                <a:cubicBezTo>
                  <a:pt x="376" y="150"/>
                  <a:pt x="376" y="150"/>
                  <a:pt x="376" y="150"/>
                </a:cubicBezTo>
                <a:lnTo>
                  <a:pt x="365" y="162"/>
                </a:lnTo>
                <a:close/>
                <a:moveTo>
                  <a:pt x="365" y="111"/>
                </a:moveTo>
                <a:cubicBezTo>
                  <a:pt x="353" y="99"/>
                  <a:pt x="353" y="99"/>
                  <a:pt x="353" y="99"/>
                </a:cubicBezTo>
                <a:cubicBezTo>
                  <a:pt x="359" y="93"/>
                  <a:pt x="359" y="93"/>
                  <a:pt x="359" y="93"/>
                </a:cubicBezTo>
                <a:cubicBezTo>
                  <a:pt x="371" y="94"/>
                  <a:pt x="371" y="94"/>
                  <a:pt x="371" y="94"/>
                </a:cubicBezTo>
                <a:cubicBezTo>
                  <a:pt x="376" y="99"/>
                  <a:pt x="376" y="99"/>
                  <a:pt x="376" y="99"/>
                </a:cubicBezTo>
                <a:lnTo>
                  <a:pt x="365" y="111"/>
                </a:lnTo>
                <a:close/>
                <a:moveTo>
                  <a:pt x="396" y="182"/>
                </a:moveTo>
                <a:cubicBezTo>
                  <a:pt x="390" y="188"/>
                  <a:pt x="390" y="188"/>
                  <a:pt x="390" y="188"/>
                </a:cubicBezTo>
                <a:cubicBezTo>
                  <a:pt x="379" y="176"/>
                  <a:pt x="379" y="176"/>
                  <a:pt x="379" y="176"/>
                </a:cubicBezTo>
                <a:cubicBezTo>
                  <a:pt x="390" y="164"/>
                  <a:pt x="390" y="164"/>
                  <a:pt x="390" y="164"/>
                </a:cubicBezTo>
                <a:cubicBezTo>
                  <a:pt x="398" y="172"/>
                  <a:pt x="398" y="172"/>
                  <a:pt x="398" y="172"/>
                </a:cubicBezTo>
                <a:lnTo>
                  <a:pt x="396" y="182"/>
                </a:lnTo>
                <a:close/>
                <a:moveTo>
                  <a:pt x="390" y="136"/>
                </a:moveTo>
                <a:cubicBezTo>
                  <a:pt x="379" y="125"/>
                  <a:pt x="379" y="125"/>
                  <a:pt x="379" y="125"/>
                </a:cubicBezTo>
                <a:cubicBezTo>
                  <a:pt x="390" y="113"/>
                  <a:pt x="390" y="113"/>
                  <a:pt x="390" y="113"/>
                </a:cubicBezTo>
                <a:cubicBezTo>
                  <a:pt x="402" y="125"/>
                  <a:pt x="402" y="125"/>
                  <a:pt x="402" y="125"/>
                </a:cubicBezTo>
                <a:lnTo>
                  <a:pt x="390" y="136"/>
                </a:lnTo>
                <a:close/>
                <a:moveTo>
                  <a:pt x="409" y="103"/>
                </a:moveTo>
                <a:cubicBezTo>
                  <a:pt x="404" y="99"/>
                  <a:pt x="404" y="99"/>
                  <a:pt x="404" y="99"/>
                </a:cubicBezTo>
                <a:cubicBezTo>
                  <a:pt x="407" y="96"/>
                  <a:pt x="407" y="96"/>
                  <a:pt x="407" y="96"/>
                </a:cubicBezTo>
                <a:cubicBezTo>
                  <a:pt x="410" y="97"/>
                  <a:pt x="410" y="97"/>
                  <a:pt x="410" y="97"/>
                </a:cubicBezTo>
                <a:lnTo>
                  <a:pt x="409" y="10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0" name="Freeform 35"/>
          <p:cNvSpPr>
            <a:spLocks noEditPoints="1"/>
          </p:cNvSpPr>
          <p:nvPr>
            <p:custDataLst>
              <p:tags r:id="rId25"/>
            </p:custDataLst>
          </p:nvPr>
        </p:nvSpPr>
        <p:spPr bwMode="auto">
          <a:xfrm>
            <a:off x="3500438" y="3943350"/>
            <a:ext cx="481012" cy="388938"/>
          </a:xfrm>
          <a:custGeom>
            <a:avLst/>
            <a:gdLst>
              <a:gd name="T0" fmla="*/ 92 w 430"/>
              <a:gd name="T1" fmla="*/ 49 h 348"/>
              <a:gd name="T2" fmla="*/ 71 w 430"/>
              <a:gd name="T3" fmla="*/ 31 h 348"/>
              <a:gd name="T4" fmla="*/ 32 w 430"/>
              <a:gd name="T5" fmla="*/ 11 h 348"/>
              <a:gd name="T6" fmla="*/ 24 w 430"/>
              <a:gd name="T7" fmla="*/ 31 h 348"/>
              <a:gd name="T8" fmla="*/ 134 w 430"/>
              <a:gd name="T9" fmla="*/ 240 h 348"/>
              <a:gd name="T10" fmla="*/ 155 w 430"/>
              <a:gd name="T11" fmla="*/ 289 h 348"/>
              <a:gd name="T12" fmla="*/ 141 w 430"/>
              <a:gd name="T13" fmla="*/ 314 h 348"/>
              <a:gd name="T14" fmla="*/ 140 w 430"/>
              <a:gd name="T15" fmla="*/ 320 h 348"/>
              <a:gd name="T16" fmla="*/ 195 w 430"/>
              <a:gd name="T17" fmla="*/ 317 h 348"/>
              <a:gd name="T18" fmla="*/ 181 w 430"/>
              <a:gd name="T19" fmla="*/ 295 h 348"/>
              <a:gd name="T20" fmla="*/ 340 w 430"/>
              <a:gd name="T21" fmla="*/ 291 h 348"/>
              <a:gd name="T22" fmla="*/ 381 w 430"/>
              <a:gd name="T23" fmla="*/ 320 h 348"/>
              <a:gd name="T24" fmla="*/ 387 w 430"/>
              <a:gd name="T25" fmla="*/ 289 h 348"/>
              <a:gd name="T26" fmla="*/ 393 w 430"/>
              <a:gd name="T27" fmla="*/ 274 h 348"/>
              <a:gd name="T28" fmla="*/ 390 w 430"/>
              <a:gd name="T29" fmla="*/ 273 h 348"/>
              <a:gd name="T30" fmla="*/ 135 w 430"/>
              <a:gd name="T31" fmla="*/ 272 h 348"/>
              <a:gd name="T32" fmla="*/ 154 w 430"/>
              <a:gd name="T33" fmla="*/ 234 h 348"/>
              <a:gd name="T34" fmla="*/ 180 w 430"/>
              <a:gd name="T35" fmla="*/ 238 h 348"/>
              <a:gd name="T36" fmla="*/ 405 w 430"/>
              <a:gd name="T37" fmla="*/ 218 h 348"/>
              <a:gd name="T38" fmla="*/ 430 w 430"/>
              <a:gd name="T39" fmla="*/ 81 h 348"/>
              <a:gd name="T40" fmla="*/ 140 w 430"/>
              <a:gd name="T41" fmla="*/ 79 h 348"/>
              <a:gd name="T42" fmla="*/ 118 w 430"/>
              <a:gd name="T43" fmla="*/ 101 h 348"/>
              <a:gd name="T44" fmla="*/ 134 w 430"/>
              <a:gd name="T45" fmla="*/ 113 h 348"/>
              <a:gd name="T46" fmla="*/ 351 w 430"/>
              <a:gd name="T47" fmla="*/ 125 h 348"/>
              <a:gd name="T48" fmla="*/ 311 w 430"/>
              <a:gd name="T49" fmla="*/ 90 h 348"/>
              <a:gd name="T50" fmla="*/ 302 w 430"/>
              <a:gd name="T51" fmla="*/ 99 h 348"/>
              <a:gd name="T52" fmla="*/ 211 w 430"/>
              <a:gd name="T53" fmla="*/ 111 h 348"/>
              <a:gd name="T54" fmla="*/ 185 w 430"/>
              <a:gd name="T55" fmla="*/ 85 h 348"/>
              <a:gd name="T56" fmla="*/ 171 w 430"/>
              <a:gd name="T57" fmla="*/ 99 h 348"/>
              <a:gd name="T58" fmla="*/ 166 w 430"/>
              <a:gd name="T59" fmla="*/ 207 h 348"/>
              <a:gd name="T60" fmla="*/ 171 w 430"/>
              <a:gd name="T61" fmla="*/ 202 h 348"/>
              <a:gd name="T62" fmla="*/ 160 w 430"/>
              <a:gd name="T63" fmla="*/ 139 h 348"/>
              <a:gd name="T64" fmla="*/ 185 w 430"/>
              <a:gd name="T65" fmla="*/ 216 h 348"/>
              <a:gd name="T66" fmla="*/ 174 w 430"/>
              <a:gd name="T67" fmla="*/ 176 h 348"/>
              <a:gd name="T68" fmla="*/ 185 w 430"/>
              <a:gd name="T69" fmla="*/ 136 h 348"/>
              <a:gd name="T70" fmla="*/ 185 w 430"/>
              <a:gd name="T71" fmla="*/ 136 h 348"/>
              <a:gd name="T72" fmla="*/ 222 w 430"/>
              <a:gd name="T73" fmla="*/ 202 h 348"/>
              <a:gd name="T74" fmla="*/ 211 w 430"/>
              <a:gd name="T75" fmla="*/ 139 h 348"/>
              <a:gd name="T76" fmla="*/ 225 w 430"/>
              <a:gd name="T77" fmla="*/ 176 h 348"/>
              <a:gd name="T78" fmla="*/ 236 w 430"/>
              <a:gd name="T79" fmla="*/ 136 h 348"/>
              <a:gd name="T80" fmla="*/ 236 w 430"/>
              <a:gd name="T81" fmla="*/ 136 h 348"/>
              <a:gd name="T82" fmla="*/ 251 w 430"/>
              <a:gd name="T83" fmla="*/ 99 h 348"/>
              <a:gd name="T84" fmla="*/ 251 w 430"/>
              <a:gd name="T85" fmla="*/ 202 h 348"/>
              <a:gd name="T86" fmla="*/ 262 w 430"/>
              <a:gd name="T87" fmla="*/ 162 h 348"/>
              <a:gd name="T88" fmla="*/ 262 w 430"/>
              <a:gd name="T89" fmla="*/ 162 h 348"/>
              <a:gd name="T90" fmla="*/ 299 w 430"/>
              <a:gd name="T91" fmla="*/ 176 h 348"/>
              <a:gd name="T92" fmla="*/ 288 w 430"/>
              <a:gd name="T93" fmla="*/ 113 h 348"/>
              <a:gd name="T94" fmla="*/ 311 w 430"/>
              <a:gd name="T95" fmla="*/ 211 h 348"/>
              <a:gd name="T96" fmla="*/ 316 w 430"/>
              <a:gd name="T97" fmla="*/ 211 h 348"/>
              <a:gd name="T98" fmla="*/ 325 w 430"/>
              <a:gd name="T99" fmla="*/ 150 h 348"/>
              <a:gd name="T100" fmla="*/ 339 w 430"/>
              <a:gd name="T101" fmla="*/ 164 h 348"/>
              <a:gd name="T102" fmla="*/ 360 w 430"/>
              <a:gd name="T103" fmla="*/ 209 h 348"/>
              <a:gd name="T104" fmla="*/ 370 w 430"/>
              <a:gd name="T105" fmla="*/ 208 h 348"/>
              <a:gd name="T106" fmla="*/ 376 w 430"/>
              <a:gd name="T107" fmla="*/ 150 h 348"/>
              <a:gd name="T108" fmla="*/ 359 w 430"/>
              <a:gd name="T109" fmla="*/ 93 h 348"/>
              <a:gd name="T110" fmla="*/ 396 w 430"/>
              <a:gd name="T111" fmla="*/ 182 h 348"/>
              <a:gd name="T112" fmla="*/ 398 w 430"/>
              <a:gd name="T113" fmla="*/ 172 h 348"/>
              <a:gd name="T114" fmla="*/ 390 w 430"/>
              <a:gd name="T115" fmla="*/ 113 h 348"/>
              <a:gd name="T116" fmla="*/ 404 w 430"/>
              <a:gd name="T117" fmla="*/ 99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30" h="348">
                <a:moveTo>
                  <a:pt x="430" y="81"/>
                </a:moveTo>
                <a:cubicBezTo>
                  <a:pt x="430" y="78"/>
                  <a:pt x="430" y="76"/>
                  <a:pt x="428" y="74"/>
                </a:cubicBezTo>
                <a:cubicBezTo>
                  <a:pt x="427" y="72"/>
                  <a:pt x="424" y="71"/>
                  <a:pt x="422" y="71"/>
                </a:cubicBezTo>
                <a:cubicBezTo>
                  <a:pt x="92" y="49"/>
                  <a:pt x="92" y="49"/>
                  <a:pt x="92" y="49"/>
                </a:cubicBezTo>
                <a:cubicBezTo>
                  <a:pt x="89" y="48"/>
                  <a:pt x="86" y="50"/>
                  <a:pt x="84" y="52"/>
                </a:cubicBezTo>
                <a:cubicBezTo>
                  <a:pt x="83" y="54"/>
                  <a:pt x="82" y="57"/>
                  <a:pt x="83" y="59"/>
                </a:cubicBezTo>
                <a:cubicBezTo>
                  <a:pt x="83" y="59"/>
                  <a:pt x="83" y="59"/>
                  <a:pt x="83" y="59"/>
                </a:cubicBezTo>
                <a:cubicBezTo>
                  <a:pt x="71" y="31"/>
                  <a:pt x="71" y="31"/>
                  <a:pt x="71" y="31"/>
                </a:cubicBezTo>
                <a:cubicBezTo>
                  <a:pt x="71" y="29"/>
                  <a:pt x="69" y="27"/>
                  <a:pt x="67" y="26"/>
                </a:cubicBezTo>
                <a:cubicBezTo>
                  <a:pt x="58" y="22"/>
                  <a:pt x="58" y="22"/>
                  <a:pt x="58" y="22"/>
                </a:cubicBezTo>
                <a:cubicBezTo>
                  <a:pt x="58" y="22"/>
                  <a:pt x="58" y="22"/>
                  <a:pt x="58" y="22"/>
                </a:cubicBezTo>
                <a:cubicBezTo>
                  <a:pt x="32" y="11"/>
                  <a:pt x="32" y="11"/>
                  <a:pt x="32" y="11"/>
                </a:cubicBezTo>
                <a:cubicBezTo>
                  <a:pt x="30" y="4"/>
                  <a:pt x="24" y="0"/>
                  <a:pt x="17" y="0"/>
                </a:cubicBezTo>
                <a:cubicBezTo>
                  <a:pt x="8" y="0"/>
                  <a:pt x="0" y="7"/>
                  <a:pt x="0" y="16"/>
                </a:cubicBezTo>
                <a:cubicBezTo>
                  <a:pt x="0" y="25"/>
                  <a:pt x="8" y="32"/>
                  <a:pt x="17" y="32"/>
                </a:cubicBezTo>
                <a:cubicBezTo>
                  <a:pt x="19" y="32"/>
                  <a:pt x="22" y="32"/>
                  <a:pt x="24" y="31"/>
                </a:cubicBezTo>
                <a:cubicBezTo>
                  <a:pt x="49" y="41"/>
                  <a:pt x="49" y="41"/>
                  <a:pt x="49" y="41"/>
                </a:cubicBezTo>
                <a:cubicBezTo>
                  <a:pt x="49" y="41"/>
                  <a:pt x="49" y="41"/>
                  <a:pt x="49" y="41"/>
                </a:cubicBezTo>
                <a:cubicBezTo>
                  <a:pt x="55" y="43"/>
                  <a:pt x="55" y="43"/>
                  <a:pt x="55" y="43"/>
                </a:cubicBezTo>
                <a:cubicBezTo>
                  <a:pt x="134" y="240"/>
                  <a:pt x="134" y="240"/>
                  <a:pt x="134" y="240"/>
                </a:cubicBezTo>
                <a:cubicBezTo>
                  <a:pt x="113" y="276"/>
                  <a:pt x="113" y="276"/>
                  <a:pt x="113" y="276"/>
                </a:cubicBezTo>
                <a:cubicBezTo>
                  <a:pt x="111" y="279"/>
                  <a:pt x="111" y="282"/>
                  <a:pt x="113" y="284"/>
                </a:cubicBezTo>
                <a:cubicBezTo>
                  <a:pt x="114" y="287"/>
                  <a:pt x="117" y="289"/>
                  <a:pt x="120" y="289"/>
                </a:cubicBezTo>
                <a:cubicBezTo>
                  <a:pt x="155" y="289"/>
                  <a:pt x="155" y="289"/>
                  <a:pt x="155" y="289"/>
                </a:cubicBezTo>
                <a:cubicBezTo>
                  <a:pt x="155" y="291"/>
                  <a:pt x="155" y="291"/>
                  <a:pt x="155" y="291"/>
                </a:cubicBezTo>
                <a:cubicBezTo>
                  <a:pt x="155" y="295"/>
                  <a:pt x="155" y="295"/>
                  <a:pt x="155" y="295"/>
                </a:cubicBezTo>
                <a:cubicBezTo>
                  <a:pt x="148" y="299"/>
                  <a:pt x="143" y="306"/>
                  <a:pt x="141" y="314"/>
                </a:cubicBezTo>
                <a:cubicBezTo>
                  <a:pt x="141" y="314"/>
                  <a:pt x="141" y="314"/>
                  <a:pt x="141" y="314"/>
                </a:cubicBezTo>
                <a:cubicBezTo>
                  <a:pt x="141" y="314"/>
                  <a:pt x="141" y="314"/>
                  <a:pt x="141" y="314"/>
                </a:cubicBezTo>
                <a:cubicBezTo>
                  <a:pt x="141" y="315"/>
                  <a:pt x="140" y="316"/>
                  <a:pt x="140" y="316"/>
                </a:cubicBezTo>
                <a:cubicBezTo>
                  <a:pt x="140" y="317"/>
                  <a:pt x="140" y="317"/>
                  <a:pt x="140" y="317"/>
                </a:cubicBezTo>
                <a:cubicBezTo>
                  <a:pt x="140" y="318"/>
                  <a:pt x="140" y="319"/>
                  <a:pt x="140" y="320"/>
                </a:cubicBezTo>
                <a:cubicBezTo>
                  <a:pt x="140" y="335"/>
                  <a:pt x="153" y="348"/>
                  <a:pt x="168" y="348"/>
                </a:cubicBezTo>
                <a:cubicBezTo>
                  <a:pt x="183" y="348"/>
                  <a:pt x="195" y="335"/>
                  <a:pt x="195" y="320"/>
                </a:cubicBezTo>
                <a:cubicBezTo>
                  <a:pt x="195" y="319"/>
                  <a:pt x="195" y="318"/>
                  <a:pt x="195" y="317"/>
                </a:cubicBezTo>
                <a:cubicBezTo>
                  <a:pt x="195" y="317"/>
                  <a:pt x="195" y="317"/>
                  <a:pt x="195" y="317"/>
                </a:cubicBezTo>
                <a:cubicBezTo>
                  <a:pt x="195" y="316"/>
                  <a:pt x="195" y="315"/>
                  <a:pt x="195" y="314"/>
                </a:cubicBezTo>
                <a:cubicBezTo>
                  <a:pt x="195" y="314"/>
                  <a:pt x="195" y="314"/>
                  <a:pt x="195" y="314"/>
                </a:cubicBezTo>
                <a:cubicBezTo>
                  <a:pt x="195" y="314"/>
                  <a:pt x="195" y="314"/>
                  <a:pt x="195" y="314"/>
                </a:cubicBezTo>
                <a:cubicBezTo>
                  <a:pt x="193" y="306"/>
                  <a:pt x="188" y="299"/>
                  <a:pt x="181" y="295"/>
                </a:cubicBezTo>
                <a:cubicBezTo>
                  <a:pt x="181" y="291"/>
                  <a:pt x="181" y="291"/>
                  <a:pt x="181" y="291"/>
                </a:cubicBezTo>
                <a:cubicBezTo>
                  <a:pt x="181" y="289"/>
                  <a:pt x="181" y="289"/>
                  <a:pt x="181" y="289"/>
                </a:cubicBezTo>
                <a:cubicBezTo>
                  <a:pt x="340" y="289"/>
                  <a:pt x="340" y="289"/>
                  <a:pt x="340" y="289"/>
                </a:cubicBezTo>
                <a:cubicBezTo>
                  <a:pt x="340" y="291"/>
                  <a:pt x="340" y="291"/>
                  <a:pt x="340" y="291"/>
                </a:cubicBezTo>
                <a:cubicBezTo>
                  <a:pt x="340" y="295"/>
                  <a:pt x="340" y="295"/>
                  <a:pt x="340" y="295"/>
                </a:cubicBezTo>
                <a:cubicBezTo>
                  <a:pt x="331" y="300"/>
                  <a:pt x="325" y="309"/>
                  <a:pt x="325" y="320"/>
                </a:cubicBezTo>
                <a:cubicBezTo>
                  <a:pt x="325" y="335"/>
                  <a:pt x="338" y="348"/>
                  <a:pt x="353" y="348"/>
                </a:cubicBezTo>
                <a:cubicBezTo>
                  <a:pt x="368" y="348"/>
                  <a:pt x="381" y="335"/>
                  <a:pt x="381" y="320"/>
                </a:cubicBezTo>
                <a:cubicBezTo>
                  <a:pt x="381" y="309"/>
                  <a:pt x="375" y="300"/>
                  <a:pt x="366" y="295"/>
                </a:cubicBezTo>
                <a:cubicBezTo>
                  <a:pt x="366" y="291"/>
                  <a:pt x="366" y="291"/>
                  <a:pt x="366" y="291"/>
                </a:cubicBezTo>
                <a:cubicBezTo>
                  <a:pt x="366" y="289"/>
                  <a:pt x="366" y="289"/>
                  <a:pt x="366" y="289"/>
                </a:cubicBezTo>
                <a:cubicBezTo>
                  <a:pt x="387" y="289"/>
                  <a:pt x="387" y="289"/>
                  <a:pt x="387" y="289"/>
                </a:cubicBezTo>
                <a:cubicBezTo>
                  <a:pt x="391" y="289"/>
                  <a:pt x="395" y="285"/>
                  <a:pt x="395" y="280"/>
                </a:cubicBezTo>
                <a:cubicBezTo>
                  <a:pt x="395" y="278"/>
                  <a:pt x="394" y="276"/>
                  <a:pt x="393" y="275"/>
                </a:cubicBezTo>
                <a:cubicBezTo>
                  <a:pt x="393" y="275"/>
                  <a:pt x="393" y="275"/>
                  <a:pt x="393" y="275"/>
                </a:cubicBezTo>
                <a:cubicBezTo>
                  <a:pt x="393" y="274"/>
                  <a:pt x="393" y="274"/>
                  <a:pt x="393" y="274"/>
                </a:cubicBezTo>
                <a:cubicBezTo>
                  <a:pt x="392" y="274"/>
                  <a:pt x="392" y="274"/>
                  <a:pt x="392" y="274"/>
                </a:cubicBezTo>
                <a:cubicBezTo>
                  <a:pt x="392" y="274"/>
                  <a:pt x="392" y="273"/>
                  <a:pt x="391" y="273"/>
                </a:cubicBezTo>
                <a:cubicBezTo>
                  <a:pt x="391" y="273"/>
                  <a:pt x="391" y="273"/>
                  <a:pt x="390" y="273"/>
                </a:cubicBezTo>
                <a:cubicBezTo>
                  <a:pt x="390" y="273"/>
                  <a:pt x="390" y="273"/>
                  <a:pt x="390" y="273"/>
                </a:cubicBezTo>
                <a:cubicBezTo>
                  <a:pt x="390" y="272"/>
                  <a:pt x="389" y="272"/>
                  <a:pt x="389" y="272"/>
                </a:cubicBezTo>
                <a:cubicBezTo>
                  <a:pt x="389" y="272"/>
                  <a:pt x="389" y="272"/>
                  <a:pt x="388" y="272"/>
                </a:cubicBezTo>
                <a:cubicBezTo>
                  <a:pt x="388" y="272"/>
                  <a:pt x="387" y="272"/>
                  <a:pt x="387" y="272"/>
                </a:cubicBezTo>
                <a:cubicBezTo>
                  <a:pt x="135" y="272"/>
                  <a:pt x="135" y="272"/>
                  <a:pt x="135" y="272"/>
                </a:cubicBezTo>
                <a:cubicBezTo>
                  <a:pt x="153" y="242"/>
                  <a:pt x="153" y="242"/>
                  <a:pt x="153" y="242"/>
                </a:cubicBezTo>
                <a:cubicBezTo>
                  <a:pt x="153" y="242"/>
                  <a:pt x="153" y="242"/>
                  <a:pt x="153" y="242"/>
                </a:cubicBezTo>
                <a:cubicBezTo>
                  <a:pt x="153" y="242"/>
                  <a:pt x="153" y="242"/>
                  <a:pt x="153" y="242"/>
                </a:cubicBezTo>
                <a:cubicBezTo>
                  <a:pt x="154" y="240"/>
                  <a:pt x="155" y="237"/>
                  <a:pt x="154" y="234"/>
                </a:cubicBezTo>
                <a:cubicBezTo>
                  <a:pt x="148" y="220"/>
                  <a:pt x="148" y="220"/>
                  <a:pt x="148" y="220"/>
                </a:cubicBezTo>
                <a:cubicBezTo>
                  <a:pt x="148" y="220"/>
                  <a:pt x="148" y="220"/>
                  <a:pt x="148" y="220"/>
                </a:cubicBezTo>
                <a:cubicBezTo>
                  <a:pt x="175" y="237"/>
                  <a:pt x="175" y="237"/>
                  <a:pt x="175" y="237"/>
                </a:cubicBezTo>
                <a:cubicBezTo>
                  <a:pt x="177" y="238"/>
                  <a:pt x="178" y="238"/>
                  <a:pt x="180" y="238"/>
                </a:cubicBezTo>
                <a:cubicBezTo>
                  <a:pt x="180" y="238"/>
                  <a:pt x="180" y="238"/>
                  <a:pt x="180" y="238"/>
                </a:cubicBezTo>
                <a:cubicBezTo>
                  <a:pt x="382" y="229"/>
                  <a:pt x="382" y="229"/>
                  <a:pt x="382" y="229"/>
                </a:cubicBezTo>
                <a:cubicBezTo>
                  <a:pt x="383" y="229"/>
                  <a:pt x="384" y="229"/>
                  <a:pt x="385" y="228"/>
                </a:cubicBezTo>
                <a:cubicBezTo>
                  <a:pt x="405" y="218"/>
                  <a:pt x="405" y="218"/>
                  <a:pt x="405" y="218"/>
                </a:cubicBezTo>
                <a:cubicBezTo>
                  <a:pt x="407" y="217"/>
                  <a:pt x="409" y="215"/>
                  <a:pt x="409" y="212"/>
                </a:cubicBezTo>
                <a:cubicBezTo>
                  <a:pt x="430" y="85"/>
                  <a:pt x="430" y="85"/>
                  <a:pt x="430" y="85"/>
                </a:cubicBezTo>
                <a:cubicBezTo>
                  <a:pt x="430" y="84"/>
                  <a:pt x="430" y="83"/>
                  <a:pt x="430" y="82"/>
                </a:cubicBezTo>
                <a:lnTo>
                  <a:pt x="430" y="81"/>
                </a:lnTo>
                <a:close/>
                <a:moveTo>
                  <a:pt x="140" y="79"/>
                </a:moveTo>
                <a:cubicBezTo>
                  <a:pt x="134" y="85"/>
                  <a:pt x="134" y="85"/>
                  <a:pt x="134" y="85"/>
                </a:cubicBezTo>
                <a:cubicBezTo>
                  <a:pt x="127" y="78"/>
                  <a:pt x="127" y="78"/>
                  <a:pt x="127" y="78"/>
                </a:cubicBezTo>
                <a:lnTo>
                  <a:pt x="140" y="79"/>
                </a:lnTo>
                <a:close/>
                <a:moveTo>
                  <a:pt x="118" y="101"/>
                </a:moveTo>
                <a:cubicBezTo>
                  <a:pt x="116" y="95"/>
                  <a:pt x="116" y="95"/>
                  <a:pt x="116" y="95"/>
                </a:cubicBezTo>
                <a:cubicBezTo>
                  <a:pt x="120" y="99"/>
                  <a:pt x="120" y="99"/>
                  <a:pt x="120" y="99"/>
                </a:cubicBezTo>
                <a:lnTo>
                  <a:pt x="118" y="101"/>
                </a:lnTo>
                <a:close/>
                <a:moveTo>
                  <a:pt x="134" y="136"/>
                </a:moveTo>
                <a:cubicBezTo>
                  <a:pt x="131" y="134"/>
                  <a:pt x="131" y="134"/>
                  <a:pt x="131" y="134"/>
                </a:cubicBezTo>
                <a:cubicBezTo>
                  <a:pt x="126" y="121"/>
                  <a:pt x="126" y="121"/>
                  <a:pt x="126" y="121"/>
                </a:cubicBezTo>
                <a:cubicBezTo>
                  <a:pt x="134" y="113"/>
                  <a:pt x="134" y="113"/>
                  <a:pt x="134" y="113"/>
                </a:cubicBezTo>
                <a:cubicBezTo>
                  <a:pt x="145" y="125"/>
                  <a:pt x="145" y="125"/>
                  <a:pt x="145" y="125"/>
                </a:cubicBezTo>
                <a:lnTo>
                  <a:pt x="134" y="136"/>
                </a:lnTo>
                <a:close/>
                <a:moveTo>
                  <a:pt x="339" y="113"/>
                </a:moveTo>
                <a:cubicBezTo>
                  <a:pt x="351" y="125"/>
                  <a:pt x="351" y="125"/>
                  <a:pt x="351" y="125"/>
                </a:cubicBezTo>
                <a:cubicBezTo>
                  <a:pt x="339" y="136"/>
                  <a:pt x="339" y="136"/>
                  <a:pt x="339" y="136"/>
                </a:cubicBezTo>
                <a:cubicBezTo>
                  <a:pt x="327" y="125"/>
                  <a:pt x="327" y="125"/>
                  <a:pt x="327" y="125"/>
                </a:cubicBezTo>
                <a:lnTo>
                  <a:pt x="339" y="113"/>
                </a:lnTo>
                <a:close/>
                <a:moveTo>
                  <a:pt x="311" y="90"/>
                </a:moveTo>
                <a:cubicBezTo>
                  <a:pt x="316" y="90"/>
                  <a:pt x="316" y="90"/>
                  <a:pt x="316" y="90"/>
                </a:cubicBezTo>
                <a:cubicBezTo>
                  <a:pt x="325" y="99"/>
                  <a:pt x="325" y="99"/>
                  <a:pt x="325" y="99"/>
                </a:cubicBezTo>
                <a:cubicBezTo>
                  <a:pt x="313" y="111"/>
                  <a:pt x="313" y="111"/>
                  <a:pt x="313" y="111"/>
                </a:cubicBezTo>
                <a:cubicBezTo>
                  <a:pt x="302" y="99"/>
                  <a:pt x="302" y="99"/>
                  <a:pt x="302" y="99"/>
                </a:cubicBezTo>
                <a:lnTo>
                  <a:pt x="311" y="90"/>
                </a:lnTo>
                <a:close/>
                <a:moveTo>
                  <a:pt x="211" y="87"/>
                </a:moveTo>
                <a:cubicBezTo>
                  <a:pt x="222" y="99"/>
                  <a:pt x="222" y="99"/>
                  <a:pt x="222" y="99"/>
                </a:cubicBezTo>
                <a:cubicBezTo>
                  <a:pt x="211" y="111"/>
                  <a:pt x="211" y="111"/>
                  <a:pt x="211" y="111"/>
                </a:cubicBezTo>
                <a:cubicBezTo>
                  <a:pt x="199" y="99"/>
                  <a:pt x="199" y="99"/>
                  <a:pt x="199" y="99"/>
                </a:cubicBezTo>
                <a:lnTo>
                  <a:pt x="211" y="87"/>
                </a:lnTo>
                <a:close/>
                <a:moveTo>
                  <a:pt x="188" y="82"/>
                </a:moveTo>
                <a:cubicBezTo>
                  <a:pt x="185" y="85"/>
                  <a:pt x="185" y="85"/>
                  <a:pt x="185" y="85"/>
                </a:cubicBezTo>
                <a:cubicBezTo>
                  <a:pt x="182" y="81"/>
                  <a:pt x="182" y="81"/>
                  <a:pt x="182" y="81"/>
                </a:cubicBezTo>
                <a:lnTo>
                  <a:pt x="188" y="82"/>
                </a:lnTo>
                <a:close/>
                <a:moveTo>
                  <a:pt x="160" y="87"/>
                </a:moveTo>
                <a:cubicBezTo>
                  <a:pt x="171" y="99"/>
                  <a:pt x="171" y="99"/>
                  <a:pt x="171" y="99"/>
                </a:cubicBezTo>
                <a:cubicBezTo>
                  <a:pt x="160" y="111"/>
                  <a:pt x="160" y="111"/>
                  <a:pt x="160" y="111"/>
                </a:cubicBezTo>
                <a:cubicBezTo>
                  <a:pt x="148" y="99"/>
                  <a:pt x="148" y="99"/>
                  <a:pt x="148" y="99"/>
                </a:cubicBezTo>
                <a:lnTo>
                  <a:pt x="160" y="87"/>
                </a:lnTo>
                <a:close/>
                <a:moveTo>
                  <a:pt x="166" y="207"/>
                </a:moveTo>
                <a:cubicBezTo>
                  <a:pt x="159" y="203"/>
                  <a:pt x="159" y="203"/>
                  <a:pt x="159" y="203"/>
                </a:cubicBezTo>
                <a:cubicBezTo>
                  <a:pt x="156" y="194"/>
                  <a:pt x="156" y="194"/>
                  <a:pt x="156" y="194"/>
                </a:cubicBezTo>
                <a:cubicBezTo>
                  <a:pt x="160" y="190"/>
                  <a:pt x="160" y="190"/>
                  <a:pt x="160" y="190"/>
                </a:cubicBezTo>
                <a:cubicBezTo>
                  <a:pt x="171" y="202"/>
                  <a:pt x="171" y="202"/>
                  <a:pt x="171" y="202"/>
                </a:cubicBezTo>
                <a:lnTo>
                  <a:pt x="166" y="207"/>
                </a:lnTo>
                <a:close/>
                <a:moveTo>
                  <a:pt x="160" y="162"/>
                </a:moveTo>
                <a:cubicBezTo>
                  <a:pt x="148" y="150"/>
                  <a:pt x="148" y="150"/>
                  <a:pt x="148" y="150"/>
                </a:cubicBezTo>
                <a:cubicBezTo>
                  <a:pt x="160" y="139"/>
                  <a:pt x="160" y="139"/>
                  <a:pt x="160" y="139"/>
                </a:cubicBezTo>
                <a:cubicBezTo>
                  <a:pt x="171" y="150"/>
                  <a:pt x="171" y="150"/>
                  <a:pt x="171" y="150"/>
                </a:cubicBezTo>
                <a:lnTo>
                  <a:pt x="160" y="162"/>
                </a:lnTo>
                <a:close/>
                <a:moveTo>
                  <a:pt x="185" y="216"/>
                </a:moveTo>
                <a:cubicBezTo>
                  <a:pt x="185" y="216"/>
                  <a:pt x="185" y="216"/>
                  <a:pt x="185" y="216"/>
                </a:cubicBezTo>
                <a:cubicBezTo>
                  <a:pt x="186" y="216"/>
                  <a:pt x="186" y="216"/>
                  <a:pt x="186" y="216"/>
                </a:cubicBezTo>
                <a:lnTo>
                  <a:pt x="185" y="216"/>
                </a:lnTo>
                <a:close/>
                <a:moveTo>
                  <a:pt x="185" y="188"/>
                </a:moveTo>
                <a:cubicBezTo>
                  <a:pt x="174" y="176"/>
                  <a:pt x="174" y="176"/>
                  <a:pt x="174" y="176"/>
                </a:cubicBezTo>
                <a:cubicBezTo>
                  <a:pt x="185" y="164"/>
                  <a:pt x="185" y="164"/>
                  <a:pt x="185" y="164"/>
                </a:cubicBezTo>
                <a:cubicBezTo>
                  <a:pt x="197" y="176"/>
                  <a:pt x="197" y="176"/>
                  <a:pt x="197" y="176"/>
                </a:cubicBezTo>
                <a:lnTo>
                  <a:pt x="185" y="188"/>
                </a:lnTo>
                <a:close/>
                <a:moveTo>
                  <a:pt x="185" y="136"/>
                </a:moveTo>
                <a:cubicBezTo>
                  <a:pt x="174" y="125"/>
                  <a:pt x="174" y="125"/>
                  <a:pt x="174" y="125"/>
                </a:cubicBezTo>
                <a:cubicBezTo>
                  <a:pt x="185" y="113"/>
                  <a:pt x="185" y="113"/>
                  <a:pt x="185" y="113"/>
                </a:cubicBezTo>
                <a:cubicBezTo>
                  <a:pt x="197" y="125"/>
                  <a:pt x="197" y="125"/>
                  <a:pt x="197" y="125"/>
                </a:cubicBezTo>
                <a:lnTo>
                  <a:pt x="185" y="136"/>
                </a:lnTo>
                <a:close/>
                <a:moveTo>
                  <a:pt x="211" y="213"/>
                </a:moveTo>
                <a:cubicBezTo>
                  <a:pt x="199" y="202"/>
                  <a:pt x="199" y="202"/>
                  <a:pt x="199" y="202"/>
                </a:cubicBezTo>
                <a:cubicBezTo>
                  <a:pt x="211" y="190"/>
                  <a:pt x="211" y="190"/>
                  <a:pt x="211" y="190"/>
                </a:cubicBezTo>
                <a:cubicBezTo>
                  <a:pt x="222" y="202"/>
                  <a:pt x="222" y="202"/>
                  <a:pt x="222" y="202"/>
                </a:cubicBezTo>
                <a:lnTo>
                  <a:pt x="211" y="213"/>
                </a:lnTo>
                <a:close/>
                <a:moveTo>
                  <a:pt x="211" y="162"/>
                </a:moveTo>
                <a:cubicBezTo>
                  <a:pt x="199" y="150"/>
                  <a:pt x="199" y="150"/>
                  <a:pt x="199" y="150"/>
                </a:cubicBezTo>
                <a:cubicBezTo>
                  <a:pt x="211" y="139"/>
                  <a:pt x="211" y="139"/>
                  <a:pt x="211" y="139"/>
                </a:cubicBezTo>
                <a:cubicBezTo>
                  <a:pt x="222" y="150"/>
                  <a:pt x="222" y="150"/>
                  <a:pt x="222" y="150"/>
                </a:cubicBezTo>
                <a:lnTo>
                  <a:pt x="211" y="162"/>
                </a:lnTo>
                <a:close/>
                <a:moveTo>
                  <a:pt x="236" y="188"/>
                </a:moveTo>
                <a:cubicBezTo>
                  <a:pt x="225" y="176"/>
                  <a:pt x="225" y="176"/>
                  <a:pt x="225" y="176"/>
                </a:cubicBezTo>
                <a:cubicBezTo>
                  <a:pt x="236" y="164"/>
                  <a:pt x="236" y="164"/>
                  <a:pt x="236" y="164"/>
                </a:cubicBezTo>
                <a:cubicBezTo>
                  <a:pt x="248" y="176"/>
                  <a:pt x="248" y="176"/>
                  <a:pt x="248" y="176"/>
                </a:cubicBezTo>
                <a:lnTo>
                  <a:pt x="236" y="188"/>
                </a:lnTo>
                <a:close/>
                <a:moveTo>
                  <a:pt x="236" y="136"/>
                </a:moveTo>
                <a:cubicBezTo>
                  <a:pt x="225" y="125"/>
                  <a:pt x="225" y="125"/>
                  <a:pt x="225" y="125"/>
                </a:cubicBezTo>
                <a:cubicBezTo>
                  <a:pt x="236" y="113"/>
                  <a:pt x="236" y="113"/>
                  <a:pt x="236" y="113"/>
                </a:cubicBezTo>
                <a:cubicBezTo>
                  <a:pt x="248" y="125"/>
                  <a:pt x="248" y="125"/>
                  <a:pt x="248" y="125"/>
                </a:cubicBezTo>
                <a:lnTo>
                  <a:pt x="236" y="136"/>
                </a:lnTo>
                <a:close/>
                <a:moveTo>
                  <a:pt x="262" y="87"/>
                </a:moveTo>
                <a:cubicBezTo>
                  <a:pt x="274" y="99"/>
                  <a:pt x="274" y="99"/>
                  <a:pt x="274" y="99"/>
                </a:cubicBezTo>
                <a:cubicBezTo>
                  <a:pt x="262" y="111"/>
                  <a:pt x="262" y="111"/>
                  <a:pt x="262" y="111"/>
                </a:cubicBezTo>
                <a:cubicBezTo>
                  <a:pt x="251" y="99"/>
                  <a:pt x="251" y="99"/>
                  <a:pt x="251" y="99"/>
                </a:cubicBezTo>
                <a:lnTo>
                  <a:pt x="262" y="87"/>
                </a:lnTo>
                <a:close/>
                <a:moveTo>
                  <a:pt x="263" y="213"/>
                </a:moveTo>
                <a:cubicBezTo>
                  <a:pt x="262" y="213"/>
                  <a:pt x="262" y="213"/>
                  <a:pt x="262" y="213"/>
                </a:cubicBezTo>
                <a:cubicBezTo>
                  <a:pt x="251" y="202"/>
                  <a:pt x="251" y="202"/>
                  <a:pt x="251" y="202"/>
                </a:cubicBezTo>
                <a:cubicBezTo>
                  <a:pt x="262" y="190"/>
                  <a:pt x="262" y="190"/>
                  <a:pt x="262" y="190"/>
                </a:cubicBezTo>
                <a:cubicBezTo>
                  <a:pt x="274" y="202"/>
                  <a:pt x="274" y="202"/>
                  <a:pt x="274" y="202"/>
                </a:cubicBezTo>
                <a:lnTo>
                  <a:pt x="263" y="213"/>
                </a:lnTo>
                <a:close/>
                <a:moveTo>
                  <a:pt x="262" y="162"/>
                </a:moveTo>
                <a:cubicBezTo>
                  <a:pt x="251" y="150"/>
                  <a:pt x="251" y="150"/>
                  <a:pt x="251" y="150"/>
                </a:cubicBezTo>
                <a:cubicBezTo>
                  <a:pt x="262" y="139"/>
                  <a:pt x="262" y="139"/>
                  <a:pt x="262" y="139"/>
                </a:cubicBezTo>
                <a:cubicBezTo>
                  <a:pt x="274" y="150"/>
                  <a:pt x="274" y="150"/>
                  <a:pt x="274" y="150"/>
                </a:cubicBezTo>
                <a:lnTo>
                  <a:pt x="262" y="162"/>
                </a:lnTo>
                <a:close/>
                <a:moveTo>
                  <a:pt x="288" y="188"/>
                </a:moveTo>
                <a:cubicBezTo>
                  <a:pt x="276" y="176"/>
                  <a:pt x="276" y="176"/>
                  <a:pt x="276" y="176"/>
                </a:cubicBezTo>
                <a:cubicBezTo>
                  <a:pt x="288" y="164"/>
                  <a:pt x="288" y="164"/>
                  <a:pt x="288" y="164"/>
                </a:cubicBezTo>
                <a:cubicBezTo>
                  <a:pt x="299" y="176"/>
                  <a:pt x="299" y="176"/>
                  <a:pt x="299" y="176"/>
                </a:cubicBezTo>
                <a:lnTo>
                  <a:pt x="288" y="188"/>
                </a:lnTo>
                <a:close/>
                <a:moveTo>
                  <a:pt x="288" y="136"/>
                </a:moveTo>
                <a:cubicBezTo>
                  <a:pt x="276" y="125"/>
                  <a:pt x="276" y="125"/>
                  <a:pt x="276" y="125"/>
                </a:cubicBezTo>
                <a:cubicBezTo>
                  <a:pt x="288" y="113"/>
                  <a:pt x="288" y="113"/>
                  <a:pt x="288" y="113"/>
                </a:cubicBezTo>
                <a:cubicBezTo>
                  <a:pt x="299" y="125"/>
                  <a:pt x="299" y="125"/>
                  <a:pt x="299" y="125"/>
                </a:cubicBezTo>
                <a:lnTo>
                  <a:pt x="288" y="136"/>
                </a:lnTo>
                <a:close/>
                <a:moveTo>
                  <a:pt x="316" y="211"/>
                </a:moveTo>
                <a:cubicBezTo>
                  <a:pt x="311" y="211"/>
                  <a:pt x="311" y="211"/>
                  <a:pt x="311" y="211"/>
                </a:cubicBezTo>
                <a:cubicBezTo>
                  <a:pt x="302" y="202"/>
                  <a:pt x="302" y="202"/>
                  <a:pt x="302" y="202"/>
                </a:cubicBezTo>
                <a:cubicBezTo>
                  <a:pt x="313" y="190"/>
                  <a:pt x="313" y="190"/>
                  <a:pt x="313" y="190"/>
                </a:cubicBezTo>
                <a:cubicBezTo>
                  <a:pt x="325" y="202"/>
                  <a:pt x="325" y="202"/>
                  <a:pt x="325" y="202"/>
                </a:cubicBezTo>
                <a:lnTo>
                  <a:pt x="316" y="211"/>
                </a:lnTo>
                <a:close/>
                <a:moveTo>
                  <a:pt x="313" y="162"/>
                </a:moveTo>
                <a:cubicBezTo>
                  <a:pt x="302" y="150"/>
                  <a:pt x="302" y="150"/>
                  <a:pt x="302" y="150"/>
                </a:cubicBezTo>
                <a:cubicBezTo>
                  <a:pt x="313" y="139"/>
                  <a:pt x="313" y="139"/>
                  <a:pt x="313" y="139"/>
                </a:cubicBezTo>
                <a:cubicBezTo>
                  <a:pt x="325" y="150"/>
                  <a:pt x="325" y="150"/>
                  <a:pt x="325" y="150"/>
                </a:cubicBezTo>
                <a:lnTo>
                  <a:pt x="313" y="162"/>
                </a:lnTo>
                <a:close/>
                <a:moveTo>
                  <a:pt x="339" y="188"/>
                </a:moveTo>
                <a:cubicBezTo>
                  <a:pt x="327" y="176"/>
                  <a:pt x="327" y="176"/>
                  <a:pt x="327" y="176"/>
                </a:cubicBezTo>
                <a:cubicBezTo>
                  <a:pt x="339" y="164"/>
                  <a:pt x="339" y="164"/>
                  <a:pt x="339" y="164"/>
                </a:cubicBezTo>
                <a:cubicBezTo>
                  <a:pt x="351" y="176"/>
                  <a:pt x="351" y="176"/>
                  <a:pt x="351" y="176"/>
                </a:cubicBezTo>
                <a:lnTo>
                  <a:pt x="339" y="188"/>
                </a:lnTo>
                <a:close/>
                <a:moveTo>
                  <a:pt x="370" y="208"/>
                </a:moveTo>
                <a:cubicBezTo>
                  <a:pt x="360" y="209"/>
                  <a:pt x="360" y="209"/>
                  <a:pt x="360" y="209"/>
                </a:cubicBezTo>
                <a:cubicBezTo>
                  <a:pt x="353" y="202"/>
                  <a:pt x="353" y="202"/>
                  <a:pt x="353" y="202"/>
                </a:cubicBezTo>
                <a:cubicBezTo>
                  <a:pt x="365" y="190"/>
                  <a:pt x="365" y="190"/>
                  <a:pt x="365" y="190"/>
                </a:cubicBezTo>
                <a:cubicBezTo>
                  <a:pt x="376" y="202"/>
                  <a:pt x="376" y="202"/>
                  <a:pt x="376" y="202"/>
                </a:cubicBezTo>
                <a:lnTo>
                  <a:pt x="370" y="208"/>
                </a:lnTo>
                <a:close/>
                <a:moveTo>
                  <a:pt x="365" y="162"/>
                </a:moveTo>
                <a:cubicBezTo>
                  <a:pt x="353" y="150"/>
                  <a:pt x="353" y="150"/>
                  <a:pt x="353" y="150"/>
                </a:cubicBezTo>
                <a:cubicBezTo>
                  <a:pt x="365" y="139"/>
                  <a:pt x="365" y="139"/>
                  <a:pt x="365" y="139"/>
                </a:cubicBezTo>
                <a:cubicBezTo>
                  <a:pt x="376" y="150"/>
                  <a:pt x="376" y="150"/>
                  <a:pt x="376" y="150"/>
                </a:cubicBezTo>
                <a:lnTo>
                  <a:pt x="365" y="162"/>
                </a:lnTo>
                <a:close/>
                <a:moveTo>
                  <a:pt x="365" y="111"/>
                </a:moveTo>
                <a:cubicBezTo>
                  <a:pt x="353" y="99"/>
                  <a:pt x="353" y="99"/>
                  <a:pt x="353" y="99"/>
                </a:cubicBezTo>
                <a:cubicBezTo>
                  <a:pt x="359" y="93"/>
                  <a:pt x="359" y="93"/>
                  <a:pt x="359" y="93"/>
                </a:cubicBezTo>
                <a:cubicBezTo>
                  <a:pt x="371" y="94"/>
                  <a:pt x="371" y="94"/>
                  <a:pt x="371" y="94"/>
                </a:cubicBezTo>
                <a:cubicBezTo>
                  <a:pt x="376" y="99"/>
                  <a:pt x="376" y="99"/>
                  <a:pt x="376" y="99"/>
                </a:cubicBezTo>
                <a:lnTo>
                  <a:pt x="365" y="111"/>
                </a:lnTo>
                <a:close/>
                <a:moveTo>
                  <a:pt x="396" y="182"/>
                </a:moveTo>
                <a:cubicBezTo>
                  <a:pt x="390" y="188"/>
                  <a:pt x="390" y="188"/>
                  <a:pt x="390" y="188"/>
                </a:cubicBezTo>
                <a:cubicBezTo>
                  <a:pt x="379" y="176"/>
                  <a:pt x="379" y="176"/>
                  <a:pt x="379" y="176"/>
                </a:cubicBezTo>
                <a:cubicBezTo>
                  <a:pt x="390" y="164"/>
                  <a:pt x="390" y="164"/>
                  <a:pt x="390" y="164"/>
                </a:cubicBezTo>
                <a:cubicBezTo>
                  <a:pt x="398" y="172"/>
                  <a:pt x="398" y="172"/>
                  <a:pt x="398" y="172"/>
                </a:cubicBezTo>
                <a:lnTo>
                  <a:pt x="396" y="182"/>
                </a:lnTo>
                <a:close/>
                <a:moveTo>
                  <a:pt x="390" y="136"/>
                </a:moveTo>
                <a:cubicBezTo>
                  <a:pt x="379" y="125"/>
                  <a:pt x="379" y="125"/>
                  <a:pt x="379" y="125"/>
                </a:cubicBezTo>
                <a:cubicBezTo>
                  <a:pt x="390" y="113"/>
                  <a:pt x="390" y="113"/>
                  <a:pt x="390" y="113"/>
                </a:cubicBezTo>
                <a:cubicBezTo>
                  <a:pt x="402" y="125"/>
                  <a:pt x="402" y="125"/>
                  <a:pt x="402" y="125"/>
                </a:cubicBezTo>
                <a:lnTo>
                  <a:pt x="390" y="136"/>
                </a:lnTo>
                <a:close/>
                <a:moveTo>
                  <a:pt x="409" y="103"/>
                </a:moveTo>
                <a:cubicBezTo>
                  <a:pt x="404" y="99"/>
                  <a:pt x="404" y="99"/>
                  <a:pt x="404" y="99"/>
                </a:cubicBezTo>
                <a:cubicBezTo>
                  <a:pt x="407" y="96"/>
                  <a:pt x="407" y="96"/>
                  <a:pt x="407" y="96"/>
                </a:cubicBezTo>
                <a:cubicBezTo>
                  <a:pt x="410" y="97"/>
                  <a:pt x="410" y="97"/>
                  <a:pt x="410" y="97"/>
                </a:cubicBezTo>
                <a:lnTo>
                  <a:pt x="409" y="103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1" name="Freeform 45"/>
          <p:cNvSpPr>
            <a:spLocks noEditPoints="1"/>
          </p:cNvSpPr>
          <p:nvPr>
            <p:custDataLst>
              <p:tags r:id="rId26"/>
            </p:custDataLst>
          </p:nvPr>
        </p:nvSpPr>
        <p:spPr bwMode="auto">
          <a:xfrm>
            <a:off x="4487863" y="2608263"/>
            <a:ext cx="176212" cy="266700"/>
          </a:xfrm>
          <a:custGeom>
            <a:avLst/>
            <a:gdLst>
              <a:gd name="T0" fmla="*/ 266 w 266"/>
              <a:gd name="T1" fmla="*/ 133 h 403"/>
              <a:gd name="T2" fmla="*/ 133 w 266"/>
              <a:gd name="T3" fmla="*/ 0 h 403"/>
              <a:gd name="T4" fmla="*/ 0 w 266"/>
              <a:gd name="T5" fmla="*/ 133 h 403"/>
              <a:gd name="T6" fmla="*/ 2 w 266"/>
              <a:gd name="T7" fmla="*/ 156 h 403"/>
              <a:gd name="T8" fmla="*/ 19 w 266"/>
              <a:gd name="T9" fmla="*/ 203 h 403"/>
              <a:gd name="T10" fmla="*/ 19 w 266"/>
              <a:gd name="T11" fmla="*/ 203 h 403"/>
              <a:gd name="T12" fmla="*/ 133 w 266"/>
              <a:gd name="T13" fmla="*/ 403 h 403"/>
              <a:gd name="T14" fmla="*/ 133 w 266"/>
              <a:gd name="T15" fmla="*/ 403 h 403"/>
              <a:gd name="T16" fmla="*/ 133 w 266"/>
              <a:gd name="T17" fmla="*/ 403 h 403"/>
              <a:gd name="T18" fmla="*/ 247 w 266"/>
              <a:gd name="T19" fmla="*/ 203 h 403"/>
              <a:gd name="T20" fmla="*/ 247 w 266"/>
              <a:gd name="T21" fmla="*/ 203 h 403"/>
              <a:gd name="T22" fmla="*/ 266 w 266"/>
              <a:gd name="T23" fmla="*/ 133 h 403"/>
              <a:gd name="T24" fmla="*/ 133 w 266"/>
              <a:gd name="T25" fmla="*/ 189 h 403"/>
              <a:gd name="T26" fmla="*/ 76 w 266"/>
              <a:gd name="T27" fmla="*/ 131 h 403"/>
              <a:gd name="T28" fmla="*/ 133 w 266"/>
              <a:gd name="T29" fmla="*/ 74 h 403"/>
              <a:gd name="T30" fmla="*/ 190 w 266"/>
              <a:gd name="T31" fmla="*/ 131 h 403"/>
              <a:gd name="T32" fmla="*/ 133 w 266"/>
              <a:gd name="T33" fmla="*/ 189 h 4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66" h="403">
                <a:moveTo>
                  <a:pt x="266" y="133"/>
                </a:moveTo>
                <a:cubicBezTo>
                  <a:pt x="266" y="60"/>
                  <a:pt x="207" y="0"/>
                  <a:pt x="133" y="0"/>
                </a:cubicBezTo>
                <a:cubicBezTo>
                  <a:pt x="59" y="0"/>
                  <a:pt x="0" y="60"/>
                  <a:pt x="0" y="133"/>
                </a:cubicBezTo>
                <a:cubicBezTo>
                  <a:pt x="0" y="141"/>
                  <a:pt x="0" y="149"/>
                  <a:pt x="2" y="156"/>
                </a:cubicBezTo>
                <a:cubicBezTo>
                  <a:pt x="4" y="173"/>
                  <a:pt x="11" y="189"/>
                  <a:pt x="19" y="203"/>
                </a:cubicBezTo>
                <a:cubicBezTo>
                  <a:pt x="19" y="203"/>
                  <a:pt x="19" y="203"/>
                  <a:pt x="19" y="203"/>
                </a:cubicBezTo>
                <a:cubicBezTo>
                  <a:pt x="133" y="403"/>
                  <a:pt x="133" y="403"/>
                  <a:pt x="133" y="403"/>
                </a:cubicBezTo>
                <a:cubicBezTo>
                  <a:pt x="133" y="403"/>
                  <a:pt x="133" y="403"/>
                  <a:pt x="133" y="403"/>
                </a:cubicBezTo>
                <a:cubicBezTo>
                  <a:pt x="133" y="403"/>
                  <a:pt x="133" y="403"/>
                  <a:pt x="133" y="403"/>
                </a:cubicBezTo>
                <a:cubicBezTo>
                  <a:pt x="247" y="203"/>
                  <a:pt x="247" y="203"/>
                  <a:pt x="247" y="203"/>
                </a:cubicBezTo>
                <a:cubicBezTo>
                  <a:pt x="247" y="203"/>
                  <a:pt x="247" y="203"/>
                  <a:pt x="247" y="203"/>
                </a:cubicBezTo>
                <a:cubicBezTo>
                  <a:pt x="259" y="182"/>
                  <a:pt x="266" y="159"/>
                  <a:pt x="266" y="133"/>
                </a:cubicBezTo>
                <a:close/>
                <a:moveTo>
                  <a:pt x="133" y="189"/>
                </a:moveTo>
                <a:cubicBezTo>
                  <a:pt x="101" y="189"/>
                  <a:pt x="76" y="163"/>
                  <a:pt x="76" y="131"/>
                </a:cubicBezTo>
                <a:cubicBezTo>
                  <a:pt x="76" y="100"/>
                  <a:pt x="101" y="74"/>
                  <a:pt x="133" y="74"/>
                </a:cubicBezTo>
                <a:cubicBezTo>
                  <a:pt x="165" y="74"/>
                  <a:pt x="190" y="100"/>
                  <a:pt x="190" y="131"/>
                </a:cubicBezTo>
                <a:cubicBezTo>
                  <a:pt x="190" y="163"/>
                  <a:pt x="165" y="189"/>
                  <a:pt x="133" y="189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2" name="Freeform 35"/>
          <p:cNvSpPr>
            <a:spLocks noEditPoints="1"/>
          </p:cNvSpPr>
          <p:nvPr>
            <p:custDataLst>
              <p:tags r:id="rId27"/>
            </p:custDataLst>
          </p:nvPr>
        </p:nvSpPr>
        <p:spPr bwMode="auto">
          <a:xfrm flipH="1">
            <a:off x="3478213" y="484188"/>
            <a:ext cx="481012" cy="387350"/>
          </a:xfrm>
          <a:custGeom>
            <a:avLst/>
            <a:gdLst>
              <a:gd name="T0" fmla="*/ 92 w 430"/>
              <a:gd name="T1" fmla="*/ 49 h 348"/>
              <a:gd name="T2" fmla="*/ 71 w 430"/>
              <a:gd name="T3" fmla="*/ 31 h 348"/>
              <a:gd name="T4" fmla="*/ 32 w 430"/>
              <a:gd name="T5" fmla="*/ 11 h 348"/>
              <a:gd name="T6" fmla="*/ 24 w 430"/>
              <a:gd name="T7" fmla="*/ 31 h 348"/>
              <a:gd name="T8" fmla="*/ 134 w 430"/>
              <a:gd name="T9" fmla="*/ 240 h 348"/>
              <a:gd name="T10" fmla="*/ 155 w 430"/>
              <a:gd name="T11" fmla="*/ 289 h 348"/>
              <a:gd name="T12" fmla="*/ 141 w 430"/>
              <a:gd name="T13" fmla="*/ 314 h 348"/>
              <a:gd name="T14" fmla="*/ 140 w 430"/>
              <a:gd name="T15" fmla="*/ 320 h 348"/>
              <a:gd name="T16" fmla="*/ 195 w 430"/>
              <a:gd name="T17" fmla="*/ 317 h 348"/>
              <a:gd name="T18" fmla="*/ 181 w 430"/>
              <a:gd name="T19" fmla="*/ 295 h 348"/>
              <a:gd name="T20" fmla="*/ 340 w 430"/>
              <a:gd name="T21" fmla="*/ 291 h 348"/>
              <a:gd name="T22" fmla="*/ 381 w 430"/>
              <a:gd name="T23" fmla="*/ 320 h 348"/>
              <a:gd name="T24" fmla="*/ 387 w 430"/>
              <a:gd name="T25" fmla="*/ 289 h 348"/>
              <a:gd name="T26" fmla="*/ 393 w 430"/>
              <a:gd name="T27" fmla="*/ 274 h 348"/>
              <a:gd name="T28" fmla="*/ 390 w 430"/>
              <a:gd name="T29" fmla="*/ 273 h 348"/>
              <a:gd name="T30" fmla="*/ 135 w 430"/>
              <a:gd name="T31" fmla="*/ 272 h 348"/>
              <a:gd name="T32" fmla="*/ 154 w 430"/>
              <a:gd name="T33" fmla="*/ 234 h 348"/>
              <a:gd name="T34" fmla="*/ 180 w 430"/>
              <a:gd name="T35" fmla="*/ 238 h 348"/>
              <a:gd name="T36" fmla="*/ 405 w 430"/>
              <a:gd name="T37" fmla="*/ 218 h 348"/>
              <a:gd name="T38" fmla="*/ 430 w 430"/>
              <a:gd name="T39" fmla="*/ 81 h 348"/>
              <a:gd name="T40" fmla="*/ 140 w 430"/>
              <a:gd name="T41" fmla="*/ 79 h 348"/>
              <a:gd name="T42" fmla="*/ 118 w 430"/>
              <a:gd name="T43" fmla="*/ 101 h 348"/>
              <a:gd name="T44" fmla="*/ 134 w 430"/>
              <a:gd name="T45" fmla="*/ 113 h 348"/>
              <a:gd name="T46" fmla="*/ 351 w 430"/>
              <a:gd name="T47" fmla="*/ 125 h 348"/>
              <a:gd name="T48" fmla="*/ 311 w 430"/>
              <a:gd name="T49" fmla="*/ 90 h 348"/>
              <a:gd name="T50" fmla="*/ 302 w 430"/>
              <a:gd name="T51" fmla="*/ 99 h 348"/>
              <a:gd name="T52" fmla="*/ 211 w 430"/>
              <a:gd name="T53" fmla="*/ 111 h 348"/>
              <a:gd name="T54" fmla="*/ 185 w 430"/>
              <a:gd name="T55" fmla="*/ 85 h 348"/>
              <a:gd name="T56" fmla="*/ 171 w 430"/>
              <a:gd name="T57" fmla="*/ 99 h 348"/>
              <a:gd name="T58" fmla="*/ 166 w 430"/>
              <a:gd name="T59" fmla="*/ 207 h 348"/>
              <a:gd name="T60" fmla="*/ 171 w 430"/>
              <a:gd name="T61" fmla="*/ 202 h 348"/>
              <a:gd name="T62" fmla="*/ 160 w 430"/>
              <a:gd name="T63" fmla="*/ 139 h 348"/>
              <a:gd name="T64" fmla="*/ 185 w 430"/>
              <a:gd name="T65" fmla="*/ 216 h 348"/>
              <a:gd name="T66" fmla="*/ 174 w 430"/>
              <a:gd name="T67" fmla="*/ 176 h 348"/>
              <a:gd name="T68" fmla="*/ 185 w 430"/>
              <a:gd name="T69" fmla="*/ 136 h 348"/>
              <a:gd name="T70" fmla="*/ 185 w 430"/>
              <a:gd name="T71" fmla="*/ 136 h 348"/>
              <a:gd name="T72" fmla="*/ 222 w 430"/>
              <a:gd name="T73" fmla="*/ 202 h 348"/>
              <a:gd name="T74" fmla="*/ 211 w 430"/>
              <a:gd name="T75" fmla="*/ 139 h 348"/>
              <a:gd name="T76" fmla="*/ 225 w 430"/>
              <a:gd name="T77" fmla="*/ 176 h 348"/>
              <a:gd name="T78" fmla="*/ 236 w 430"/>
              <a:gd name="T79" fmla="*/ 136 h 348"/>
              <a:gd name="T80" fmla="*/ 236 w 430"/>
              <a:gd name="T81" fmla="*/ 136 h 348"/>
              <a:gd name="T82" fmla="*/ 251 w 430"/>
              <a:gd name="T83" fmla="*/ 99 h 348"/>
              <a:gd name="T84" fmla="*/ 251 w 430"/>
              <a:gd name="T85" fmla="*/ 202 h 348"/>
              <a:gd name="T86" fmla="*/ 262 w 430"/>
              <a:gd name="T87" fmla="*/ 162 h 348"/>
              <a:gd name="T88" fmla="*/ 262 w 430"/>
              <a:gd name="T89" fmla="*/ 162 h 348"/>
              <a:gd name="T90" fmla="*/ 299 w 430"/>
              <a:gd name="T91" fmla="*/ 176 h 348"/>
              <a:gd name="T92" fmla="*/ 288 w 430"/>
              <a:gd name="T93" fmla="*/ 113 h 348"/>
              <a:gd name="T94" fmla="*/ 311 w 430"/>
              <a:gd name="T95" fmla="*/ 211 h 348"/>
              <a:gd name="T96" fmla="*/ 316 w 430"/>
              <a:gd name="T97" fmla="*/ 211 h 348"/>
              <a:gd name="T98" fmla="*/ 325 w 430"/>
              <a:gd name="T99" fmla="*/ 150 h 348"/>
              <a:gd name="T100" fmla="*/ 339 w 430"/>
              <a:gd name="T101" fmla="*/ 164 h 348"/>
              <a:gd name="T102" fmla="*/ 360 w 430"/>
              <a:gd name="T103" fmla="*/ 209 h 348"/>
              <a:gd name="T104" fmla="*/ 370 w 430"/>
              <a:gd name="T105" fmla="*/ 208 h 348"/>
              <a:gd name="T106" fmla="*/ 376 w 430"/>
              <a:gd name="T107" fmla="*/ 150 h 348"/>
              <a:gd name="T108" fmla="*/ 359 w 430"/>
              <a:gd name="T109" fmla="*/ 93 h 348"/>
              <a:gd name="T110" fmla="*/ 396 w 430"/>
              <a:gd name="T111" fmla="*/ 182 h 348"/>
              <a:gd name="T112" fmla="*/ 398 w 430"/>
              <a:gd name="T113" fmla="*/ 172 h 348"/>
              <a:gd name="T114" fmla="*/ 390 w 430"/>
              <a:gd name="T115" fmla="*/ 113 h 348"/>
              <a:gd name="T116" fmla="*/ 404 w 430"/>
              <a:gd name="T117" fmla="*/ 99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30" h="348">
                <a:moveTo>
                  <a:pt x="430" y="81"/>
                </a:moveTo>
                <a:cubicBezTo>
                  <a:pt x="430" y="78"/>
                  <a:pt x="430" y="76"/>
                  <a:pt x="428" y="74"/>
                </a:cubicBezTo>
                <a:cubicBezTo>
                  <a:pt x="427" y="72"/>
                  <a:pt x="424" y="71"/>
                  <a:pt x="422" y="71"/>
                </a:cubicBezTo>
                <a:cubicBezTo>
                  <a:pt x="92" y="49"/>
                  <a:pt x="92" y="49"/>
                  <a:pt x="92" y="49"/>
                </a:cubicBezTo>
                <a:cubicBezTo>
                  <a:pt x="89" y="48"/>
                  <a:pt x="86" y="50"/>
                  <a:pt x="84" y="52"/>
                </a:cubicBezTo>
                <a:cubicBezTo>
                  <a:pt x="83" y="54"/>
                  <a:pt x="82" y="57"/>
                  <a:pt x="83" y="59"/>
                </a:cubicBezTo>
                <a:cubicBezTo>
                  <a:pt x="83" y="59"/>
                  <a:pt x="83" y="59"/>
                  <a:pt x="83" y="59"/>
                </a:cubicBezTo>
                <a:cubicBezTo>
                  <a:pt x="71" y="31"/>
                  <a:pt x="71" y="31"/>
                  <a:pt x="71" y="31"/>
                </a:cubicBezTo>
                <a:cubicBezTo>
                  <a:pt x="71" y="29"/>
                  <a:pt x="69" y="27"/>
                  <a:pt x="67" y="26"/>
                </a:cubicBezTo>
                <a:cubicBezTo>
                  <a:pt x="58" y="22"/>
                  <a:pt x="58" y="22"/>
                  <a:pt x="58" y="22"/>
                </a:cubicBezTo>
                <a:cubicBezTo>
                  <a:pt x="58" y="22"/>
                  <a:pt x="58" y="22"/>
                  <a:pt x="58" y="22"/>
                </a:cubicBezTo>
                <a:cubicBezTo>
                  <a:pt x="32" y="11"/>
                  <a:pt x="32" y="11"/>
                  <a:pt x="32" y="11"/>
                </a:cubicBezTo>
                <a:cubicBezTo>
                  <a:pt x="30" y="4"/>
                  <a:pt x="24" y="0"/>
                  <a:pt x="17" y="0"/>
                </a:cubicBezTo>
                <a:cubicBezTo>
                  <a:pt x="8" y="0"/>
                  <a:pt x="0" y="7"/>
                  <a:pt x="0" y="16"/>
                </a:cubicBezTo>
                <a:cubicBezTo>
                  <a:pt x="0" y="25"/>
                  <a:pt x="8" y="32"/>
                  <a:pt x="17" y="32"/>
                </a:cubicBezTo>
                <a:cubicBezTo>
                  <a:pt x="19" y="32"/>
                  <a:pt x="22" y="32"/>
                  <a:pt x="24" y="31"/>
                </a:cubicBezTo>
                <a:cubicBezTo>
                  <a:pt x="49" y="41"/>
                  <a:pt x="49" y="41"/>
                  <a:pt x="49" y="41"/>
                </a:cubicBezTo>
                <a:cubicBezTo>
                  <a:pt x="49" y="41"/>
                  <a:pt x="49" y="41"/>
                  <a:pt x="49" y="41"/>
                </a:cubicBezTo>
                <a:cubicBezTo>
                  <a:pt x="55" y="43"/>
                  <a:pt x="55" y="43"/>
                  <a:pt x="55" y="43"/>
                </a:cubicBezTo>
                <a:cubicBezTo>
                  <a:pt x="134" y="240"/>
                  <a:pt x="134" y="240"/>
                  <a:pt x="134" y="240"/>
                </a:cubicBezTo>
                <a:cubicBezTo>
                  <a:pt x="113" y="276"/>
                  <a:pt x="113" y="276"/>
                  <a:pt x="113" y="276"/>
                </a:cubicBezTo>
                <a:cubicBezTo>
                  <a:pt x="111" y="279"/>
                  <a:pt x="111" y="282"/>
                  <a:pt x="113" y="284"/>
                </a:cubicBezTo>
                <a:cubicBezTo>
                  <a:pt x="114" y="287"/>
                  <a:pt x="117" y="289"/>
                  <a:pt x="120" y="289"/>
                </a:cubicBezTo>
                <a:cubicBezTo>
                  <a:pt x="155" y="289"/>
                  <a:pt x="155" y="289"/>
                  <a:pt x="155" y="289"/>
                </a:cubicBezTo>
                <a:cubicBezTo>
                  <a:pt x="155" y="291"/>
                  <a:pt x="155" y="291"/>
                  <a:pt x="155" y="291"/>
                </a:cubicBezTo>
                <a:cubicBezTo>
                  <a:pt x="155" y="295"/>
                  <a:pt x="155" y="295"/>
                  <a:pt x="155" y="295"/>
                </a:cubicBezTo>
                <a:cubicBezTo>
                  <a:pt x="148" y="299"/>
                  <a:pt x="143" y="306"/>
                  <a:pt x="141" y="314"/>
                </a:cubicBezTo>
                <a:cubicBezTo>
                  <a:pt x="141" y="314"/>
                  <a:pt x="141" y="314"/>
                  <a:pt x="141" y="314"/>
                </a:cubicBezTo>
                <a:cubicBezTo>
                  <a:pt x="141" y="314"/>
                  <a:pt x="141" y="314"/>
                  <a:pt x="141" y="314"/>
                </a:cubicBezTo>
                <a:cubicBezTo>
                  <a:pt x="141" y="315"/>
                  <a:pt x="140" y="316"/>
                  <a:pt x="140" y="316"/>
                </a:cubicBezTo>
                <a:cubicBezTo>
                  <a:pt x="140" y="317"/>
                  <a:pt x="140" y="317"/>
                  <a:pt x="140" y="317"/>
                </a:cubicBezTo>
                <a:cubicBezTo>
                  <a:pt x="140" y="318"/>
                  <a:pt x="140" y="319"/>
                  <a:pt x="140" y="320"/>
                </a:cubicBezTo>
                <a:cubicBezTo>
                  <a:pt x="140" y="335"/>
                  <a:pt x="153" y="348"/>
                  <a:pt x="168" y="348"/>
                </a:cubicBezTo>
                <a:cubicBezTo>
                  <a:pt x="183" y="348"/>
                  <a:pt x="195" y="335"/>
                  <a:pt x="195" y="320"/>
                </a:cubicBezTo>
                <a:cubicBezTo>
                  <a:pt x="195" y="319"/>
                  <a:pt x="195" y="318"/>
                  <a:pt x="195" y="317"/>
                </a:cubicBezTo>
                <a:cubicBezTo>
                  <a:pt x="195" y="317"/>
                  <a:pt x="195" y="317"/>
                  <a:pt x="195" y="317"/>
                </a:cubicBezTo>
                <a:cubicBezTo>
                  <a:pt x="195" y="316"/>
                  <a:pt x="195" y="315"/>
                  <a:pt x="195" y="314"/>
                </a:cubicBezTo>
                <a:cubicBezTo>
                  <a:pt x="195" y="314"/>
                  <a:pt x="195" y="314"/>
                  <a:pt x="195" y="314"/>
                </a:cubicBezTo>
                <a:cubicBezTo>
                  <a:pt x="195" y="314"/>
                  <a:pt x="195" y="314"/>
                  <a:pt x="195" y="314"/>
                </a:cubicBezTo>
                <a:cubicBezTo>
                  <a:pt x="193" y="306"/>
                  <a:pt x="188" y="299"/>
                  <a:pt x="181" y="295"/>
                </a:cubicBezTo>
                <a:cubicBezTo>
                  <a:pt x="181" y="291"/>
                  <a:pt x="181" y="291"/>
                  <a:pt x="181" y="291"/>
                </a:cubicBezTo>
                <a:cubicBezTo>
                  <a:pt x="181" y="289"/>
                  <a:pt x="181" y="289"/>
                  <a:pt x="181" y="289"/>
                </a:cubicBezTo>
                <a:cubicBezTo>
                  <a:pt x="340" y="289"/>
                  <a:pt x="340" y="289"/>
                  <a:pt x="340" y="289"/>
                </a:cubicBezTo>
                <a:cubicBezTo>
                  <a:pt x="340" y="291"/>
                  <a:pt x="340" y="291"/>
                  <a:pt x="340" y="291"/>
                </a:cubicBezTo>
                <a:cubicBezTo>
                  <a:pt x="340" y="295"/>
                  <a:pt x="340" y="295"/>
                  <a:pt x="340" y="295"/>
                </a:cubicBezTo>
                <a:cubicBezTo>
                  <a:pt x="331" y="300"/>
                  <a:pt x="325" y="309"/>
                  <a:pt x="325" y="320"/>
                </a:cubicBezTo>
                <a:cubicBezTo>
                  <a:pt x="325" y="335"/>
                  <a:pt x="338" y="348"/>
                  <a:pt x="353" y="348"/>
                </a:cubicBezTo>
                <a:cubicBezTo>
                  <a:pt x="368" y="348"/>
                  <a:pt x="381" y="335"/>
                  <a:pt x="381" y="320"/>
                </a:cubicBezTo>
                <a:cubicBezTo>
                  <a:pt x="381" y="309"/>
                  <a:pt x="375" y="300"/>
                  <a:pt x="366" y="295"/>
                </a:cubicBezTo>
                <a:cubicBezTo>
                  <a:pt x="366" y="291"/>
                  <a:pt x="366" y="291"/>
                  <a:pt x="366" y="291"/>
                </a:cubicBezTo>
                <a:cubicBezTo>
                  <a:pt x="366" y="289"/>
                  <a:pt x="366" y="289"/>
                  <a:pt x="366" y="289"/>
                </a:cubicBezTo>
                <a:cubicBezTo>
                  <a:pt x="387" y="289"/>
                  <a:pt x="387" y="289"/>
                  <a:pt x="387" y="289"/>
                </a:cubicBezTo>
                <a:cubicBezTo>
                  <a:pt x="391" y="289"/>
                  <a:pt x="395" y="285"/>
                  <a:pt x="395" y="280"/>
                </a:cubicBezTo>
                <a:cubicBezTo>
                  <a:pt x="395" y="278"/>
                  <a:pt x="394" y="276"/>
                  <a:pt x="393" y="275"/>
                </a:cubicBezTo>
                <a:cubicBezTo>
                  <a:pt x="393" y="275"/>
                  <a:pt x="393" y="275"/>
                  <a:pt x="393" y="275"/>
                </a:cubicBezTo>
                <a:cubicBezTo>
                  <a:pt x="393" y="274"/>
                  <a:pt x="393" y="274"/>
                  <a:pt x="393" y="274"/>
                </a:cubicBezTo>
                <a:cubicBezTo>
                  <a:pt x="392" y="274"/>
                  <a:pt x="392" y="274"/>
                  <a:pt x="392" y="274"/>
                </a:cubicBezTo>
                <a:cubicBezTo>
                  <a:pt x="392" y="274"/>
                  <a:pt x="392" y="273"/>
                  <a:pt x="391" y="273"/>
                </a:cubicBezTo>
                <a:cubicBezTo>
                  <a:pt x="391" y="273"/>
                  <a:pt x="391" y="273"/>
                  <a:pt x="390" y="273"/>
                </a:cubicBezTo>
                <a:cubicBezTo>
                  <a:pt x="390" y="273"/>
                  <a:pt x="390" y="273"/>
                  <a:pt x="390" y="273"/>
                </a:cubicBezTo>
                <a:cubicBezTo>
                  <a:pt x="390" y="272"/>
                  <a:pt x="389" y="272"/>
                  <a:pt x="389" y="272"/>
                </a:cubicBezTo>
                <a:cubicBezTo>
                  <a:pt x="389" y="272"/>
                  <a:pt x="389" y="272"/>
                  <a:pt x="388" y="272"/>
                </a:cubicBezTo>
                <a:cubicBezTo>
                  <a:pt x="388" y="272"/>
                  <a:pt x="387" y="272"/>
                  <a:pt x="387" y="272"/>
                </a:cubicBezTo>
                <a:cubicBezTo>
                  <a:pt x="135" y="272"/>
                  <a:pt x="135" y="272"/>
                  <a:pt x="135" y="272"/>
                </a:cubicBezTo>
                <a:cubicBezTo>
                  <a:pt x="153" y="242"/>
                  <a:pt x="153" y="242"/>
                  <a:pt x="153" y="242"/>
                </a:cubicBezTo>
                <a:cubicBezTo>
                  <a:pt x="153" y="242"/>
                  <a:pt x="153" y="242"/>
                  <a:pt x="153" y="242"/>
                </a:cubicBezTo>
                <a:cubicBezTo>
                  <a:pt x="153" y="242"/>
                  <a:pt x="153" y="242"/>
                  <a:pt x="153" y="242"/>
                </a:cubicBezTo>
                <a:cubicBezTo>
                  <a:pt x="154" y="240"/>
                  <a:pt x="155" y="237"/>
                  <a:pt x="154" y="234"/>
                </a:cubicBezTo>
                <a:cubicBezTo>
                  <a:pt x="148" y="220"/>
                  <a:pt x="148" y="220"/>
                  <a:pt x="148" y="220"/>
                </a:cubicBezTo>
                <a:cubicBezTo>
                  <a:pt x="148" y="220"/>
                  <a:pt x="148" y="220"/>
                  <a:pt x="148" y="220"/>
                </a:cubicBezTo>
                <a:cubicBezTo>
                  <a:pt x="175" y="237"/>
                  <a:pt x="175" y="237"/>
                  <a:pt x="175" y="237"/>
                </a:cubicBezTo>
                <a:cubicBezTo>
                  <a:pt x="177" y="238"/>
                  <a:pt x="178" y="238"/>
                  <a:pt x="180" y="238"/>
                </a:cubicBezTo>
                <a:cubicBezTo>
                  <a:pt x="180" y="238"/>
                  <a:pt x="180" y="238"/>
                  <a:pt x="180" y="238"/>
                </a:cubicBezTo>
                <a:cubicBezTo>
                  <a:pt x="382" y="229"/>
                  <a:pt x="382" y="229"/>
                  <a:pt x="382" y="229"/>
                </a:cubicBezTo>
                <a:cubicBezTo>
                  <a:pt x="383" y="229"/>
                  <a:pt x="384" y="229"/>
                  <a:pt x="385" y="228"/>
                </a:cubicBezTo>
                <a:cubicBezTo>
                  <a:pt x="405" y="218"/>
                  <a:pt x="405" y="218"/>
                  <a:pt x="405" y="218"/>
                </a:cubicBezTo>
                <a:cubicBezTo>
                  <a:pt x="407" y="217"/>
                  <a:pt x="409" y="215"/>
                  <a:pt x="409" y="212"/>
                </a:cubicBezTo>
                <a:cubicBezTo>
                  <a:pt x="430" y="85"/>
                  <a:pt x="430" y="85"/>
                  <a:pt x="430" y="85"/>
                </a:cubicBezTo>
                <a:cubicBezTo>
                  <a:pt x="430" y="84"/>
                  <a:pt x="430" y="83"/>
                  <a:pt x="430" y="82"/>
                </a:cubicBezTo>
                <a:lnTo>
                  <a:pt x="430" y="81"/>
                </a:lnTo>
                <a:close/>
                <a:moveTo>
                  <a:pt x="140" y="79"/>
                </a:moveTo>
                <a:cubicBezTo>
                  <a:pt x="134" y="85"/>
                  <a:pt x="134" y="85"/>
                  <a:pt x="134" y="85"/>
                </a:cubicBezTo>
                <a:cubicBezTo>
                  <a:pt x="127" y="78"/>
                  <a:pt x="127" y="78"/>
                  <a:pt x="127" y="78"/>
                </a:cubicBezTo>
                <a:lnTo>
                  <a:pt x="140" y="79"/>
                </a:lnTo>
                <a:close/>
                <a:moveTo>
                  <a:pt x="118" y="101"/>
                </a:moveTo>
                <a:cubicBezTo>
                  <a:pt x="116" y="95"/>
                  <a:pt x="116" y="95"/>
                  <a:pt x="116" y="95"/>
                </a:cubicBezTo>
                <a:cubicBezTo>
                  <a:pt x="120" y="99"/>
                  <a:pt x="120" y="99"/>
                  <a:pt x="120" y="99"/>
                </a:cubicBezTo>
                <a:lnTo>
                  <a:pt x="118" y="101"/>
                </a:lnTo>
                <a:close/>
                <a:moveTo>
                  <a:pt x="134" y="136"/>
                </a:moveTo>
                <a:cubicBezTo>
                  <a:pt x="131" y="134"/>
                  <a:pt x="131" y="134"/>
                  <a:pt x="131" y="134"/>
                </a:cubicBezTo>
                <a:cubicBezTo>
                  <a:pt x="126" y="121"/>
                  <a:pt x="126" y="121"/>
                  <a:pt x="126" y="121"/>
                </a:cubicBezTo>
                <a:cubicBezTo>
                  <a:pt x="134" y="113"/>
                  <a:pt x="134" y="113"/>
                  <a:pt x="134" y="113"/>
                </a:cubicBezTo>
                <a:cubicBezTo>
                  <a:pt x="145" y="125"/>
                  <a:pt x="145" y="125"/>
                  <a:pt x="145" y="125"/>
                </a:cubicBezTo>
                <a:lnTo>
                  <a:pt x="134" y="136"/>
                </a:lnTo>
                <a:close/>
                <a:moveTo>
                  <a:pt x="339" y="113"/>
                </a:moveTo>
                <a:cubicBezTo>
                  <a:pt x="351" y="125"/>
                  <a:pt x="351" y="125"/>
                  <a:pt x="351" y="125"/>
                </a:cubicBezTo>
                <a:cubicBezTo>
                  <a:pt x="339" y="136"/>
                  <a:pt x="339" y="136"/>
                  <a:pt x="339" y="136"/>
                </a:cubicBezTo>
                <a:cubicBezTo>
                  <a:pt x="327" y="125"/>
                  <a:pt x="327" y="125"/>
                  <a:pt x="327" y="125"/>
                </a:cubicBezTo>
                <a:lnTo>
                  <a:pt x="339" y="113"/>
                </a:lnTo>
                <a:close/>
                <a:moveTo>
                  <a:pt x="311" y="90"/>
                </a:moveTo>
                <a:cubicBezTo>
                  <a:pt x="316" y="90"/>
                  <a:pt x="316" y="90"/>
                  <a:pt x="316" y="90"/>
                </a:cubicBezTo>
                <a:cubicBezTo>
                  <a:pt x="325" y="99"/>
                  <a:pt x="325" y="99"/>
                  <a:pt x="325" y="99"/>
                </a:cubicBezTo>
                <a:cubicBezTo>
                  <a:pt x="313" y="111"/>
                  <a:pt x="313" y="111"/>
                  <a:pt x="313" y="111"/>
                </a:cubicBezTo>
                <a:cubicBezTo>
                  <a:pt x="302" y="99"/>
                  <a:pt x="302" y="99"/>
                  <a:pt x="302" y="99"/>
                </a:cubicBezTo>
                <a:lnTo>
                  <a:pt x="311" y="90"/>
                </a:lnTo>
                <a:close/>
                <a:moveTo>
                  <a:pt x="211" y="87"/>
                </a:moveTo>
                <a:cubicBezTo>
                  <a:pt x="222" y="99"/>
                  <a:pt x="222" y="99"/>
                  <a:pt x="222" y="99"/>
                </a:cubicBezTo>
                <a:cubicBezTo>
                  <a:pt x="211" y="111"/>
                  <a:pt x="211" y="111"/>
                  <a:pt x="211" y="111"/>
                </a:cubicBezTo>
                <a:cubicBezTo>
                  <a:pt x="199" y="99"/>
                  <a:pt x="199" y="99"/>
                  <a:pt x="199" y="99"/>
                </a:cubicBezTo>
                <a:lnTo>
                  <a:pt x="211" y="87"/>
                </a:lnTo>
                <a:close/>
                <a:moveTo>
                  <a:pt x="188" y="82"/>
                </a:moveTo>
                <a:cubicBezTo>
                  <a:pt x="185" y="85"/>
                  <a:pt x="185" y="85"/>
                  <a:pt x="185" y="85"/>
                </a:cubicBezTo>
                <a:cubicBezTo>
                  <a:pt x="182" y="81"/>
                  <a:pt x="182" y="81"/>
                  <a:pt x="182" y="81"/>
                </a:cubicBezTo>
                <a:lnTo>
                  <a:pt x="188" y="82"/>
                </a:lnTo>
                <a:close/>
                <a:moveTo>
                  <a:pt x="160" y="87"/>
                </a:moveTo>
                <a:cubicBezTo>
                  <a:pt x="171" y="99"/>
                  <a:pt x="171" y="99"/>
                  <a:pt x="171" y="99"/>
                </a:cubicBezTo>
                <a:cubicBezTo>
                  <a:pt x="160" y="111"/>
                  <a:pt x="160" y="111"/>
                  <a:pt x="160" y="111"/>
                </a:cubicBezTo>
                <a:cubicBezTo>
                  <a:pt x="148" y="99"/>
                  <a:pt x="148" y="99"/>
                  <a:pt x="148" y="99"/>
                </a:cubicBezTo>
                <a:lnTo>
                  <a:pt x="160" y="87"/>
                </a:lnTo>
                <a:close/>
                <a:moveTo>
                  <a:pt x="166" y="207"/>
                </a:moveTo>
                <a:cubicBezTo>
                  <a:pt x="159" y="203"/>
                  <a:pt x="159" y="203"/>
                  <a:pt x="159" y="203"/>
                </a:cubicBezTo>
                <a:cubicBezTo>
                  <a:pt x="156" y="194"/>
                  <a:pt x="156" y="194"/>
                  <a:pt x="156" y="194"/>
                </a:cubicBezTo>
                <a:cubicBezTo>
                  <a:pt x="160" y="190"/>
                  <a:pt x="160" y="190"/>
                  <a:pt x="160" y="190"/>
                </a:cubicBezTo>
                <a:cubicBezTo>
                  <a:pt x="171" y="202"/>
                  <a:pt x="171" y="202"/>
                  <a:pt x="171" y="202"/>
                </a:cubicBezTo>
                <a:lnTo>
                  <a:pt x="166" y="207"/>
                </a:lnTo>
                <a:close/>
                <a:moveTo>
                  <a:pt x="160" y="162"/>
                </a:moveTo>
                <a:cubicBezTo>
                  <a:pt x="148" y="150"/>
                  <a:pt x="148" y="150"/>
                  <a:pt x="148" y="150"/>
                </a:cubicBezTo>
                <a:cubicBezTo>
                  <a:pt x="160" y="139"/>
                  <a:pt x="160" y="139"/>
                  <a:pt x="160" y="139"/>
                </a:cubicBezTo>
                <a:cubicBezTo>
                  <a:pt x="171" y="150"/>
                  <a:pt x="171" y="150"/>
                  <a:pt x="171" y="150"/>
                </a:cubicBezTo>
                <a:lnTo>
                  <a:pt x="160" y="162"/>
                </a:lnTo>
                <a:close/>
                <a:moveTo>
                  <a:pt x="185" y="216"/>
                </a:moveTo>
                <a:cubicBezTo>
                  <a:pt x="185" y="216"/>
                  <a:pt x="185" y="216"/>
                  <a:pt x="185" y="216"/>
                </a:cubicBezTo>
                <a:cubicBezTo>
                  <a:pt x="186" y="216"/>
                  <a:pt x="186" y="216"/>
                  <a:pt x="186" y="216"/>
                </a:cubicBezTo>
                <a:lnTo>
                  <a:pt x="185" y="216"/>
                </a:lnTo>
                <a:close/>
                <a:moveTo>
                  <a:pt x="185" y="188"/>
                </a:moveTo>
                <a:cubicBezTo>
                  <a:pt x="174" y="176"/>
                  <a:pt x="174" y="176"/>
                  <a:pt x="174" y="176"/>
                </a:cubicBezTo>
                <a:cubicBezTo>
                  <a:pt x="185" y="164"/>
                  <a:pt x="185" y="164"/>
                  <a:pt x="185" y="164"/>
                </a:cubicBezTo>
                <a:cubicBezTo>
                  <a:pt x="197" y="176"/>
                  <a:pt x="197" y="176"/>
                  <a:pt x="197" y="176"/>
                </a:cubicBezTo>
                <a:lnTo>
                  <a:pt x="185" y="188"/>
                </a:lnTo>
                <a:close/>
                <a:moveTo>
                  <a:pt x="185" y="136"/>
                </a:moveTo>
                <a:cubicBezTo>
                  <a:pt x="174" y="125"/>
                  <a:pt x="174" y="125"/>
                  <a:pt x="174" y="125"/>
                </a:cubicBezTo>
                <a:cubicBezTo>
                  <a:pt x="185" y="113"/>
                  <a:pt x="185" y="113"/>
                  <a:pt x="185" y="113"/>
                </a:cubicBezTo>
                <a:cubicBezTo>
                  <a:pt x="197" y="125"/>
                  <a:pt x="197" y="125"/>
                  <a:pt x="197" y="125"/>
                </a:cubicBezTo>
                <a:lnTo>
                  <a:pt x="185" y="136"/>
                </a:lnTo>
                <a:close/>
                <a:moveTo>
                  <a:pt x="211" y="213"/>
                </a:moveTo>
                <a:cubicBezTo>
                  <a:pt x="199" y="202"/>
                  <a:pt x="199" y="202"/>
                  <a:pt x="199" y="202"/>
                </a:cubicBezTo>
                <a:cubicBezTo>
                  <a:pt x="211" y="190"/>
                  <a:pt x="211" y="190"/>
                  <a:pt x="211" y="190"/>
                </a:cubicBezTo>
                <a:cubicBezTo>
                  <a:pt x="222" y="202"/>
                  <a:pt x="222" y="202"/>
                  <a:pt x="222" y="202"/>
                </a:cubicBezTo>
                <a:lnTo>
                  <a:pt x="211" y="213"/>
                </a:lnTo>
                <a:close/>
                <a:moveTo>
                  <a:pt x="211" y="162"/>
                </a:moveTo>
                <a:cubicBezTo>
                  <a:pt x="199" y="150"/>
                  <a:pt x="199" y="150"/>
                  <a:pt x="199" y="150"/>
                </a:cubicBezTo>
                <a:cubicBezTo>
                  <a:pt x="211" y="139"/>
                  <a:pt x="211" y="139"/>
                  <a:pt x="211" y="139"/>
                </a:cubicBezTo>
                <a:cubicBezTo>
                  <a:pt x="222" y="150"/>
                  <a:pt x="222" y="150"/>
                  <a:pt x="222" y="150"/>
                </a:cubicBezTo>
                <a:lnTo>
                  <a:pt x="211" y="162"/>
                </a:lnTo>
                <a:close/>
                <a:moveTo>
                  <a:pt x="236" y="188"/>
                </a:moveTo>
                <a:cubicBezTo>
                  <a:pt x="225" y="176"/>
                  <a:pt x="225" y="176"/>
                  <a:pt x="225" y="176"/>
                </a:cubicBezTo>
                <a:cubicBezTo>
                  <a:pt x="236" y="164"/>
                  <a:pt x="236" y="164"/>
                  <a:pt x="236" y="164"/>
                </a:cubicBezTo>
                <a:cubicBezTo>
                  <a:pt x="248" y="176"/>
                  <a:pt x="248" y="176"/>
                  <a:pt x="248" y="176"/>
                </a:cubicBezTo>
                <a:lnTo>
                  <a:pt x="236" y="188"/>
                </a:lnTo>
                <a:close/>
                <a:moveTo>
                  <a:pt x="236" y="136"/>
                </a:moveTo>
                <a:cubicBezTo>
                  <a:pt x="225" y="125"/>
                  <a:pt x="225" y="125"/>
                  <a:pt x="225" y="125"/>
                </a:cubicBezTo>
                <a:cubicBezTo>
                  <a:pt x="236" y="113"/>
                  <a:pt x="236" y="113"/>
                  <a:pt x="236" y="113"/>
                </a:cubicBezTo>
                <a:cubicBezTo>
                  <a:pt x="248" y="125"/>
                  <a:pt x="248" y="125"/>
                  <a:pt x="248" y="125"/>
                </a:cubicBezTo>
                <a:lnTo>
                  <a:pt x="236" y="136"/>
                </a:lnTo>
                <a:close/>
                <a:moveTo>
                  <a:pt x="262" y="87"/>
                </a:moveTo>
                <a:cubicBezTo>
                  <a:pt x="274" y="99"/>
                  <a:pt x="274" y="99"/>
                  <a:pt x="274" y="99"/>
                </a:cubicBezTo>
                <a:cubicBezTo>
                  <a:pt x="262" y="111"/>
                  <a:pt x="262" y="111"/>
                  <a:pt x="262" y="111"/>
                </a:cubicBezTo>
                <a:cubicBezTo>
                  <a:pt x="251" y="99"/>
                  <a:pt x="251" y="99"/>
                  <a:pt x="251" y="99"/>
                </a:cubicBezTo>
                <a:lnTo>
                  <a:pt x="262" y="87"/>
                </a:lnTo>
                <a:close/>
                <a:moveTo>
                  <a:pt x="263" y="213"/>
                </a:moveTo>
                <a:cubicBezTo>
                  <a:pt x="262" y="213"/>
                  <a:pt x="262" y="213"/>
                  <a:pt x="262" y="213"/>
                </a:cubicBezTo>
                <a:cubicBezTo>
                  <a:pt x="251" y="202"/>
                  <a:pt x="251" y="202"/>
                  <a:pt x="251" y="202"/>
                </a:cubicBezTo>
                <a:cubicBezTo>
                  <a:pt x="262" y="190"/>
                  <a:pt x="262" y="190"/>
                  <a:pt x="262" y="190"/>
                </a:cubicBezTo>
                <a:cubicBezTo>
                  <a:pt x="274" y="202"/>
                  <a:pt x="274" y="202"/>
                  <a:pt x="274" y="202"/>
                </a:cubicBezTo>
                <a:lnTo>
                  <a:pt x="263" y="213"/>
                </a:lnTo>
                <a:close/>
                <a:moveTo>
                  <a:pt x="262" y="162"/>
                </a:moveTo>
                <a:cubicBezTo>
                  <a:pt x="251" y="150"/>
                  <a:pt x="251" y="150"/>
                  <a:pt x="251" y="150"/>
                </a:cubicBezTo>
                <a:cubicBezTo>
                  <a:pt x="262" y="139"/>
                  <a:pt x="262" y="139"/>
                  <a:pt x="262" y="139"/>
                </a:cubicBezTo>
                <a:cubicBezTo>
                  <a:pt x="274" y="150"/>
                  <a:pt x="274" y="150"/>
                  <a:pt x="274" y="150"/>
                </a:cubicBezTo>
                <a:lnTo>
                  <a:pt x="262" y="162"/>
                </a:lnTo>
                <a:close/>
                <a:moveTo>
                  <a:pt x="288" y="188"/>
                </a:moveTo>
                <a:cubicBezTo>
                  <a:pt x="276" y="176"/>
                  <a:pt x="276" y="176"/>
                  <a:pt x="276" y="176"/>
                </a:cubicBezTo>
                <a:cubicBezTo>
                  <a:pt x="288" y="164"/>
                  <a:pt x="288" y="164"/>
                  <a:pt x="288" y="164"/>
                </a:cubicBezTo>
                <a:cubicBezTo>
                  <a:pt x="299" y="176"/>
                  <a:pt x="299" y="176"/>
                  <a:pt x="299" y="176"/>
                </a:cubicBezTo>
                <a:lnTo>
                  <a:pt x="288" y="188"/>
                </a:lnTo>
                <a:close/>
                <a:moveTo>
                  <a:pt x="288" y="136"/>
                </a:moveTo>
                <a:cubicBezTo>
                  <a:pt x="276" y="125"/>
                  <a:pt x="276" y="125"/>
                  <a:pt x="276" y="125"/>
                </a:cubicBezTo>
                <a:cubicBezTo>
                  <a:pt x="288" y="113"/>
                  <a:pt x="288" y="113"/>
                  <a:pt x="288" y="113"/>
                </a:cubicBezTo>
                <a:cubicBezTo>
                  <a:pt x="299" y="125"/>
                  <a:pt x="299" y="125"/>
                  <a:pt x="299" y="125"/>
                </a:cubicBezTo>
                <a:lnTo>
                  <a:pt x="288" y="136"/>
                </a:lnTo>
                <a:close/>
                <a:moveTo>
                  <a:pt x="316" y="211"/>
                </a:moveTo>
                <a:cubicBezTo>
                  <a:pt x="311" y="211"/>
                  <a:pt x="311" y="211"/>
                  <a:pt x="311" y="211"/>
                </a:cubicBezTo>
                <a:cubicBezTo>
                  <a:pt x="302" y="202"/>
                  <a:pt x="302" y="202"/>
                  <a:pt x="302" y="202"/>
                </a:cubicBezTo>
                <a:cubicBezTo>
                  <a:pt x="313" y="190"/>
                  <a:pt x="313" y="190"/>
                  <a:pt x="313" y="190"/>
                </a:cubicBezTo>
                <a:cubicBezTo>
                  <a:pt x="325" y="202"/>
                  <a:pt x="325" y="202"/>
                  <a:pt x="325" y="202"/>
                </a:cubicBezTo>
                <a:lnTo>
                  <a:pt x="316" y="211"/>
                </a:lnTo>
                <a:close/>
                <a:moveTo>
                  <a:pt x="313" y="162"/>
                </a:moveTo>
                <a:cubicBezTo>
                  <a:pt x="302" y="150"/>
                  <a:pt x="302" y="150"/>
                  <a:pt x="302" y="150"/>
                </a:cubicBezTo>
                <a:cubicBezTo>
                  <a:pt x="313" y="139"/>
                  <a:pt x="313" y="139"/>
                  <a:pt x="313" y="139"/>
                </a:cubicBezTo>
                <a:cubicBezTo>
                  <a:pt x="325" y="150"/>
                  <a:pt x="325" y="150"/>
                  <a:pt x="325" y="150"/>
                </a:cubicBezTo>
                <a:lnTo>
                  <a:pt x="313" y="162"/>
                </a:lnTo>
                <a:close/>
                <a:moveTo>
                  <a:pt x="339" y="188"/>
                </a:moveTo>
                <a:cubicBezTo>
                  <a:pt x="327" y="176"/>
                  <a:pt x="327" y="176"/>
                  <a:pt x="327" y="176"/>
                </a:cubicBezTo>
                <a:cubicBezTo>
                  <a:pt x="339" y="164"/>
                  <a:pt x="339" y="164"/>
                  <a:pt x="339" y="164"/>
                </a:cubicBezTo>
                <a:cubicBezTo>
                  <a:pt x="351" y="176"/>
                  <a:pt x="351" y="176"/>
                  <a:pt x="351" y="176"/>
                </a:cubicBezTo>
                <a:lnTo>
                  <a:pt x="339" y="188"/>
                </a:lnTo>
                <a:close/>
                <a:moveTo>
                  <a:pt x="370" y="208"/>
                </a:moveTo>
                <a:cubicBezTo>
                  <a:pt x="360" y="209"/>
                  <a:pt x="360" y="209"/>
                  <a:pt x="360" y="209"/>
                </a:cubicBezTo>
                <a:cubicBezTo>
                  <a:pt x="353" y="202"/>
                  <a:pt x="353" y="202"/>
                  <a:pt x="353" y="202"/>
                </a:cubicBezTo>
                <a:cubicBezTo>
                  <a:pt x="365" y="190"/>
                  <a:pt x="365" y="190"/>
                  <a:pt x="365" y="190"/>
                </a:cubicBezTo>
                <a:cubicBezTo>
                  <a:pt x="376" y="202"/>
                  <a:pt x="376" y="202"/>
                  <a:pt x="376" y="202"/>
                </a:cubicBezTo>
                <a:lnTo>
                  <a:pt x="370" y="208"/>
                </a:lnTo>
                <a:close/>
                <a:moveTo>
                  <a:pt x="365" y="162"/>
                </a:moveTo>
                <a:cubicBezTo>
                  <a:pt x="353" y="150"/>
                  <a:pt x="353" y="150"/>
                  <a:pt x="353" y="150"/>
                </a:cubicBezTo>
                <a:cubicBezTo>
                  <a:pt x="365" y="139"/>
                  <a:pt x="365" y="139"/>
                  <a:pt x="365" y="139"/>
                </a:cubicBezTo>
                <a:cubicBezTo>
                  <a:pt x="376" y="150"/>
                  <a:pt x="376" y="150"/>
                  <a:pt x="376" y="150"/>
                </a:cubicBezTo>
                <a:lnTo>
                  <a:pt x="365" y="162"/>
                </a:lnTo>
                <a:close/>
                <a:moveTo>
                  <a:pt x="365" y="111"/>
                </a:moveTo>
                <a:cubicBezTo>
                  <a:pt x="353" y="99"/>
                  <a:pt x="353" y="99"/>
                  <a:pt x="353" y="99"/>
                </a:cubicBezTo>
                <a:cubicBezTo>
                  <a:pt x="359" y="93"/>
                  <a:pt x="359" y="93"/>
                  <a:pt x="359" y="93"/>
                </a:cubicBezTo>
                <a:cubicBezTo>
                  <a:pt x="371" y="94"/>
                  <a:pt x="371" y="94"/>
                  <a:pt x="371" y="94"/>
                </a:cubicBezTo>
                <a:cubicBezTo>
                  <a:pt x="376" y="99"/>
                  <a:pt x="376" y="99"/>
                  <a:pt x="376" y="99"/>
                </a:cubicBezTo>
                <a:lnTo>
                  <a:pt x="365" y="111"/>
                </a:lnTo>
                <a:close/>
                <a:moveTo>
                  <a:pt x="396" y="182"/>
                </a:moveTo>
                <a:cubicBezTo>
                  <a:pt x="390" y="188"/>
                  <a:pt x="390" y="188"/>
                  <a:pt x="390" y="188"/>
                </a:cubicBezTo>
                <a:cubicBezTo>
                  <a:pt x="379" y="176"/>
                  <a:pt x="379" y="176"/>
                  <a:pt x="379" y="176"/>
                </a:cubicBezTo>
                <a:cubicBezTo>
                  <a:pt x="390" y="164"/>
                  <a:pt x="390" y="164"/>
                  <a:pt x="390" y="164"/>
                </a:cubicBezTo>
                <a:cubicBezTo>
                  <a:pt x="398" y="172"/>
                  <a:pt x="398" y="172"/>
                  <a:pt x="398" y="172"/>
                </a:cubicBezTo>
                <a:lnTo>
                  <a:pt x="396" y="182"/>
                </a:lnTo>
                <a:close/>
                <a:moveTo>
                  <a:pt x="390" y="136"/>
                </a:moveTo>
                <a:cubicBezTo>
                  <a:pt x="379" y="125"/>
                  <a:pt x="379" y="125"/>
                  <a:pt x="379" y="125"/>
                </a:cubicBezTo>
                <a:cubicBezTo>
                  <a:pt x="390" y="113"/>
                  <a:pt x="390" y="113"/>
                  <a:pt x="390" y="113"/>
                </a:cubicBezTo>
                <a:cubicBezTo>
                  <a:pt x="402" y="125"/>
                  <a:pt x="402" y="125"/>
                  <a:pt x="402" y="125"/>
                </a:cubicBezTo>
                <a:lnTo>
                  <a:pt x="390" y="136"/>
                </a:lnTo>
                <a:close/>
                <a:moveTo>
                  <a:pt x="409" y="103"/>
                </a:moveTo>
                <a:cubicBezTo>
                  <a:pt x="404" y="99"/>
                  <a:pt x="404" y="99"/>
                  <a:pt x="404" y="99"/>
                </a:cubicBezTo>
                <a:cubicBezTo>
                  <a:pt x="407" y="96"/>
                  <a:pt x="407" y="96"/>
                  <a:pt x="407" y="96"/>
                </a:cubicBezTo>
                <a:cubicBezTo>
                  <a:pt x="410" y="97"/>
                  <a:pt x="410" y="97"/>
                  <a:pt x="410" y="97"/>
                </a:cubicBezTo>
                <a:lnTo>
                  <a:pt x="409" y="10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00" name="Freeform 50"/>
          <p:cNvSpPr>
            <a:spLocks noEditPoints="1"/>
          </p:cNvSpPr>
          <p:nvPr>
            <p:custDataLst>
              <p:tags r:id="rId28"/>
            </p:custDataLst>
          </p:nvPr>
        </p:nvSpPr>
        <p:spPr bwMode="auto">
          <a:xfrm>
            <a:off x="3906838" y="1858963"/>
            <a:ext cx="520700" cy="520700"/>
          </a:xfrm>
          <a:custGeom>
            <a:avLst/>
            <a:gdLst>
              <a:gd name="T0" fmla="*/ 162 w 324"/>
              <a:gd name="T1" fmla="*/ 0 h 324"/>
              <a:gd name="T2" fmla="*/ 0 w 324"/>
              <a:gd name="T3" fmla="*/ 162 h 324"/>
              <a:gd name="T4" fmla="*/ 162 w 324"/>
              <a:gd name="T5" fmla="*/ 324 h 324"/>
              <a:gd name="T6" fmla="*/ 324 w 324"/>
              <a:gd name="T7" fmla="*/ 162 h 324"/>
              <a:gd name="T8" fmla="*/ 162 w 324"/>
              <a:gd name="T9" fmla="*/ 0 h 324"/>
              <a:gd name="T10" fmla="*/ 162 w 324"/>
              <a:gd name="T11" fmla="*/ 299 h 324"/>
              <a:gd name="T12" fmla="*/ 25 w 324"/>
              <a:gd name="T13" fmla="*/ 162 h 324"/>
              <a:gd name="T14" fmla="*/ 162 w 324"/>
              <a:gd name="T15" fmla="*/ 25 h 324"/>
              <a:gd name="T16" fmla="*/ 299 w 324"/>
              <a:gd name="T17" fmla="*/ 162 h 324"/>
              <a:gd name="T18" fmla="*/ 162 w 324"/>
              <a:gd name="T19" fmla="*/ 299 h 324"/>
              <a:gd name="T20" fmla="*/ 162 w 324"/>
              <a:gd name="T21" fmla="*/ 37 h 324"/>
              <a:gd name="T22" fmla="*/ 38 w 324"/>
              <a:gd name="T23" fmla="*/ 162 h 324"/>
              <a:gd name="T24" fmla="*/ 162 w 324"/>
              <a:gd name="T25" fmla="*/ 287 h 324"/>
              <a:gd name="T26" fmla="*/ 287 w 324"/>
              <a:gd name="T27" fmla="*/ 162 h 324"/>
              <a:gd name="T28" fmla="*/ 162 w 324"/>
              <a:gd name="T29" fmla="*/ 37 h 324"/>
              <a:gd name="T30" fmla="*/ 162 w 324"/>
              <a:gd name="T31" fmla="*/ 278 h 324"/>
              <a:gd name="T32" fmla="*/ 46 w 324"/>
              <a:gd name="T33" fmla="*/ 162 h 324"/>
              <a:gd name="T34" fmla="*/ 162 w 324"/>
              <a:gd name="T35" fmla="*/ 45 h 324"/>
              <a:gd name="T36" fmla="*/ 279 w 324"/>
              <a:gd name="T37" fmla="*/ 162 h 324"/>
              <a:gd name="T38" fmla="*/ 162 w 324"/>
              <a:gd name="T39" fmla="*/ 278 h 324"/>
              <a:gd name="T40" fmla="*/ 182 w 324"/>
              <a:gd name="T41" fmla="*/ 151 h 324"/>
              <a:gd name="T42" fmla="*/ 111 w 324"/>
              <a:gd name="T43" fmla="*/ 68 h 324"/>
              <a:gd name="T44" fmla="*/ 108 w 324"/>
              <a:gd name="T45" fmla="*/ 69 h 324"/>
              <a:gd name="T46" fmla="*/ 142 w 324"/>
              <a:gd name="T47" fmla="*/ 173 h 324"/>
              <a:gd name="T48" fmla="*/ 142 w 324"/>
              <a:gd name="T49" fmla="*/ 173 h 324"/>
              <a:gd name="T50" fmla="*/ 214 w 324"/>
              <a:gd name="T51" fmla="*/ 256 h 324"/>
              <a:gd name="T52" fmla="*/ 217 w 324"/>
              <a:gd name="T53" fmla="*/ 254 h 324"/>
              <a:gd name="T54" fmla="*/ 181 w 324"/>
              <a:gd name="T55" fmla="*/ 151 h 324"/>
              <a:gd name="T56" fmla="*/ 182 w 324"/>
              <a:gd name="T57" fmla="*/ 151 h 324"/>
              <a:gd name="T58" fmla="*/ 175 w 324"/>
              <a:gd name="T59" fmla="*/ 163 h 324"/>
              <a:gd name="T60" fmla="*/ 161 w 324"/>
              <a:gd name="T61" fmla="*/ 174 h 324"/>
              <a:gd name="T62" fmla="*/ 150 w 324"/>
              <a:gd name="T63" fmla="*/ 160 h 324"/>
              <a:gd name="T64" fmla="*/ 164 w 324"/>
              <a:gd name="T65" fmla="*/ 149 h 324"/>
              <a:gd name="T66" fmla="*/ 175 w 324"/>
              <a:gd name="T67" fmla="*/ 163 h 324"/>
              <a:gd name="T68" fmla="*/ 91 w 324"/>
              <a:gd name="T69" fmla="*/ 156 h 324"/>
              <a:gd name="T70" fmla="*/ 61 w 324"/>
              <a:gd name="T71" fmla="*/ 156 h 324"/>
              <a:gd name="T72" fmla="*/ 55 w 324"/>
              <a:gd name="T73" fmla="*/ 162 h 324"/>
              <a:gd name="T74" fmla="*/ 61 w 324"/>
              <a:gd name="T75" fmla="*/ 168 h 324"/>
              <a:gd name="T76" fmla="*/ 91 w 324"/>
              <a:gd name="T77" fmla="*/ 168 h 324"/>
              <a:gd name="T78" fmla="*/ 97 w 324"/>
              <a:gd name="T79" fmla="*/ 162 h 324"/>
              <a:gd name="T80" fmla="*/ 91 w 324"/>
              <a:gd name="T81" fmla="*/ 156 h 324"/>
              <a:gd name="T82" fmla="*/ 264 w 324"/>
              <a:gd name="T83" fmla="*/ 156 h 324"/>
              <a:gd name="T84" fmla="*/ 234 w 324"/>
              <a:gd name="T85" fmla="*/ 156 h 324"/>
              <a:gd name="T86" fmla="*/ 228 w 324"/>
              <a:gd name="T87" fmla="*/ 162 h 324"/>
              <a:gd name="T88" fmla="*/ 234 w 324"/>
              <a:gd name="T89" fmla="*/ 168 h 324"/>
              <a:gd name="T90" fmla="*/ 264 w 324"/>
              <a:gd name="T91" fmla="*/ 168 h 324"/>
              <a:gd name="T92" fmla="*/ 270 w 324"/>
              <a:gd name="T93" fmla="*/ 162 h 324"/>
              <a:gd name="T94" fmla="*/ 264 w 324"/>
              <a:gd name="T95" fmla="*/ 156 h 324"/>
              <a:gd name="T96" fmla="*/ 162 w 324"/>
              <a:gd name="T97" fmla="*/ 96 h 324"/>
              <a:gd name="T98" fmla="*/ 168 w 324"/>
              <a:gd name="T99" fmla="*/ 90 h 324"/>
              <a:gd name="T100" fmla="*/ 168 w 324"/>
              <a:gd name="T101" fmla="*/ 60 h 324"/>
              <a:gd name="T102" fmla="*/ 162 w 324"/>
              <a:gd name="T103" fmla="*/ 54 h 324"/>
              <a:gd name="T104" fmla="*/ 157 w 324"/>
              <a:gd name="T105" fmla="*/ 60 h 324"/>
              <a:gd name="T106" fmla="*/ 157 w 324"/>
              <a:gd name="T107" fmla="*/ 90 h 324"/>
              <a:gd name="T108" fmla="*/ 162 w 324"/>
              <a:gd name="T109" fmla="*/ 96 h 324"/>
              <a:gd name="T110" fmla="*/ 162 w 324"/>
              <a:gd name="T111" fmla="*/ 227 h 324"/>
              <a:gd name="T112" fmla="*/ 157 w 324"/>
              <a:gd name="T113" fmla="*/ 233 h 324"/>
              <a:gd name="T114" fmla="*/ 157 w 324"/>
              <a:gd name="T115" fmla="*/ 263 h 324"/>
              <a:gd name="T116" fmla="*/ 162 w 324"/>
              <a:gd name="T117" fmla="*/ 269 h 324"/>
              <a:gd name="T118" fmla="*/ 168 w 324"/>
              <a:gd name="T119" fmla="*/ 263 h 324"/>
              <a:gd name="T120" fmla="*/ 168 w 324"/>
              <a:gd name="T121" fmla="*/ 233 h 324"/>
              <a:gd name="T122" fmla="*/ 162 w 324"/>
              <a:gd name="T123" fmla="*/ 227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24" h="324">
                <a:moveTo>
                  <a:pt x="162" y="0"/>
                </a:moveTo>
                <a:cubicBezTo>
                  <a:pt x="73" y="0"/>
                  <a:pt x="0" y="72"/>
                  <a:pt x="0" y="162"/>
                </a:cubicBezTo>
                <a:cubicBezTo>
                  <a:pt x="0" y="251"/>
                  <a:pt x="73" y="324"/>
                  <a:pt x="162" y="324"/>
                </a:cubicBezTo>
                <a:cubicBezTo>
                  <a:pt x="252" y="324"/>
                  <a:pt x="324" y="251"/>
                  <a:pt x="324" y="162"/>
                </a:cubicBezTo>
                <a:cubicBezTo>
                  <a:pt x="324" y="72"/>
                  <a:pt x="252" y="0"/>
                  <a:pt x="162" y="0"/>
                </a:cubicBezTo>
                <a:close/>
                <a:moveTo>
                  <a:pt x="162" y="299"/>
                </a:moveTo>
                <a:cubicBezTo>
                  <a:pt x="87" y="299"/>
                  <a:pt x="25" y="237"/>
                  <a:pt x="25" y="162"/>
                </a:cubicBezTo>
                <a:cubicBezTo>
                  <a:pt x="25" y="86"/>
                  <a:pt x="87" y="25"/>
                  <a:pt x="162" y="25"/>
                </a:cubicBezTo>
                <a:cubicBezTo>
                  <a:pt x="238" y="25"/>
                  <a:pt x="299" y="86"/>
                  <a:pt x="299" y="162"/>
                </a:cubicBezTo>
                <a:cubicBezTo>
                  <a:pt x="299" y="237"/>
                  <a:pt x="238" y="299"/>
                  <a:pt x="162" y="299"/>
                </a:cubicBezTo>
                <a:close/>
                <a:moveTo>
                  <a:pt x="162" y="37"/>
                </a:moveTo>
                <a:cubicBezTo>
                  <a:pt x="93" y="37"/>
                  <a:pt x="38" y="93"/>
                  <a:pt x="38" y="162"/>
                </a:cubicBezTo>
                <a:cubicBezTo>
                  <a:pt x="38" y="231"/>
                  <a:pt x="93" y="287"/>
                  <a:pt x="162" y="287"/>
                </a:cubicBezTo>
                <a:cubicBezTo>
                  <a:pt x="231" y="287"/>
                  <a:pt x="287" y="231"/>
                  <a:pt x="287" y="162"/>
                </a:cubicBezTo>
                <a:cubicBezTo>
                  <a:pt x="287" y="93"/>
                  <a:pt x="231" y="37"/>
                  <a:pt x="162" y="37"/>
                </a:cubicBezTo>
                <a:close/>
                <a:moveTo>
                  <a:pt x="162" y="278"/>
                </a:moveTo>
                <a:cubicBezTo>
                  <a:pt x="98" y="278"/>
                  <a:pt x="46" y="226"/>
                  <a:pt x="46" y="162"/>
                </a:cubicBezTo>
                <a:cubicBezTo>
                  <a:pt x="46" y="97"/>
                  <a:pt x="98" y="45"/>
                  <a:pt x="162" y="45"/>
                </a:cubicBezTo>
                <a:cubicBezTo>
                  <a:pt x="227" y="45"/>
                  <a:pt x="279" y="97"/>
                  <a:pt x="279" y="162"/>
                </a:cubicBezTo>
                <a:cubicBezTo>
                  <a:pt x="279" y="226"/>
                  <a:pt x="227" y="278"/>
                  <a:pt x="162" y="278"/>
                </a:cubicBezTo>
                <a:close/>
                <a:moveTo>
                  <a:pt x="182" y="151"/>
                </a:moveTo>
                <a:cubicBezTo>
                  <a:pt x="111" y="68"/>
                  <a:pt x="111" y="68"/>
                  <a:pt x="111" y="68"/>
                </a:cubicBezTo>
                <a:cubicBezTo>
                  <a:pt x="108" y="69"/>
                  <a:pt x="108" y="69"/>
                  <a:pt x="108" y="69"/>
                </a:cubicBezTo>
                <a:cubicBezTo>
                  <a:pt x="142" y="173"/>
                  <a:pt x="142" y="173"/>
                  <a:pt x="142" y="173"/>
                </a:cubicBezTo>
                <a:cubicBezTo>
                  <a:pt x="142" y="173"/>
                  <a:pt x="142" y="173"/>
                  <a:pt x="142" y="173"/>
                </a:cubicBezTo>
                <a:cubicBezTo>
                  <a:pt x="214" y="256"/>
                  <a:pt x="214" y="256"/>
                  <a:pt x="214" y="256"/>
                </a:cubicBezTo>
                <a:cubicBezTo>
                  <a:pt x="217" y="254"/>
                  <a:pt x="217" y="254"/>
                  <a:pt x="217" y="254"/>
                </a:cubicBezTo>
                <a:cubicBezTo>
                  <a:pt x="181" y="151"/>
                  <a:pt x="181" y="151"/>
                  <a:pt x="181" y="151"/>
                </a:cubicBezTo>
                <a:lnTo>
                  <a:pt x="182" y="151"/>
                </a:lnTo>
                <a:close/>
                <a:moveTo>
                  <a:pt x="175" y="163"/>
                </a:moveTo>
                <a:cubicBezTo>
                  <a:pt x="174" y="170"/>
                  <a:pt x="168" y="175"/>
                  <a:pt x="161" y="174"/>
                </a:cubicBezTo>
                <a:cubicBezTo>
                  <a:pt x="154" y="173"/>
                  <a:pt x="149" y="167"/>
                  <a:pt x="150" y="160"/>
                </a:cubicBezTo>
                <a:cubicBezTo>
                  <a:pt x="151" y="153"/>
                  <a:pt x="157" y="148"/>
                  <a:pt x="164" y="149"/>
                </a:cubicBezTo>
                <a:cubicBezTo>
                  <a:pt x="171" y="150"/>
                  <a:pt x="176" y="156"/>
                  <a:pt x="175" y="163"/>
                </a:cubicBezTo>
                <a:close/>
                <a:moveTo>
                  <a:pt x="91" y="156"/>
                </a:moveTo>
                <a:cubicBezTo>
                  <a:pt x="61" y="156"/>
                  <a:pt x="61" y="156"/>
                  <a:pt x="61" y="156"/>
                </a:cubicBezTo>
                <a:cubicBezTo>
                  <a:pt x="58" y="156"/>
                  <a:pt x="55" y="158"/>
                  <a:pt x="55" y="162"/>
                </a:cubicBezTo>
                <a:cubicBezTo>
                  <a:pt x="55" y="165"/>
                  <a:pt x="58" y="168"/>
                  <a:pt x="61" y="168"/>
                </a:cubicBezTo>
                <a:cubicBezTo>
                  <a:pt x="91" y="168"/>
                  <a:pt x="91" y="168"/>
                  <a:pt x="91" y="168"/>
                </a:cubicBezTo>
                <a:cubicBezTo>
                  <a:pt x="94" y="168"/>
                  <a:pt x="97" y="165"/>
                  <a:pt x="97" y="162"/>
                </a:cubicBezTo>
                <a:cubicBezTo>
                  <a:pt x="97" y="158"/>
                  <a:pt x="94" y="156"/>
                  <a:pt x="91" y="156"/>
                </a:cubicBezTo>
                <a:close/>
                <a:moveTo>
                  <a:pt x="264" y="156"/>
                </a:moveTo>
                <a:cubicBezTo>
                  <a:pt x="234" y="156"/>
                  <a:pt x="234" y="156"/>
                  <a:pt x="234" y="156"/>
                </a:cubicBezTo>
                <a:cubicBezTo>
                  <a:pt x="231" y="156"/>
                  <a:pt x="228" y="158"/>
                  <a:pt x="228" y="162"/>
                </a:cubicBezTo>
                <a:cubicBezTo>
                  <a:pt x="228" y="165"/>
                  <a:pt x="231" y="168"/>
                  <a:pt x="234" y="168"/>
                </a:cubicBezTo>
                <a:cubicBezTo>
                  <a:pt x="264" y="168"/>
                  <a:pt x="264" y="168"/>
                  <a:pt x="264" y="168"/>
                </a:cubicBezTo>
                <a:cubicBezTo>
                  <a:pt x="267" y="168"/>
                  <a:pt x="270" y="165"/>
                  <a:pt x="270" y="162"/>
                </a:cubicBezTo>
                <a:cubicBezTo>
                  <a:pt x="270" y="158"/>
                  <a:pt x="267" y="156"/>
                  <a:pt x="264" y="156"/>
                </a:cubicBezTo>
                <a:close/>
                <a:moveTo>
                  <a:pt x="162" y="96"/>
                </a:moveTo>
                <a:cubicBezTo>
                  <a:pt x="166" y="96"/>
                  <a:pt x="168" y="93"/>
                  <a:pt x="168" y="90"/>
                </a:cubicBezTo>
                <a:cubicBezTo>
                  <a:pt x="168" y="60"/>
                  <a:pt x="168" y="60"/>
                  <a:pt x="168" y="60"/>
                </a:cubicBezTo>
                <a:cubicBezTo>
                  <a:pt x="168" y="57"/>
                  <a:pt x="166" y="54"/>
                  <a:pt x="162" y="54"/>
                </a:cubicBezTo>
                <a:cubicBezTo>
                  <a:pt x="159" y="54"/>
                  <a:pt x="157" y="57"/>
                  <a:pt x="157" y="60"/>
                </a:cubicBezTo>
                <a:cubicBezTo>
                  <a:pt x="157" y="90"/>
                  <a:pt x="157" y="90"/>
                  <a:pt x="157" y="90"/>
                </a:cubicBezTo>
                <a:cubicBezTo>
                  <a:pt x="157" y="93"/>
                  <a:pt x="159" y="96"/>
                  <a:pt x="162" y="96"/>
                </a:cubicBezTo>
                <a:close/>
                <a:moveTo>
                  <a:pt x="162" y="227"/>
                </a:moveTo>
                <a:cubicBezTo>
                  <a:pt x="159" y="227"/>
                  <a:pt x="157" y="230"/>
                  <a:pt x="157" y="233"/>
                </a:cubicBezTo>
                <a:cubicBezTo>
                  <a:pt x="157" y="263"/>
                  <a:pt x="157" y="263"/>
                  <a:pt x="157" y="263"/>
                </a:cubicBezTo>
                <a:cubicBezTo>
                  <a:pt x="157" y="267"/>
                  <a:pt x="159" y="269"/>
                  <a:pt x="162" y="269"/>
                </a:cubicBezTo>
                <a:cubicBezTo>
                  <a:pt x="166" y="269"/>
                  <a:pt x="168" y="267"/>
                  <a:pt x="168" y="263"/>
                </a:cubicBezTo>
                <a:cubicBezTo>
                  <a:pt x="168" y="233"/>
                  <a:pt x="168" y="233"/>
                  <a:pt x="168" y="233"/>
                </a:cubicBezTo>
                <a:cubicBezTo>
                  <a:pt x="168" y="230"/>
                  <a:pt x="166" y="227"/>
                  <a:pt x="162" y="227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7" name="Freeform 50"/>
          <p:cNvSpPr>
            <a:spLocks noEditPoints="1"/>
          </p:cNvSpPr>
          <p:nvPr>
            <p:custDataLst>
              <p:tags r:id="rId29"/>
            </p:custDataLst>
          </p:nvPr>
        </p:nvSpPr>
        <p:spPr bwMode="auto">
          <a:xfrm>
            <a:off x="579438" y="520700"/>
            <a:ext cx="393700" cy="393700"/>
          </a:xfrm>
          <a:custGeom>
            <a:avLst/>
            <a:gdLst>
              <a:gd name="T0" fmla="*/ 162 w 324"/>
              <a:gd name="T1" fmla="*/ 0 h 324"/>
              <a:gd name="T2" fmla="*/ 0 w 324"/>
              <a:gd name="T3" fmla="*/ 162 h 324"/>
              <a:gd name="T4" fmla="*/ 162 w 324"/>
              <a:gd name="T5" fmla="*/ 324 h 324"/>
              <a:gd name="T6" fmla="*/ 324 w 324"/>
              <a:gd name="T7" fmla="*/ 162 h 324"/>
              <a:gd name="T8" fmla="*/ 162 w 324"/>
              <a:gd name="T9" fmla="*/ 0 h 324"/>
              <a:gd name="T10" fmla="*/ 162 w 324"/>
              <a:gd name="T11" fmla="*/ 299 h 324"/>
              <a:gd name="T12" fmla="*/ 25 w 324"/>
              <a:gd name="T13" fmla="*/ 162 h 324"/>
              <a:gd name="T14" fmla="*/ 162 w 324"/>
              <a:gd name="T15" fmla="*/ 25 h 324"/>
              <a:gd name="T16" fmla="*/ 299 w 324"/>
              <a:gd name="T17" fmla="*/ 162 h 324"/>
              <a:gd name="T18" fmla="*/ 162 w 324"/>
              <a:gd name="T19" fmla="*/ 299 h 324"/>
              <a:gd name="T20" fmla="*/ 162 w 324"/>
              <a:gd name="T21" fmla="*/ 37 h 324"/>
              <a:gd name="T22" fmla="*/ 38 w 324"/>
              <a:gd name="T23" fmla="*/ 162 h 324"/>
              <a:gd name="T24" fmla="*/ 162 w 324"/>
              <a:gd name="T25" fmla="*/ 287 h 324"/>
              <a:gd name="T26" fmla="*/ 287 w 324"/>
              <a:gd name="T27" fmla="*/ 162 h 324"/>
              <a:gd name="T28" fmla="*/ 162 w 324"/>
              <a:gd name="T29" fmla="*/ 37 h 324"/>
              <a:gd name="T30" fmla="*/ 162 w 324"/>
              <a:gd name="T31" fmla="*/ 278 h 324"/>
              <a:gd name="T32" fmla="*/ 46 w 324"/>
              <a:gd name="T33" fmla="*/ 162 h 324"/>
              <a:gd name="T34" fmla="*/ 162 w 324"/>
              <a:gd name="T35" fmla="*/ 45 h 324"/>
              <a:gd name="T36" fmla="*/ 279 w 324"/>
              <a:gd name="T37" fmla="*/ 162 h 324"/>
              <a:gd name="T38" fmla="*/ 162 w 324"/>
              <a:gd name="T39" fmla="*/ 278 h 324"/>
              <a:gd name="T40" fmla="*/ 182 w 324"/>
              <a:gd name="T41" fmla="*/ 151 h 324"/>
              <a:gd name="T42" fmla="*/ 111 w 324"/>
              <a:gd name="T43" fmla="*/ 68 h 324"/>
              <a:gd name="T44" fmla="*/ 108 w 324"/>
              <a:gd name="T45" fmla="*/ 69 h 324"/>
              <a:gd name="T46" fmla="*/ 142 w 324"/>
              <a:gd name="T47" fmla="*/ 173 h 324"/>
              <a:gd name="T48" fmla="*/ 142 w 324"/>
              <a:gd name="T49" fmla="*/ 173 h 324"/>
              <a:gd name="T50" fmla="*/ 214 w 324"/>
              <a:gd name="T51" fmla="*/ 256 h 324"/>
              <a:gd name="T52" fmla="*/ 217 w 324"/>
              <a:gd name="T53" fmla="*/ 254 h 324"/>
              <a:gd name="T54" fmla="*/ 181 w 324"/>
              <a:gd name="T55" fmla="*/ 151 h 324"/>
              <a:gd name="T56" fmla="*/ 182 w 324"/>
              <a:gd name="T57" fmla="*/ 151 h 324"/>
              <a:gd name="T58" fmla="*/ 175 w 324"/>
              <a:gd name="T59" fmla="*/ 163 h 324"/>
              <a:gd name="T60" fmla="*/ 161 w 324"/>
              <a:gd name="T61" fmla="*/ 174 h 324"/>
              <a:gd name="T62" fmla="*/ 150 w 324"/>
              <a:gd name="T63" fmla="*/ 160 h 324"/>
              <a:gd name="T64" fmla="*/ 164 w 324"/>
              <a:gd name="T65" fmla="*/ 149 h 324"/>
              <a:gd name="T66" fmla="*/ 175 w 324"/>
              <a:gd name="T67" fmla="*/ 163 h 324"/>
              <a:gd name="T68" fmla="*/ 91 w 324"/>
              <a:gd name="T69" fmla="*/ 156 h 324"/>
              <a:gd name="T70" fmla="*/ 61 w 324"/>
              <a:gd name="T71" fmla="*/ 156 h 324"/>
              <a:gd name="T72" fmla="*/ 55 w 324"/>
              <a:gd name="T73" fmla="*/ 162 h 324"/>
              <a:gd name="T74" fmla="*/ 61 w 324"/>
              <a:gd name="T75" fmla="*/ 168 h 324"/>
              <a:gd name="T76" fmla="*/ 91 w 324"/>
              <a:gd name="T77" fmla="*/ 168 h 324"/>
              <a:gd name="T78" fmla="*/ 97 w 324"/>
              <a:gd name="T79" fmla="*/ 162 h 324"/>
              <a:gd name="T80" fmla="*/ 91 w 324"/>
              <a:gd name="T81" fmla="*/ 156 h 324"/>
              <a:gd name="T82" fmla="*/ 264 w 324"/>
              <a:gd name="T83" fmla="*/ 156 h 324"/>
              <a:gd name="T84" fmla="*/ 234 w 324"/>
              <a:gd name="T85" fmla="*/ 156 h 324"/>
              <a:gd name="T86" fmla="*/ 228 w 324"/>
              <a:gd name="T87" fmla="*/ 162 h 324"/>
              <a:gd name="T88" fmla="*/ 234 w 324"/>
              <a:gd name="T89" fmla="*/ 168 h 324"/>
              <a:gd name="T90" fmla="*/ 264 w 324"/>
              <a:gd name="T91" fmla="*/ 168 h 324"/>
              <a:gd name="T92" fmla="*/ 270 w 324"/>
              <a:gd name="T93" fmla="*/ 162 h 324"/>
              <a:gd name="T94" fmla="*/ 264 w 324"/>
              <a:gd name="T95" fmla="*/ 156 h 324"/>
              <a:gd name="T96" fmla="*/ 162 w 324"/>
              <a:gd name="T97" fmla="*/ 96 h 324"/>
              <a:gd name="T98" fmla="*/ 168 w 324"/>
              <a:gd name="T99" fmla="*/ 90 h 324"/>
              <a:gd name="T100" fmla="*/ 168 w 324"/>
              <a:gd name="T101" fmla="*/ 60 h 324"/>
              <a:gd name="T102" fmla="*/ 162 w 324"/>
              <a:gd name="T103" fmla="*/ 54 h 324"/>
              <a:gd name="T104" fmla="*/ 157 w 324"/>
              <a:gd name="T105" fmla="*/ 60 h 324"/>
              <a:gd name="T106" fmla="*/ 157 w 324"/>
              <a:gd name="T107" fmla="*/ 90 h 324"/>
              <a:gd name="T108" fmla="*/ 162 w 324"/>
              <a:gd name="T109" fmla="*/ 96 h 324"/>
              <a:gd name="T110" fmla="*/ 162 w 324"/>
              <a:gd name="T111" fmla="*/ 227 h 324"/>
              <a:gd name="T112" fmla="*/ 157 w 324"/>
              <a:gd name="T113" fmla="*/ 233 h 324"/>
              <a:gd name="T114" fmla="*/ 157 w 324"/>
              <a:gd name="T115" fmla="*/ 263 h 324"/>
              <a:gd name="T116" fmla="*/ 162 w 324"/>
              <a:gd name="T117" fmla="*/ 269 h 324"/>
              <a:gd name="T118" fmla="*/ 168 w 324"/>
              <a:gd name="T119" fmla="*/ 263 h 324"/>
              <a:gd name="T120" fmla="*/ 168 w 324"/>
              <a:gd name="T121" fmla="*/ 233 h 324"/>
              <a:gd name="T122" fmla="*/ 162 w 324"/>
              <a:gd name="T123" fmla="*/ 227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24" h="324">
                <a:moveTo>
                  <a:pt x="162" y="0"/>
                </a:moveTo>
                <a:cubicBezTo>
                  <a:pt x="73" y="0"/>
                  <a:pt x="0" y="72"/>
                  <a:pt x="0" y="162"/>
                </a:cubicBezTo>
                <a:cubicBezTo>
                  <a:pt x="0" y="251"/>
                  <a:pt x="73" y="324"/>
                  <a:pt x="162" y="324"/>
                </a:cubicBezTo>
                <a:cubicBezTo>
                  <a:pt x="252" y="324"/>
                  <a:pt x="324" y="251"/>
                  <a:pt x="324" y="162"/>
                </a:cubicBezTo>
                <a:cubicBezTo>
                  <a:pt x="324" y="72"/>
                  <a:pt x="252" y="0"/>
                  <a:pt x="162" y="0"/>
                </a:cubicBezTo>
                <a:close/>
                <a:moveTo>
                  <a:pt x="162" y="299"/>
                </a:moveTo>
                <a:cubicBezTo>
                  <a:pt x="87" y="299"/>
                  <a:pt x="25" y="237"/>
                  <a:pt x="25" y="162"/>
                </a:cubicBezTo>
                <a:cubicBezTo>
                  <a:pt x="25" y="86"/>
                  <a:pt x="87" y="25"/>
                  <a:pt x="162" y="25"/>
                </a:cubicBezTo>
                <a:cubicBezTo>
                  <a:pt x="238" y="25"/>
                  <a:pt x="299" y="86"/>
                  <a:pt x="299" y="162"/>
                </a:cubicBezTo>
                <a:cubicBezTo>
                  <a:pt x="299" y="237"/>
                  <a:pt x="238" y="299"/>
                  <a:pt x="162" y="299"/>
                </a:cubicBezTo>
                <a:close/>
                <a:moveTo>
                  <a:pt x="162" y="37"/>
                </a:moveTo>
                <a:cubicBezTo>
                  <a:pt x="93" y="37"/>
                  <a:pt x="38" y="93"/>
                  <a:pt x="38" y="162"/>
                </a:cubicBezTo>
                <a:cubicBezTo>
                  <a:pt x="38" y="231"/>
                  <a:pt x="93" y="287"/>
                  <a:pt x="162" y="287"/>
                </a:cubicBezTo>
                <a:cubicBezTo>
                  <a:pt x="231" y="287"/>
                  <a:pt x="287" y="231"/>
                  <a:pt x="287" y="162"/>
                </a:cubicBezTo>
                <a:cubicBezTo>
                  <a:pt x="287" y="93"/>
                  <a:pt x="231" y="37"/>
                  <a:pt x="162" y="37"/>
                </a:cubicBezTo>
                <a:close/>
                <a:moveTo>
                  <a:pt x="162" y="278"/>
                </a:moveTo>
                <a:cubicBezTo>
                  <a:pt x="98" y="278"/>
                  <a:pt x="46" y="226"/>
                  <a:pt x="46" y="162"/>
                </a:cubicBezTo>
                <a:cubicBezTo>
                  <a:pt x="46" y="97"/>
                  <a:pt x="98" y="45"/>
                  <a:pt x="162" y="45"/>
                </a:cubicBezTo>
                <a:cubicBezTo>
                  <a:pt x="227" y="45"/>
                  <a:pt x="279" y="97"/>
                  <a:pt x="279" y="162"/>
                </a:cubicBezTo>
                <a:cubicBezTo>
                  <a:pt x="279" y="226"/>
                  <a:pt x="227" y="278"/>
                  <a:pt x="162" y="278"/>
                </a:cubicBezTo>
                <a:close/>
                <a:moveTo>
                  <a:pt x="182" y="151"/>
                </a:moveTo>
                <a:cubicBezTo>
                  <a:pt x="111" y="68"/>
                  <a:pt x="111" y="68"/>
                  <a:pt x="111" y="68"/>
                </a:cubicBezTo>
                <a:cubicBezTo>
                  <a:pt x="108" y="69"/>
                  <a:pt x="108" y="69"/>
                  <a:pt x="108" y="69"/>
                </a:cubicBezTo>
                <a:cubicBezTo>
                  <a:pt x="142" y="173"/>
                  <a:pt x="142" y="173"/>
                  <a:pt x="142" y="173"/>
                </a:cubicBezTo>
                <a:cubicBezTo>
                  <a:pt x="142" y="173"/>
                  <a:pt x="142" y="173"/>
                  <a:pt x="142" y="173"/>
                </a:cubicBezTo>
                <a:cubicBezTo>
                  <a:pt x="214" y="256"/>
                  <a:pt x="214" y="256"/>
                  <a:pt x="214" y="256"/>
                </a:cubicBezTo>
                <a:cubicBezTo>
                  <a:pt x="217" y="254"/>
                  <a:pt x="217" y="254"/>
                  <a:pt x="217" y="254"/>
                </a:cubicBezTo>
                <a:cubicBezTo>
                  <a:pt x="181" y="151"/>
                  <a:pt x="181" y="151"/>
                  <a:pt x="181" y="151"/>
                </a:cubicBezTo>
                <a:lnTo>
                  <a:pt x="182" y="151"/>
                </a:lnTo>
                <a:close/>
                <a:moveTo>
                  <a:pt x="175" y="163"/>
                </a:moveTo>
                <a:cubicBezTo>
                  <a:pt x="174" y="170"/>
                  <a:pt x="168" y="175"/>
                  <a:pt x="161" y="174"/>
                </a:cubicBezTo>
                <a:cubicBezTo>
                  <a:pt x="154" y="173"/>
                  <a:pt x="149" y="167"/>
                  <a:pt x="150" y="160"/>
                </a:cubicBezTo>
                <a:cubicBezTo>
                  <a:pt x="151" y="153"/>
                  <a:pt x="157" y="148"/>
                  <a:pt x="164" y="149"/>
                </a:cubicBezTo>
                <a:cubicBezTo>
                  <a:pt x="171" y="150"/>
                  <a:pt x="176" y="156"/>
                  <a:pt x="175" y="163"/>
                </a:cubicBezTo>
                <a:close/>
                <a:moveTo>
                  <a:pt x="91" y="156"/>
                </a:moveTo>
                <a:cubicBezTo>
                  <a:pt x="61" y="156"/>
                  <a:pt x="61" y="156"/>
                  <a:pt x="61" y="156"/>
                </a:cubicBezTo>
                <a:cubicBezTo>
                  <a:pt x="58" y="156"/>
                  <a:pt x="55" y="158"/>
                  <a:pt x="55" y="162"/>
                </a:cubicBezTo>
                <a:cubicBezTo>
                  <a:pt x="55" y="165"/>
                  <a:pt x="58" y="168"/>
                  <a:pt x="61" y="168"/>
                </a:cubicBezTo>
                <a:cubicBezTo>
                  <a:pt x="91" y="168"/>
                  <a:pt x="91" y="168"/>
                  <a:pt x="91" y="168"/>
                </a:cubicBezTo>
                <a:cubicBezTo>
                  <a:pt x="94" y="168"/>
                  <a:pt x="97" y="165"/>
                  <a:pt x="97" y="162"/>
                </a:cubicBezTo>
                <a:cubicBezTo>
                  <a:pt x="97" y="158"/>
                  <a:pt x="94" y="156"/>
                  <a:pt x="91" y="156"/>
                </a:cubicBezTo>
                <a:close/>
                <a:moveTo>
                  <a:pt x="264" y="156"/>
                </a:moveTo>
                <a:cubicBezTo>
                  <a:pt x="234" y="156"/>
                  <a:pt x="234" y="156"/>
                  <a:pt x="234" y="156"/>
                </a:cubicBezTo>
                <a:cubicBezTo>
                  <a:pt x="231" y="156"/>
                  <a:pt x="228" y="158"/>
                  <a:pt x="228" y="162"/>
                </a:cubicBezTo>
                <a:cubicBezTo>
                  <a:pt x="228" y="165"/>
                  <a:pt x="231" y="168"/>
                  <a:pt x="234" y="168"/>
                </a:cubicBezTo>
                <a:cubicBezTo>
                  <a:pt x="264" y="168"/>
                  <a:pt x="264" y="168"/>
                  <a:pt x="264" y="168"/>
                </a:cubicBezTo>
                <a:cubicBezTo>
                  <a:pt x="267" y="168"/>
                  <a:pt x="270" y="165"/>
                  <a:pt x="270" y="162"/>
                </a:cubicBezTo>
                <a:cubicBezTo>
                  <a:pt x="270" y="158"/>
                  <a:pt x="267" y="156"/>
                  <a:pt x="264" y="156"/>
                </a:cubicBezTo>
                <a:close/>
                <a:moveTo>
                  <a:pt x="162" y="96"/>
                </a:moveTo>
                <a:cubicBezTo>
                  <a:pt x="166" y="96"/>
                  <a:pt x="168" y="93"/>
                  <a:pt x="168" y="90"/>
                </a:cubicBezTo>
                <a:cubicBezTo>
                  <a:pt x="168" y="60"/>
                  <a:pt x="168" y="60"/>
                  <a:pt x="168" y="60"/>
                </a:cubicBezTo>
                <a:cubicBezTo>
                  <a:pt x="168" y="57"/>
                  <a:pt x="166" y="54"/>
                  <a:pt x="162" y="54"/>
                </a:cubicBezTo>
                <a:cubicBezTo>
                  <a:pt x="159" y="54"/>
                  <a:pt x="157" y="57"/>
                  <a:pt x="157" y="60"/>
                </a:cubicBezTo>
                <a:cubicBezTo>
                  <a:pt x="157" y="90"/>
                  <a:pt x="157" y="90"/>
                  <a:pt x="157" y="90"/>
                </a:cubicBezTo>
                <a:cubicBezTo>
                  <a:pt x="157" y="93"/>
                  <a:pt x="159" y="96"/>
                  <a:pt x="162" y="96"/>
                </a:cubicBezTo>
                <a:close/>
                <a:moveTo>
                  <a:pt x="162" y="227"/>
                </a:moveTo>
                <a:cubicBezTo>
                  <a:pt x="159" y="227"/>
                  <a:pt x="157" y="230"/>
                  <a:pt x="157" y="233"/>
                </a:cubicBezTo>
                <a:cubicBezTo>
                  <a:pt x="157" y="263"/>
                  <a:pt x="157" y="263"/>
                  <a:pt x="157" y="263"/>
                </a:cubicBezTo>
                <a:cubicBezTo>
                  <a:pt x="157" y="267"/>
                  <a:pt x="159" y="269"/>
                  <a:pt x="162" y="269"/>
                </a:cubicBezTo>
                <a:cubicBezTo>
                  <a:pt x="166" y="269"/>
                  <a:pt x="168" y="267"/>
                  <a:pt x="168" y="263"/>
                </a:cubicBezTo>
                <a:cubicBezTo>
                  <a:pt x="168" y="233"/>
                  <a:pt x="168" y="233"/>
                  <a:pt x="168" y="233"/>
                </a:cubicBezTo>
                <a:cubicBezTo>
                  <a:pt x="168" y="230"/>
                  <a:pt x="166" y="227"/>
                  <a:pt x="162" y="227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8" name="Freeform 50"/>
          <p:cNvSpPr>
            <a:spLocks noEditPoints="1"/>
          </p:cNvSpPr>
          <p:nvPr>
            <p:custDataLst>
              <p:tags r:id="rId30"/>
            </p:custDataLst>
          </p:nvPr>
        </p:nvSpPr>
        <p:spPr bwMode="auto">
          <a:xfrm>
            <a:off x="3055938" y="608013"/>
            <a:ext cx="296862" cy="296862"/>
          </a:xfrm>
          <a:custGeom>
            <a:avLst/>
            <a:gdLst>
              <a:gd name="T0" fmla="*/ 162 w 324"/>
              <a:gd name="T1" fmla="*/ 0 h 324"/>
              <a:gd name="T2" fmla="*/ 0 w 324"/>
              <a:gd name="T3" fmla="*/ 162 h 324"/>
              <a:gd name="T4" fmla="*/ 162 w 324"/>
              <a:gd name="T5" fmla="*/ 324 h 324"/>
              <a:gd name="T6" fmla="*/ 324 w 324"/>
              <a:gd name="T7" fmla="*/ 162 h 324"/>
              <a:gd name="T8" fmla="*/ 162 w 324"/>
              <a:gd name="T9" fmla="*/ 0 h 324"/>
              <a:gd name="T10" fmla="*/ 162 w 324"/>
              <a:gd name="T11" fmla="*/ 299 h 324"/>
              <a:gd name="T12" fmla="*/ 25 w 324"/>
              <a:gd name="T13" fmla="*/ 162 h 324"/>
              <a:gd name="T14" fmla="*/ 162 w 324"/>
              <a:gd name="T15" fmla="*/ 25 h 324"/>
              <a:gd name="T16" fmla="*/ 299 w 324"/>
              <a:gd name="T17" fmla="*/ 162 h 324"/>
              <a:gd name="T18" fmla="*/ 162 w 324"/>
              <a:gd name="T19" fmla="*/ 299 h 324"/>
              <a:gd name="T20" fmla="*/ 162 w 324"/>
              <a:gd name="T21" fmla="*/ 37 h 324"/>
              <a:gd name="T22" fmla="*/ 38 w 324"/>
              <a:gd name="T23" fmla="*/ 162 h 324"/>
              <a:gd name="T24" fmla="*/ 162 w 324"/>
              <a:gd name="T25" fmla="*/ 287 h 324"/>
              <a:gd name="T26" fmla="*/ 287 w 324"/>
              <a:gd name="T27" fmla="*/ 162 h 324"/>
              <a:gd name="T28" fmla="*/ 162 w 324"/>
              <a:gd name="T29" fmla="*/ 37 h 324"/>
              <a:gd name="T30" fmla="*/ 162 w 324"/>
              <a:gd name="T31" fmla="*/ 278 h 324"/>
              <a:gd name="T32" fmla="*/ 46 w 324"/>
              <a:gd name="T33" fmla="*/ 162 h 324"/>
              <a:gd name="T34" fmla="*/ 162 w 324"/>
              <a:gd name="T35" fmla="*/ 45 h 324"/>
              <a:gd name="T36" fmla="*/ 279 w 324"/>
              <a:gd name="T37" fmla="*/ 162 h 324"/>
              <a:gd name="T38" fmla="*/ 162 w 324"/>
              <a:gd name="T39" fmla="*/ 278 h 324"/>
              <a:gd name="T40" fmla="*/ 182 w 324"/>
              <a:gd name="T41" fmla="*/ 151 h 324"/>
              <a:gd name="T42" fmla="*/ 111 w 324"/>
              <a:gd name="T43" fmla="*/ 68 h 324"/>
              <a:gd name="T44" fmla="*/ 108 w 324"/>
              <a:gd name="T45" fmla="*/ 69 h 324"/>
              <a:gd name="T46" fmla="*/ 142 w 324"/>
              <a:gd name="T47" fmla="*/ 173 h 324"/>
              <a:gd name="T48" fmla="*/ 142 w 324"/>
              <a:gd name="T49" fmla="*/ 173 h 324"/>
              <a:gd name="T50" fmla="*/ 214 w 324"/>
              <a:gd name="T51" fmla="*/ 256 h 324"/>
              <a:gd name="T52" fmla="*/ 217 w 324"/>
              <a:gd name="T53" fmla="*/ 254 h 324"/>
              <a:gd name="T54" fmla="*/ 181 w 324"/>
              <a:gd name="T55" fmla="*/ 151 h 324"/>
              <a:gd name="T56" fmla="*/ 182 w 324"/>
              <a:gd name="T57" fmla="*/ 151 h 324"/>
              <a:gd name="T58" fmla="*/ 175 w 324"/>
              <a:gd name="T59" fmla="*/ 163 h 324"/>
              <a:gd name="T60" fmla="*/ 161 w 324"/>
              <a:gd name="T61" fmla="*/ 174 h 324"/>
              <a:gd name="T62" fmla="*/ 150 w 324"/>
              <a:gd name="T63" fmla="*/ 160 h 324"/>
              <a:gd name="T64" fmla="*/ 164 w 324"/>
              <a:gd name="T65" fmla="*/ 149 h 324"/>
              <a:gd name="T66" fmla="*/ 175 w 324"/>
              <a:gd name="T67" fmla="*/ 163 h 324"/>
              <a:gd name="T68" fmla="*/ 91 w 324"/>
              <a:gd name="T69" fmla="*/ 156 h 324"/>
              <a:gd name="T70" fmla="*/ 61 w 324"/>
              <a:gd name="T71" fmla="*/ 156 h 324"/>
              <a:gd name="T72" fmla="*/ 55 w 324"/>
              <a:gd name="T73" fmla="*/ 162 h 324"/>
              <a:gd name="T74" fmla="*/ 61 w 324"/>
              <a:gd name="T75" fmla="*/ 168 h 324"/>
              <a:gd name="T76" fmla="*/ 91 w 324"/>
              <a:gd name="T77" fmla="*/ 168 h 324"/>
              <a:gd name="T78" fmla="*/ 97 w 324"/>
              <a:gd name="T79" fmla="*/ 162 h 324"/>
              <a:gd name="T80" fmla="*/ 91 w 324"/>
              <a:gd name="T81" fmla="*/ 156 h 324"/>
              <a:gd name="T82" fmla="*/ 264 w 324"/>
              <a:gd name="T83" fmla="*/ 156 h 324"/>
              <a:gd name="T84" fmla="*/ 234 w 324"/>
              <a:gd name="T85" fmla="*/ 156 h 324"/>
              <a:gd name="T86" fmla="*/ 228 w 324"/>
              <a:gd name="T87" fmla="*/ 162 h 324"/>
              <a:gd name="T88" fmla="*/ 234 w 324"/>
              <a:gd name="T89" fmla="*/ 168 h 324"/>
              <a:gd name="T90" fmla="*/ 264 w 324"/>
              <a:gd name="T91" fmla="*/ 168 h 324"/>
              <a:gd name="T92" fmla="*/ 270 w 324"/>
              <a:gd name="T93" fmla="*/ 162 h 324"/>
              <a:gd name="T94" fmla="*/ 264 w 324"/>
              <a:gd name="T95" fmla="*/ 156 h 324"/>
              <a:gd name="T96" fmla="*/ 162 w 324"/>
              <a:gd name="T97" fmla="*/ 96 h 324"/>
              <a:gd name="T98" fmla="*/ 168 w 324"/>
              <a:gd name="T99" fmla="*/ 90 h 324"/>
              <a:gd name="T100" fmla="*/ 168 w 324"/>
              <a:gd name="T101" fmla="*/ 60 h 324"/>
              <a:gd name="T102" fmla="*/ 162 w 324"/>
              <a:gd name="T103" fmla="*/ 54 h 324"/>
              <a:gd name="T104" fmla="*/ 157 w 324"/>
              <a:gd name="T105" fmla="*/ 60 h 324"/>
              <a:gd name="T106" fmla="*/ 157 w 324"/>
              <a:gd name="T107" fmla="*/ 90 h 324"/>
              <a:gd name="T108" fmla="*/ 162 w 324"/>
              <a:gd name="T109" fmla="*/ 96 h 324"/>
              <a:gd name="T110" fmla="*/ 162 w 324"/>
              <a:gd name="T111" fmla="*/ 227 h 324"/>
              <a:gd name="T112" fmla="*/ 157 w 324"/>
              <a:gd name="T113" fmla="*/ 233 h 324"/>
              <a:gd name="T114" fmla="*/ 157 w 324"/>
              <a:gd name="T115" fmla="*/ 263 h 324"/>
              <a:gd name="T116" fmla="*/ 162 w 324"/>
              <a:gd name="T117" fmla="*/ 269 h 324"/>
              <a:gd name="T118" fmla="*/ 168 w 324"/>
              <a:gd name="T119" fmla="*/ 263 h 324"/>
              <a:gd name="T120" fmla="*/ 168 w 324"/>
              <a:gd name="T121" fmla="*/ 233 h 324"/>
              <a:gd name="T122" fmla="*/ 162 w 324"/>
              <a:gd name="T123" fmla="*/ 227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24" h="324">
                <a:moveTo>
                  <a:pt x="162" y="0"/>
                </a:moveTo>
                <a:cubicBezTo>
                  <a:pt x="73" y="0"/>
                  <a:pt x="0" y="72"/>
                  <a:pt x="0" y="162"/>
                </a:cubicBezTo>
                <a:cubicBezTo>
                  <a:pt x="0" y="251"/>
                  <a:pt x="73" y="324"/>
                  <a:pt x="162" y="324"/>
                </a:cubicBezTo>
                <a:cubicBezTo>
                  <a:pt x="252" y="324"/>
                  <a:pt x="324" y="251"/>
                  <a:pt x="324" y="162"/>
                </a:cubicBezTo>
                <a:cubicBezTo>
                  <a:pt x="324" y="72"/>
                  <a:pt x="252" y="0"/>
                  <a:pt x="162" y="0"/>
                </a:cubicBezTo>
                <a:close/>
                <a:moveTo>
                  <a:pt x="162" y="299"/>
                </a:moveTo>
                <a:cubicBezTo>
                  <a:pt x="87" y="299"/>
                  <a:pt x="25" y="237"/>
                  <a:pt x="25" y="162"/>
                </a:cubicBezTo>
                <a:cubicBezTo>
                  <a:pt x="25" y="86"/>
                  <a:pt x="87" y="25"/>
                  <a:pt x="162" y="25"/>
                </a:cubicBezTo>
                <a:cubicBezTo>
                  <a:pt x="238" y="25"/>
                  <a:pt x="299" y="86"/>
                  <a:pt x="299" y="162"/>
                </a:cubicBezTo>
                <a:cubicBezTo>
                  <a:pt x="299" y="237"/>
                  <a:pt x="238" y="299"/>
                  <a:pt x="162" y="299"/>
                </a:cubicBezTo>
                <a:close/>
                <a:moveTo>
                  <a:pt x="162" y="37"/>
                </a:moveTo>
                <a:cubicBezTo>
                  <a:pt x="93" y="37"/>
                  <a:pt x="38" y="93"/>
                  <a:pt x="38" y="162"/>
                </a:cubicBezTo>
                <a:cubicBezTo>
                  <a:pt x="38" y="231"/>
                  <a:pt x="93" y="287"/>
                  <a:pt x="162" y="287"/>
                </a:cubicBezTo>
                <a:cubicBezTo>
                  <a:pt x="231" y="287"/>
                  <a:pt x="287" y="231"/>
                  <a:pt x="287" y="162"/>
                </a:cubicBezTo>
                <a:cubicBezTo>
                  <a:pt x="287" y="93"/>
                  <a:pt x="231" y="37"/>
                  <a:pt x="162" y="37"/>
                </a:cubicBezTo>
                <a:close/>
                <a:moveTo>
                  <a:pt x="162" y="278"/>
                </a:moveTo>
                <a:cubicBezTo>
                  <a:pt x="98" y="278"/>
                  <a:pt x="46" y="226"/>
                  <a:pt x="46" y="162"/>
                </a:cubicBezTo>
                <a:cubicBezTo>
                  <a:pt x="46" y="97"/>
                  <a:pt x="98" y="45"/>
                  <a:pt x="162" y="45"/>
                </a:cubicBezTo>
                <a:cubicBezTo>
                  <a:pt x="227" y="45"/>
                  <a:pt x="279" y="97"/>
                  <a:pt x="279" y="162"/>
                </a:cubicBezTo>
                <a:cubicBezTo>
                  <a:pt x="279" y="226"/>
                  <a:pt x="227" y="278"/>
                  <a:pt x="162" y="278"/>
                </a:cubicBezTo>
                <a:close/>
                <a:moveTo>
                  <a:pt x="182" y="151"/>
                </a:moveTo>
                <a:cubicBezTo>
                  <a:pt x="111" y="68"/>
                  <a:pt x="111" y="68"/>
                  <a:pt x="111" y="68"/>
                </a:cubicBezTo>
                <a:cubicBezTo>
                  <a:pt x="108" y="69"/>
                  <a:pt x="108" y="69"/>
                  <a:pt x="108" y="69"/>
                </a:cubicBezTo>
                <a:cubicBezTo>
                  <a:pt x="142" y="173"/>
                  <a:pt x="142" y="173"/>
                  <a:pt x="142" y="173"/>
                </a:cubicBezTo>
                <a:cubicBezTo>
                  <a:pt x="142" y="173"/>
                  <a:pt x="142" y="173"/>
                  <a:pt x="142" y="173"/>
                </a:cubicBezTo>
                <a:cubicBezTo>
                  <a:pt x="214" y="256"/>
                  <a:pt x="214" y="256"/>
                  <a:pt x="214" y="256"/>
                </a:cubicBezTo>
                <a:cubicBezTo>
                  <a:pt x="217" y="254"/>
                  <a:pt x="217" y="254"/>
                  <a:pt x="217" y="254"/>
                </a:cubicBezTo>
                <a:cubicBezTo>
                  <a:pt x="181" y="151"/>
                  <a:pt x="181" y="151"/>
                  <a:pt x="181" y="151"/>
                </a:cubicBezTo>
                <a:lnTo>
                  <a:pt x="182" y="151"/>
                </a:lnTo>
                <a:close/>
                <a:moveTo>
                  <a:pt x="175" y="163"/>
                </a:moveTo>
                <a:cubicBezTo>
                  <a:pt x="174" y="170"/>
                  <a:pt x="168" y="175"/>
                  <a:pt x="161" y="174"/>
                </a:cubicBezTo>
                <a:cubicBezTo>
                  <a:pt x="154" y="173"/>
                  <a:pt x="149" y="167"/>
                  <a:pt x="150" y="160"/>
                </a:cubicBezTo>
                <a:cubicBezTo>
                  <a:pt x="151" y="153"/>
                  <a:pt x="157" y="148"/>
                  <a:pt x="164" y="149"/>
                </a:cubicBezTo>
                <a:cubicBezTo>
                  <a:pt x="171" y="150"/>
                  <a:pt x="176" y="156"/>
                  <a:pt x="175" y="163"/>
                </a:cubicBezTo>
                <a:close/>
                <a:moveTo>
                  <a:pt x="91" y="156"/>
                </a:moveTo>
                <a:cubicBezTo>
                  <a:pt x="61" y="156"/>
                  <a:pt x="61" y="156"/>
                  <a:pt x="61" y="156"/>
                </a:cubicBezTo>
                <a:cubicBezTo>
                  <a:pt x="58" y="156"/>
                  <a:pt x="55" y="158"/>
                  <a:pt x="55" y="162"/>
                </a:cubicBezTo>
                <a:cubicBezTo>
                  <a:pt x="55" y="165"/>
                  <a:pt x="58" y="168"/>
                  <a:pt x="61" y="168"/>
                </a:cubicBezTo>
                <a:cubicBezTo>
                  <a:pt x="91" y="168"/>
                  <a:pt x="91" y="168"/>
                  <a:pt x="91" y="168"/>
                </a:cubicBezTo>
                <a:cubicBezTo>
                  <a:pt x="94" y="168"/>
                  <a:pt x="97" y="165"/>
                  <a:pt x="97" y="162"/>
                </a:cubicBezTo>
                <a:cubicBezTo>
                  <a:pt x="97" y="158"/>
                  <a:pt x="94" y="156"/>
                  <a:pt x="91" y="156"/>
                </a:cubicBezTo>
                <a:close/>
                <a:moveTo>
                  <a:pt x="264" y="156"/>
                </a:moveTo>
                <a:cubicBezTo>
                  <a:pt x="234" y="156"/>
                  <a:pt x="234" y="156"/>
                  <a:pt x="234" y="156"/>
                </a:cubicBezTo>
                <a:cubicBezTo>
                  <a:pt x="231" y="156"/>
                  <a:pt x="228" y="158"/>
                  <a:pt x="228" y="162"/>
                </a:cubicBezTo>
                <a:cubicBezTo>
                  <a:pt x="228" y="165"/>
                  <a:pt x="231" y="168"/>
                  <a:pt x="234" y="168"/>
                </a:cubicBezTo>
                <a:cubicBezTo>
                  <a:pt x="264" y="168"/>
                  <a:pt x="264" y="168"/>
                  <a:pt x="264" y="168"/>
                </a:cubicBezTo>
                <a:cubicBezTo>
                  <a:pt x="267" y="168"/>
                  <a:pt x="270" y="165"/>
                  <a:pt x="270" y="162"/>
                </a:cubicBezTo>
                <a:cubicBezTo>
                  <a:pt x="270" y="158"/>
                  <a:pt x="267" y="156"/>
                  <a:pt x="264" y="156"/>
                </a:cubicBezTo>
                <a:close/>
                <a:moveTo>
                  <a:pt x="162" y="96"/>
                </a:moveTo>
                <a:cubicBezTo>
                  <a:pt x="166" y="96"/>
                  <a:pt x="168" y="93"/>
                  <a:pt x="168" y="90"/>
                </a:cubicBezTo>
                <a:cubicBezTo>
                  <a:pt x="168" y="60"/>
                  <a:pt x="168" y="60"/>
                  <a:pt x="168" y="60"/>
                </a:cubicBezTo>
                <a:cubicBezTo>
                  <a:pt x="168" y="57"/>
                  <a:pt x="166" y="54"/>
                  <a:pt x="162" y="54"/>
                </a:cubicBezTo>
                <a:cubicBezTo>
                  <a:pt x="159" y="54"/>
                  <a:pt x="157" y="57"/>
                  <a:pt x="157" y="60"/>
                </a:cubicBezTo>
                <a:cubicBezTo>
                  <a:pt x="157" y="90"/>
                  <a:pt x="157" y="90"/>
                  <a:pt x="157" y="90"/>
                </a:cubicBezTo>
                <a:cubicBezTo>
                  <a:pt x="157" y="93"/>
                  <a:pt x="159" y="96"/>
                  <a:pt x="162" y="96"/>
                </a:cubicBezTo>
                <a:close/>
                <a:moveTo>
                  <a:pt x="162" y="227"/>
                </a:moveTo>
                <a:cubicBezTo>
                  <a:pt x="159" y="227"/>
                  <a:pt x="157" y="230"/>
                  <a:pt x="157" y="233"/>
                </a:cubicBezTo>
                <a:cubicBezTo>
                  <a:pt x="157" y="263"/>
                  <a:pt x="157" y="263"/>
                  <a:pt x="157" y="263"/>
                </a:cubicBezTo>
                <a:cubicBezTo>
                  <a:pt x="157" y="267"/>
                  <a:pt x="159" y="269"/>
                  <a:pt x="162" y="269"/>
                </a:cubicBezTo>
                <a:cubicBezTo>
                  <a:pt x="166" y="269"/>
                  <a:pt x="168" y="267"/>
                  <a:pt x="168" y="263"/>
                </a:cubicBezTo>
                <a:cubicBezTo>
                  <a:pt x="168" y="233"/>
                  <a:pt x="168" y="233"/>
                  <a:pt x="168" y="233"/>
                </a:cubicBezTo>
                <a:cubicBezTo>
                  <a:pt x="168" y="230"/>
                  <a:pt x="166" y="227"/>
                  <a:pt x="162" y="227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03" name="Freeform 55"/>
          <p:cNvSpPr>
            <a:spLocks noEditPoints="1"/>
          </p:cNvSpPr>
          <p:nvPr>
            <p:custDataLst>
              <p:tags r:id="rId31"/>
            </p:custDataLst>
          </p:nvPr>
        </p:nvSpPr>
        <p:spPr bwMode="auto">
          <a:xfrm>
            <a:off x="3910013" y="3529013"/>
            <a:ext cx="374650" cy="333375"/>
          </a:xfrm>
          <a:custGeom>
            <a:avLst/>
            <a:gdLst>
              <a:gd name="T0" fmla="*/ 80 w 100"/>
              <a:gd name="T1" fmla="*/ 89 h 89"/>
              <a:gd name="T2" fmla="*/ 94 w 100"/>
              <a:gd name="T3" fmla="*/ 86 h 89"/>
              <a:gd name="T4" fmla="*/ 77 w 100"/>
              <a:gd name="T5" fmla="*/ 78 h 89"/>
              <a:gd name="T6" fmla="*/ 7 w 100"/>
              <a:gd name="T7" fmla="*/ 86 h 89"/>
              <a:gd name="T8" fmla="*/ 21 w 100"/>
              <a:gd name="T9" fmla="*/ 89 h 89"/>
              <a:gd name="T10" fmla="*/ 24 w 100"/>
              <a:gd name="T11" fmla="*/ 78 h 89"/>
              <a:gd name="T12" fmla="*/ 7 w 100"/>
              <a:gd name="T13" fmla="*/ 86 h 89"/>
              <a:gd name="T14" fmla="*/ 59 w 100"/>
              <a:gd name="T15" fmla="*/ 52 h 89"/>
              <a:gd name="T16" fmla="*/ 40 w 100"/>
              <a:gd name="T17" fmla="*/ 48 h 89"/>
              <a:gd name="T18" fmla="*/ 95 w 100"/>
              <a:gd name="T19" fmla="*/ 35 h 89"/>
              <a:gd name="T20" fmla="*/ 70 w 100"/>
              <a:gd name="T21" fmla="*/ 0 h 89"/>
              <a:gd name="T22" fmla="*/ 31 w 100"/>
              <a:gd name="T23" fmla="*/ 0 h 89"/>
              <a:gd name="T24" fmla="*/ 0 w 100"/>
              <a:gd name="T25" fmla="*/ 52 h 89"/>
              <a:gd name="T26" fmla="*/ 3 w 100"/>
              <a:gd name="T27" fmla="*/ 72 h 89"/>
              <a:gd name="T28" fmla="*/ 50 w 100"/>
              <a:gd name="T29" fmla="*/ 74 h 89"/>
              <a:gd name="T30" fmla="*/ 50 w 100"/>
              <a:gd name="T31" fmla="*/ 74 h 89"/>
              <a:gd name="T32" fmla="*/ 97 w 100"/>
              <a:gd name="T33" fmla="*/ 72 h 89"/>
              <a:gd name="T34" fmla="*/ 95 w 100"/>
              <a:gd name="T35" fmla="*/ 35 h 89"/>
              <a:gd name="T36" fmla="*/ 31 w 100"/>
              <a:gd name="T37" fmla="*/ 7 h 89"/>
              <a:gd name="T38" fmla="*/ 70 w 100"/>
              <a:gd name="T39" fmla="*/ 7 h 89"/>
              <a:gd name="T40" fmla="*/ 13 w 100"/>
              <a:gd name="T41" fmla="*/ 28 h 89"/>
              <a:gd name="T42" fmla="*/ 15 w 100"/>
              <a:gd name="T43" fmla="*/ 71 h 89"/>
              <a:gd name="T44" fmla="*/ 15 w 100"/>
              <a:gd name="T45" fmla="*/ 63 h 89"/>
              <a:gd name="T46" fmla="*/ 15 w 100"/>
              <a:gd name="T47" fmla="*/ 71 h 89"/>
              <a:gd name="T48" fmla="*/ 26 w 100"/>
              <a:gd name="T49" fmla="*/ 47 h 89"/>
              <a:gd name="T50" fmla="*/ 7 w 100"/>
              <a:gd name="T51" fmla="*/ 47 h 89"/>
              <a:gd name="T52" fmla="*/ 7 w 100"/>
              <a:gd name="T53" fmla="*/ 46 h 89"/>
              <a:gd name="T54" fmla="*/ 7 w 100"/>
              <a:gd name="T55" fmla="*/ 46 h 89"/>
              <a:gd name="T56" fmla="*/ 7 w 100"/>
              <a:gd name="T57" fmla="*/ 46 h 89"/>
              <a:gd name="T58" fmla="*/ 11 w 100"/>
              <a:gd name="T59" fmla="*/ 37 h 89"/>
              <a:gd name="T60" fmla="*/ 12 w 100"/>
              <a:gd name="T61" fmla="*/ 37 h 89"/>
              <a:gd name="T62" fmla="*/ 27 w 100"/>
              <a:gd name="T63" fmla="*/ 46 h 89"/>
              <a:gd name="T64" fmla="*/ 27 w 100"/>
              <a:gd name="T65" fmla="*/ 46 h 89"/>
              <a:gd name="T66" fmla="*/ 60 w 100"/>
              <a:gd name="T67" fmla="*/ 56 h 89"/>
              <a:gd name="T68" fmla="*/ 60 w 100"/>
              <a:gd name="T69" fmla="*/ 56 h 89"/>
              <a:gd name="T70" fmla="*/ 41 w 100"/>
              <a:gd name="T71" fmla="*/ 56 h 89"/>
              <a:gd name="T72" fmla="*/ 35 w 100"/>
              <a:gd name="T73" fmla="*/ 45 h 89"/>
              <a:gd name="T74" fmla="*/ 35 w 100"/>
              <a:gd name="T75" fmla="*/ 45 h 89"/>
              <a:gd name="T76" fmla="*/ 35 w 100"/>
              <a:gd name="T77" fmla="*/ 45 h 89"/>
              <a:gd name="T78" fmla="*/ 64 w 100"/>
              <a:gd name="T79" fmla="*/ 43 h 89"/>
              <a:gd name="T80" fmla="*/ 65 w 100"/>
              <a:gd name="T81" fmla="*/ 45 h 89"/>
              <a:gd name="T82" fmla="*/ 65 w 100"/>
              <a:gd name="T83" fmla="*/ 45 h 89"/>
              <a:gd name="T84" fmla="*/ 85 w 100"/>
              <a:gd name="T85" fmla="*/ 71 h 89"/>
              <a:gd name="T86" fmla="*/ 85 w 100"/>
              <a:gd name="T87" fmla="*/ 63 h 89"/>
              <a:gd name="T88" fmla="*/ 85 w 100"/>
              <a:gd name="T89" fmla="*/ 71 h 89"/>
              <a:gd name="T90" fmla="*/ 94 w 100"/>
              <a:gd name="T91" fmla="*/ 46 h 89"/>
              <a:gd name="T92" fmla="*/ 93 w 100"/>
              <a:gd name="T93" fmla="*/ 47 h 89"/>
              <a:gd name="T94" fmla="*/ 93 w 100"/>
              <a:gd name="T95" fmla="*/ 47 h 89"/>
              <a:gd name="T96" fmla="*/ 74 w 100"/>
              <a:gd name="T97" fmla="*/ 46 h 89"/>
              <a:gd name="T98" fmla="*/ 74 w 100"/>
              <a:gd name="T99" fmla="*/ 46 h 89"/>
              <a:gd name="T100" fmla="*/ 89 w 100"/>
              <a:gd name="T101" fmla="*/ 37 h 89"/>
              <a:gd name="T102" fmla="*/ 90 w 100"/>
              <a:gd name="T103" fmla="*/ 37 h 89"/>
              <a:gd name="T104" fmla="*/ 94 w 100"/>
              <a:gd name="T105" fmla="*/ 46 h 89"/>
              <a:gd name="T106" fmla="*/ 94 w 100"/>
              <a:gd name="T107" fmla="*/ 46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0" h="89">
                <a:moveTo>
                  <a:pt x="77" y="86"/>
                </a:moveTo>
                <a:cubicBezTo>
                  <a:pt x="77" y="88"/>
                  <a:pt x="78" y="89"/>
                  <a:pt x="8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2" y="89"/>
                  <a:pt x="94" y="88"/>
                  <a:pt x="94" y="86"/>
                </a:cubicBezTo>
                <a:cubicBezTo>
                  <a:pt x="94" y="78"/>
                  <a:pt x="94" y="78"/>
                  <a:pt x="94" y="78"/>
                </a:cubicBezTo>
                <a:cubicBezTo>
                  <a:pt x="77" y="78"/>
                  <a:pt x="77" y="78"/>
                  <a:pt x="77" y="78"/>
                </a:cubicBezTo>
                <a:lnTo>
                  <a:pt x="77" y="86"/>
                </a:lnTo>
                <a:close/>
                <a:moveTo>
                  <a:pt x="7" y="86"/>
                </a:moveTo>
                <a:cubicBezTo>
                  <a:pt x="7" y="88"/>
                  <a:pt x="8" y="89"/>
                  <a:pt x="10" y="89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4" y="88"/>
                  <a:pt x="24" y="86"/>
                </a:cubicBezTo>
                <a:cubicBezTo>
                  <a:pt x="24" y="78"/>
                  <a:pt x="24" y="78"/>
                  <a:pt x="24" y="78"/>
                </a:cubicBezTo>
                <a:cubicBezTo>
                  <a:pt x="7" y="78"/>
                  <a:pt x="7" y="78"/>
                  <a:pt x="7" y="78"/>
                </a:cubicBezTo>
                <a:lnTo>
                  <a:pt x="7" y="86"/>
                </a:lnTo>
                <a:close/>
                <a:moveTo>
                  <a:pt x="41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60" y="51"/>
                  <a:pt x="60" y="50"/>
                  <a:pt x="61" y="48"/>
                </a:cubicBezTo>
                <a:cubicBezTo>
                  <a:pt x="40" y="48"/>
                  <a:pt x="40" y="48"/>
                  <a:pt x="40" y="48"/>
                </a:cubicBezTo>
                <a:cubicBezTo>
                  <a:pt x="40" y="50"/>
                  <a:pt x="41" y="51"/>
                  <a:pt x="41" y="52"/>
                </a:cubicBezTo>
                <a:close/>
                <a:moveTo>
                  <a:pt x="95" y="35"/>
                </a:moveTo>
                <a:cubicBezTo>
                  <a:pt x="95" y="30"/>
                  <a:pt x="90" y="0"/>
                  <a:pt x="70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11" y="0"/>
                  <a:pt x="6" y="30"/>
                  <a:pt x="5" y="35"/>
                </a:cubicBezTo>
                <a:cubicBezTo>
                  <a:pt x="2" y="39"/>
                  <a:pt x="0" y="45"/>
                  <a:pt x="0" y="52"/>
                </a:cubicBezTo>
                <a:cubicBezTo>
                  <a:pt x="0" y="61"/>
                  <a:pt x="2" y="70"/>
                  <a:pt x="3" y="72"/>
                </a:cubicBezTo>
                <a:cubicBezTo>
                  <a:pt x="3" y="72"/>
                  <a:pt x="3" y="72"/>
                  <a:pt x="3" y="72"/>
                </a:cubicBezTo>
                <a:cubicBezTo>
                  <a:pt x="4" y="73"/>
                  <a:pt x="5" y="74"/>
                  <a:pt x="6" y="74"/>
                </a:cubicBezTo>
                <a:cubicBezTo>
                  <a:pt x="50" y="74"/>
                  <a:pt x="50" y="74"/>
                  <a:pt x="50" y="74"/>
                </a:cubicBezTo>
                <a:cubicBezTo>
                  <a:pt x="50" y="74"/>
                  <a:pt x="50" y="74"/>
                  <a:pt x="50" y="74"/>
                </a:cubicBezTo>
                <a:cubicBezTo>
                  <a:pt x="50" y="74"/>
                  <a:pt x="50" y="74"/>
                  <a:pt x="50" y="74"/>
                </a:cubicBezTo>
                <a:cubicBezTo>
                  <a:pt x="94" y="74"/>
                  <a:pt x="94" y="74"/>
                  <a:pt x="94" y="74"/>
                </a:cubicBezTo>
                <a:cubicBezTo>
                  <a:pt x="95" y="74"/>
                  <a:pt x="97" y="73"/>
                  <a:pt x="97" y="72"/>
                </a:cubicBezTo>
                <a:cubicBezTo>
                  <a:pt x="98" y="69"/>
                  <a:pt x="100" y="61"/>
                  <a:pt x="100" y="52"/>
                </a:cubicBezTo>
                <a:cubicBezTo>
                  <a:pt x="100" y="45"/>
                  <a:pt x="99" y="39"/>
                  <a:pt x="95" y="35"/>
                </a:cubicBezTo>
                <a:close/>
                <a:moveTo>
                  <a:pt x="30" y="7"/>
                </a:moveTo>
                <a:cubicBezTo>
                  <a:pt x="31" y="7"/>
                  <a:pt x="31" y="7"/>
                  <a:pt x="31" y="7"/>
                </a:cubicBezTo>
                <a:cubicBezTo>
                  <a:pt x="70" y="7"/>
                  <a:pt x="70" y="7"/>
                  <a:pt x="70" y="7"/>
                </a:cubicBezTo>
                <a:cubicBezTo>
                  <a:pt x="70" y="7"/>
                  <a:pt x="70" y="7"/>
                  <a:pt x="70" y="7"/>
                </a:cubicBezTo>
                <a:cubicBezTo>
                  <a:pt x="79" y="7"/>
                  <a:pt x="85" y="19"/>
                  <a:pt x="87" y="28"/>
                </a:cubicBezTo>
                <a:cubicBezTo>
                  <a:pt x="13" y="28"/>
                  <a:pt x="13" y="28"/>
                  <a:pt x="13" y="28"/>
                </a:cubicBezTo>
                <a:cubicBezTo>
                  <a:pt x="16" y="19"/>
                  <a:pt x="21" y="7"/>
                  <a:pt x="30" y="7"/>
                </a:cubicBezTo>
                <a:close/>
                <a:moveTo>
                  <a:pt x="15" y="71"/>
                </a:moveTo>
                <a:cubicBezTo>
                  <a:pt x="13" y="71"/>
                  <a:pt x="11" y="70"/>
                  <a:pt x="11" y="67"/>
                </a:cubicBezTo>
                <a:cubicBezTo>
                  <a:pt x="11" y="65"/>
                  <a:pt x="13" y="63"/>
                  <a:pt x="15" y="63"/>
                </a:cubicBezTo>
                <a:cubicBezTo>
                  <a:pt x="18" y="63"/>
                  <a:pt x="20" y="65"/>
                  <a:pt x="20" y="67"/>
                </a:cubicBezTo>
                <a:cubicBezTo>
                  <a:pt x="20" y="70"/>
                  <a:pt x="18" y="71"/>
                  <a:pt x="15" y="71"/>
                </a:cubicBezTo>
                <a:close/>
                <a:moveTo>
                  <a:pt x="27" y="46"/>
                </a:moveTo>
                <a:cubicBezTo>
                  <a:pt x="27" y="46"/>
                  <a:pt x="26" y="47"/>
                  <a:pt x="26" y="47"/>
                </a:cubicBezTo>
                <a:cubicBezTo>
                  <a:pt x="7" y="47"/>
                  <a:pt x="7" y="47"/>
                  <a:pt x="7" y="47"/>
                </a:cubicBezTo>
                <a:cubicBezTo>
                  <a:pt x="7" y="47"/>
                  <a:pt x="7" y="47"/>
                  <a:pt x="7" y="47"/>
                </a:cubicBezTo>
                <a:cubicBezTo>
                  <a:pt x="7" y="47"/>
                  <a:pt x="7" y="47"/>
                  <a:pt x="7" y="47"/>
                </a:cubicBezTo>
                <a:cubicBezTo>
                  <a:pt x="7" y="47"/>
                  <a:pt x="7" y="47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1"/>
                  <a:pt x="9" y="38"/>
                  <a:pt x="11" y="37"/>
                </a:cubicBezTo>
                <a:cubicBezTo>
                  <a:pt x="11" y="37"/>
                  <a:pt x="11" y="37"/>
                  <a:pt x="11" y="37"/>
                </a:cubicBezTo>
                <a:cubicBezTo>
                  <a:pt x="11" y="37"/>
                  <a:pt x="11" y="37"/>
                  <a:pt x="12" y="37"/>
                </a:cubicBezTo>
                <a:cubicBezTo>
                  <a:pt x="12" y="37"/>
                  <a:pt x="21" y="37"/>
                  <a:pt x="24" y="40"/>
                </a:cubicBezTo>
                <a:cubicBezTo>
                  <a:pt x="26" y="41"/>
                  <a:pt x="27" y="43"/>
                  <a:pt x="27" y="46"/>
                </a:cubicBezTo>
                <a:cubicBezTo>
                  <a:pt x="27" y="46"/>
                  <a:pt x="27" y="46"/>
                  <a:pt x="27" y="46"/>
                </a:cubicBezTo>
                <a:cubicBezTo>
                  <a:pt x="27" y="46"/>
                  <a:pt x="27" y="46"/>
                  <a:pt x="27" y="46"/>
                </a:cubicBezTo>
                <a:close/>
                <a:moveTo>
                  <a:pt x="65" y="45"/>
                </a:moveTo>
                <a:cubicBezTo>
                  <a:pt x="65" y="46"/>
                  <a:pt x="64" y="56"/>
                  <a:pt x="60" y="56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6"/>
                  <a:pt x="60" y="56"/>
                  <a:pt x="60" y="56"/>
                </a:cubicBezTo>
                <a:cubicBezTo>
                  <a:pt x="41" y="56"/>
                  <a:pt x="41" y="56"/>
                  <a:pt x="41" y="56"/>
                </a:cubicBezTo>
                <a:cubicBezTo>
                  <a:pt x="41" y="56"/>
                  <a:pt x="41" y="56"/>
                  <a:pt x="41" y="56"/>
                </a:cubicBezTo>
                <a:cubicBezTo>
                  <a:pt x="41" y="56"/>
                  <a:pt x="41" y="56"/>
                  <a:pt x="41" y="56"/>
                </a:cubicBezTo>
                <a:cubicBezTo>
                  <a:pt x="36" y="56"/>
                  <a:pt x="35" y="46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4"/>
                  <a:pt x="36" y="43"/>
                  <a:pt x="37" y="43"/>
                </a:cubicBezTo>
                <a:cubicBezTo>
                  <a:pt x="64" y="43"/>
                  <a:pt x="64" y="43"/>
                  <a:pt x="64" y="43"/>
                </a:cubicBezTo>
                <a:cubicBezTo>
                  <a:pt x="65" y="43"/>
                  <a:pt x="65" y="44"/>
                  <a:pt x="65" y="45"/>
                </a:cubicBezTo>
                <a:cubicBezTo>
                  <a:pt x="65" y="45"/>
                  <a:pt x="65" y="45"/>
                  <a:pt x="65" y="45"/>
                </a:cubicBezTo>
                <a:cubicBezTo>
                  <a:pt x="65" y="45"/>
                  <a:pt x="65" y="45"/>
                  <a:pt x="65" y="45"/>
                </a:cubicBezTo>
                <a:cubicBezTo>
                  <a:pt x="65" y="45"/>
                  <a:pt x="65" y="45"/>
                  <a:pt x="65" y="45"/>
                </a:cubicBezTo>
                <a:cubicBezTo>
                  <a:pt x="65" y="45"/>
                  <a:pt x="65" y="45"/>
                  <a:pt x="65" y="45"/>
                </a:cubicBezTo>
                <a:close/>
                <a:moveTo>
                  <a:pt x="85" y="71"/>
                </a:moveTo>
                <a:cubicBezTo>
                  <a:pt x="83" y="71"/>
                  <a:pt x="81" y="70"/>
                  <a:pt x="81" y="67"/>
                </a:cubicBezTo>
                <a:cubicBezTo>
                  <a:pt x="81" y="65"/>
                  <a:pt x="83" y="63"/>
                  <a:pt x="85" y="63"/>
                </a:cubicBezTo>
                <a:cubicBezTo>
                  <a:pt x="88" y="63"/>
                  <a:pt x="90" y="65"/>
                  <a:pt x="90" y="67"/>
                </a:cubicBezTo>
                <a:cubicBezTo>
                  <a:pt x="90" y="70"/>
                  <a:pt x="88" y="71"/>
                  <a:pt x="85" y="71"/>
                </a:cubicBezTo>
                <a:close/>
                <a:moveTo>
                  <a:pt x="94" y="46"/>
                </a:moveTo>
                <a:cubicBezTo>
                  <a:pt x="94" y="46"/>
                  <a:pt x="94" y="46"/>
                  <a:pt x="94" y="46"/>
                </a:cubicBezTo>
                <a:cubicBezTo>
                  <a:pt x="93" y="46"/>
                  <a:pt x="93" y="46"/>
                  <a:pt x="93" y="46"/>
                </a:cubicBezTo>
                <a:cubicBezTo>
                  <a:pt x="93" y="47"/>
                  <a:pt x="93" y="47"/>
                  <a:pt x="93" y="47"/>
                </a:cubicBezTo>
                <a:cubicBezTo>
                  <a:pt x="93" y="47"/>
                  <a:pt x="93" y="47"/>
                  <a:pt x="93" y="47"/>
                </a:cubicBezTo>
                <a:cubicBezTo>
                  <a:pt x="93" y="47"/>
                  <a:pt x="93" y="47"/>
                  <a:pt x="93" y="47"/>
                </a:cubicBezTo>
                <a:cubicBezTo>
                  <a:pt x="75" y="47"/>
                  <a:pt x="75" y="47"/>
                  <a:pt x="75" y="47"/>
                </a:cubicBezTo>
                <a:cubicBezTo>
                  <a:pt x="74" y="47"/>
                  <a:pt x="74" y="46"/>
                  <a:pt x="74" y="46"/>
                </a:cubicBezTo>
                <a:cubicBezTo>
                  <a:pt x="74" y="46"/>
                  <a:pt x="74" y="46"/>
                  <a:pt x="74" y="46"/>
                </a:cubicBezTo>
                <a:cubicBezTo>
                  <a:pt x="74" y="46"/>
                  <a:pt x="74" y="46"/>
                  <a:pt x="74" y="46"/>
                </a:cubicBezTo>
                <a:cubicBezTo>
                  <a:pt x="74" y="43"/>
                  <a:pt x="75" y="41"/>
                  <a:pt x="76" y="40"/>
                </a:cubicBezTo>
                <a:cubicBezTo>
                  <a:pt x="79" y="37"/>
                  <a:pt x="89" y="37"/>
                  <a:pt x="89" y="37"/>
                </a:cubicBezTo>
                <a:cubicBezTo>
                  <a:pt x="89" y="37"/>
                  <a:pt x="89" y="37"/>
                  <a:pt x="90" y="37"/>
                </a:cubicBezTo>
                <a:cubicBezTo>
                  <a:pt x="90" y="37"/>
                  <a:pt x="90" y="37"/>
                  <a:pt x="90" y="37"/>
                </a:cubicBezTo>
                <a:cubicBezTo>
                  <a:pt x="92" y="38"/>
                  <a:pt x="93" y="41"/>
                  <a:pt x="94" y="46"/>
                </a:cubicBezTo>
                <a:cubicBezTo>
                  <a:pt x="94" y="46"/>
                  <a:pt x="94" y="46"/>
                  <a:pt x="94" y="46"/>
                </a:cubicBezTo>
                <a:cubicBezTo>
                  <a:pt x="94" y="46"/>
                  <a:pt x="94" y="46"/>
                  <a:pt x="94" y="46"/>
                </a:cubicBezTo>
                <a:cubicBezTo>
                  <a:pt x="94" y="46"/>
                  <a:pt x="94" y="46"/>
                  <a:pt x="94" y="46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3" name="Freeform 55"/>
          <p:cNvSpPr>
            <a:spLocks noEditPoints="1"/>
          </p:cNvSpPr>
          <p:nvPr>
            <p:custDataLst>
              <p:tags r:id="rId32"/>
            </p:custDataLst>
          </p:nvPr>
        </p:nvSpPr>
        <p:spPr bwMode="auto">
          <a:xfrm>
            <a:off x="69850" y="104775"/>
            <a:ext cx="488950" cy="434975"/>
          </a:xfrm>
          <a:custGeom>
            <a:avLst/>
            <a:gdLst>
              <a:gd name="T0" fmla="*/ 80 w 100"/>
              <a:gd name="T1" fmla="*/ 89 h 89"/>
              <a:gd name="T2" fmla="*/ 94 w 100"/>
              <a:gd name="T3" fmla="*/ 86 h 89"/>
              <a:gd name="T4" fmla="*/ 77 w 100"/>
              <a:gd name="T5" fmla="*/ 78 h 89"/>
              <a:gd name="T6" fmla="*/ 7 w 100"/>
              <a:gd name="T7" fmla="*/ 86 h 89"/>
              <a:gd name="T8" fmla="*/ 21 w 100"/>
              <a:gd name="T9" fmla="*/ 89 h 89"/>
              <a:gd name="T10" fmla="*/ 24 w 100"/>
              <a:gd name="T11" fmla="*/ 78 h 89"/>
              <a:gd name="T12" fmla="*/ 7 w 100"/>
              <a:gd name="T13" fmla="*/ 86 h 89"/>
              <a:gd name="T14" fmla="*/ 59 w 100"/>
              <a:gd name="T15" fmla="*/ 52 h 89"/>
              <a:gd name="T16" fmla="*/ 40 w 100"/>
              <a:gd name="T17" fmla="*/ 48 h 89"/>
              <a:gd name="T18" fmla="*/ 95 w 100"/>
              <a:gd name="T19" fmla="*/ 35 h 89"/>
              <a:gd name="T20" fmla="*/ 70 w 100"/>
              <a:gd name="T21" fmla="*/ 0 h 89"/>
              <a:gd name="T22" fmla="*/ 31 w 100"/>
              <a:gd name="T23" fmla="*/ 0 h 89"/>
              <a:gd name="T24" fmla="*/ 0 w 100"/>
              <a:gd name="T25" fmla="*/ 52 h 89"/>
              <a:gd name="T26" fmla="*/ 3 w 100"/>
              <a:gd name="T27" fmla="*/ 72 h 89"/>
              <a:gd name="T28" fmla="*/ 50 w 100"/>
              <a:gd name="T29" fmla="*/ 74 h 89"/>
              <a:gd name="T30" fmla="*/ 50 w 100"/>
              <a:gd name="T31" fmla="*/ 74 h 89"/>
              <a:gd name="T32" fmla="*/ 97 w 100"/>
              <a:gd name="T33" fmla="*/ 72 h 89"/>
              <a:gd name="T34" fmla="*/ 95 w 100"/>
              <a:gd name="T35" fmla="*/ 35 h 89"/>
              <a:gd name="T36" fmla="*/ 31 w 100"/>
              <a:gd name="T37" fmla="*/ 7 h 89"/>
              <a:gd name="T38" fmla="*/ 70 w 100"/>
              <a:gd name="T39" fmla="*/ 7 h 89"/>
              <a:gd name="T40" fmla="*/ 13 w 100"/>
              <a:gd name="T41" fmla="*/ 28 h 89"/>
              <a:gd name="T42" fmla="*/ 15 w 100"/>
              <a:gd name="T43" fmla="*/ 71 h 89"/>
              <a:gd name="T44" fmla="*/ 15 w 100"/>
              <a:gd name="T45" fmla="*/ 63 h 89"/>
              <a:gd name="T46" fmla="*/ 15 w 100"/>
              <a:gd name="T47" fmla="*/ 71 h 89"/>
              <a:gd name="T48" fmla="*/ 26 w 100"/>
              <a:gd name="T49" fmla="*/ 47 h 89"/>
              <a:gd name="T50" fmla="*/ 7 w 100"/>
              <a:gd name="T51" fmla="*/ 47 h 89"/>
              <a:gd name="T52" fmla="*/ 7 w 100"/>
              <a:gd name="T53" fmla="*/ 46 h 89"/>
              <a:gd name="T54" fmla="*/ 7 w 100"/>
              <a:gd name="T55" fmla="*/ 46 h 89"/>
              <a:gd name="T56" fmla="*/ 7 w 100"/>
              <a:gd name="T57" fmla="*/ 46 h 89"/>
              <a:gd name="T58" fmla="*/ 11 w 100"/>
              <a:gd name="T59" fmla="*/ 37 h 89"/>
              <a:gd name="T60" fmla="*/ 12 w 100"/>
              <a:gd name="T61" fmla="*/ 37 h 89"/>
              <a:gd name="T62" fmla="*/ 27 w 100"/>
              <a:gd name="T63" fmla="*/ 46 h 89"/>
              <a:gd name="T64" fmla="*/ 27 w 100"/>
              <a:gd name="T65" fmla="*/ 46 h 89"/>
              <a:gd name="T66" fmla="*/ 60 w 100"/>
              <a:gd name="T67" fmla="*/ 56 h 89"/>
              <a:gd name="T68" fmla="*/ 60 w 100"/>
              <a:gd name="T69" fmla="*/ 56 h 89"/>
              <a:gd name="T70" fmla="*/ 41 w 100"/>
              <a:gd name="T71" fmla="*/ 56 h 89"/>
              <a:gd name="T72" fmla="*/ 35 w 100"/>
              <a:gd name="T73" fmla="*/ 45 h 89"/>
              <a:gd name="T74" fmla="*/ 35 w 100"/>
              <a:gd name="T75" fmla="*/ 45 h 89"/>
              <a:gd name="T76" fmla="*/ 35 w 100"/>
              <a:gd name="T77" fmla="*/ 45 h 89"/>
              <a:gd name="T78" fmla="*/ 64 w 100"/>
              <a:gd name="T79" fmla="*/ 43 h 89"/>
              <a:gd name="T80" fmla="*/ 65 w 100"/>
              <a:gd name="T81" fmla="*/ 45 h 89"/>
              <a:gd name="T82" fmla="*/ 65 w 100"/>
              <a:gd name="T83" fmla="*/ 45 h 89"/>
              <a:gd name="T84" fmla="*/ 85 w 100"/>
              <a:gd name="T85" fmla="*/ 71 h 89"/>
              <a:gd name="T86" fmla="*/ 85 w 100"/>
              <a:gd name="T87" fmla="*/ 63 h 89"/>
              <a:gd name="T88" fmla="*/ 85 w 100"/>
              <a:gd name="T89" fmla="*/ 71 h 89"/>
              <a:gd name="T90" fmla="*/ 94 w 100"/>
              <a:gd name="T91" fmla="*/ 46 h 89"/>
              <a:gd name="T92" fmla="*/ 93 w 100"/>
              <a:gd name="T93" fmla="*/ 47 h 89"/>
              <a:gd name="T94" fmla="*/ 93 w 100"/>
              <a:gd name="T95" fmla="*/ 47 h 89"/>
              <a:gd name="T96" fmla="*/ 74 w 100"/>
              <a:gd name="T97" fmla="*/ 46 h 89"/>
              <a:gd name="T98" fmla="*/ 74 w 100"/>
              <a:gd name="T99" fmla="*/ 46 h 89"/>
              <a:gd name="T100" fmla="*/ 89 w 100"/>
              <a:gd name="T101" fmla="*/ 37 h 89"/>
              <a:gd name="T102" fmla="*/ 90 w 100"/>
              <a:gd name="T103" fmla="*/ 37 h 89"/>
              <a:gd name="T104" fmla="*/ 94 w 100"/>
              <a:gd name="T105" fmla="*/ 46 h 89"/>
              <a:gd name="T106" fmla="*/ 94 w 100"/>
              <a:gd name="T107" fmla="*/ 46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0" h="89">
                <a:moveTo>
                  <a:pt x="77" y="86"/>
                </a:moveTo>
                <a:cubicBezTo>
                  <a:pt x="77" y="88"/>
                  <a:pt x="78" y="89"/>
                  <a:pt x="8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2" y="89"/>
                  <a:pt x="94" y="88"/>
                  <a:pt x="94" y="86"/>
                </a:cubicBezTo>
                <a:cubicBezTo>
                  <a:pt x="94" y="78"/>
                  <a:pt x="94" y="78"/>
                  <a:pt x="94" y="78"/>
                </a:cubicBezTo>
                <a:cubicBezTo>
                  <a:pt x="77" y="78"/>
                  <a:pt x="77" y="78"/>
                  <a:pt x="77" y="78"/>
                </a:cubicBezTo>
                <a:lnTo>
                  <a:pt x="77" y="86"/>
                </a:lnTo>
                <a:close/>
                <a:moveTo>
                  <a:pt x="7" y="86"/>
                </a:moveTo>
                <a:cubicBezTo>
                  <a:pt x="7" y="88"/>
                  <a:pt x="8" y="89"/>
                  <a:pt x="10" y="89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4" y="88"/>
                  <a:pt x="24" y="86"/>
                </a:cubicBezTo>
                <a:cubicBezTo>
                  <a:pt x="24" y="78"/>
                  <a:pt x="24" y="78"/>
                  <a:pt x="24" y="78"/>
                </a:cubicBezTo>
                <a:cubicBezTo>
                  <a:pt x="7" y="78"/>
                  <a:pt x="7" y="78"/>
                  <a:pt x="7" y="78"/>
                </a:cubicBezTo>
                <a:lnTo>
                  <a:pt x="7" y="86"/>
                </a:lnTo>
                <a:close/>
                <a:moveTo>
                  <a:pt x="41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60" y="51"/>
                  <a:pt x="60" y="50"/>
                  <a:pt x="61" y="48"/>
                </a:cubicBezTo>
                <a:cubicBezTo>
                  <a:pt x="40" y="48"/>
                  <a:pt x="40" y="48"/>
                  <a:pt x="40" y="48"/>
                </a:cubicBezTo>
                <a:cubicBezTo>
                  <a:pt x="40" y="50"/>
                  <a:pt x="41" y="51"/>
                  <a:pt x="41" y="52"/>
                </a:cubicBezTo>
                <a:close/>
                <a:moveTo>
                  <a:pt x="95" y="35"/>
                </a:moveTo>
                <a:cubicBezTo>
                  <a:pt x="95" y="30"/>
                  <a:pt x="90" y="0"/>
                  <a:pt x="70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11" y="0"/>
                  <a:pt x="6" y="30"/>
                  <a:pt x="5" y="35"/>
                </a:cubicBezTo>
                <a:cubicBezTo>
                  <a:pt x="2" y="39"/>
                  <a:pt x="0" y="45"/>
                  <a:pt x="0" y="52"/>
                </a:cubicBezTo>
                <a:cubicBezTo>
                  <a:pt x="0" y="61"/>
                  <a:pt x="2" y="70"/>
                  <a:pt x="3" y="72"/>
                </a:cubicBezTo>
                <a:cubicBezTo>
                  <a:pt x="3" y="72"/>
                  <a:pt x="3" y="72"/>
                  <a:pt x="3" y="72"/>
                </a:cubicBezTo>
                <a:cubicBezTo>
                  <a:pt x="4" y="73"/>
                  <a:pt x="5" y="74"/>
                  <a:pt x="6" y="74"/>
                </a:cubicBezTo>
                <a:cubicBezTo>
                  <a:pt x="50" y="74"/>
                  <a:pt x="50" y="74"/>
                  <a:pt x="50" y="74"/>
                </a:cubicBezTo>
                <a:cubicBezTo>
                  <a:pt x="50" y="74"/>
                  <a:pt x="50" y="74"/>
                  <a:pt x="50" y="74"/>
                </a:cubicBezTo>
                <a:cubicBezTo>
                  <a:pt x="50" y="74"/>
                  <a:pt x="50" y="74"/>
                  <a:pt x="50" y="74"/>
                </a:cubicBezTo>
                <a:cubicBezTo>
                  <a:pt x="94" y="74"/>
                  <a:pt x="94" y="74"/>
                  <a:pt x="94" y="74"/>
                </a:cubicBezTo>
                <a:cubicBezTo>
                  <a:pt x="95" y="74"/>
                  <a:pt x="97" y="73"/>
                  <a:pt x="97" y="72"/>
                </a:cubicBezTo>
                <a:cubicBezTo>
                  <a:pt x="98" y="69"/>
                  <a:pt x="100" y="61"/>
                  <a:pt x="100" y="52"/>
                </a:cubicBezTo>
                <a:cubicBezTo>
                  <a:pt x="100" y="45"/>
                  <a:pt x="99" y="39"/>
                  <a:pt x="95" y="35"/>
                </a:cubicBezTo>
                <a:close/>
                <a:moveTo>
                  <a:pt x="30" y="7"/>
                </a:moveTo>
                <a:cubicBezTo>
                  <a:pt x="31" y="7"/>
                  <a:pt x="31" y="7"/>
                  <a:pt x="31" y="7"/>
                </a:cubicBezTo>
                <a:cubicBezTo>
                  <a:pt x="70" y="7"/>
                  <a:pt x="70" y="7"/>
                  <a:pt x="70" y="7"/>
                </a:cubicBezTo>
                <a:cubicBezTo>
                  <a:pt x="70" y="7"/>
                  <a:pt x="70" y="7"/>
                  <a:pt x="70" y="7"/>
                </a:cubicBezTo>
                <a:cubicBezTo>
                  <a:pt x="79" y="7"/>
                  <a:pt x="85" y="19"/>
                  <a:pt x="87" y="28"/>
                </a:cubicBezTo>
                <a:cubicBezTo>
                  <a:pt x="13" y="28"/>
                  <a:pt x="13" y="28"/>
                  <a:pt x="13" y="28"/>
                </a:cubicBezTo>
                <a:cubicBezTo>
                  <a:pt x="16" y="19"/>
                  <a:pt x="21" y="7"/>
                  <a:pt x="30" y="7"/>
                </a:cubicBezTo>
                <a:close/>
                <a:moveTo>
                  <a:pt x="15" y="71"/>
                </a:moveTo>
                <a:cubicBezTo>
                  <a:pt x="13" y="71"/>
                  <a:pt x="11" y="70"/>
                  <a:pt x="11" y="67"/>
                </a:cubicBezTo>
                <a:cubicBezTo>
                  <a:pt x="11" y="65"/>
                  <a:pt x="13" y="63"/>
                  <a:pt x="15" y="63"/>
                </a:cubicBezTo>
                <a:cubicBezTo>
                  <a:pt x="18" y="63"/>
                  <a:pt x="20" y="65"/>
                  <a:pt x="20" y="67"/>
                </a:cubicBezTo>
                <a:cubicBezTo>
                  <a:pt x="20" y="70"/>
                  <a:pt x="18" y="71"/>
                  <a:pt x="15" y="71"/>
                </a:cubicBezTo>
                <a:close/>
                <a:moveTo>
                  <a:pt x="27" y="46"/>
                </a:moveTo>
                <a:cubicBezTo>
                  <a:pt x="27" y="46"/>
                  <a:pt x="26" y="47"/>
                  <a:pt x="26" y="47"/>
                </a:cubicBezTo>
                <a:cubicBezTo>
                  <a:pt x="7" y="47"/>
                  <a:pt x="7" y="47"/>
                  <a:pt x="7" y="47"/>
                </a:cubicBezTo>
                <a:cubicBezTo>
                  <a:pt x="7" y="47"/>
                  <a:pt x="7" y="47"/>
                  <a:pt x="7" y="47"/>
                </a:cubicBezTo>
                <a:cubicBezTo>
                  <a:pt x="7" y="47"/>
                  <a:pt x="7" y="47"/>
                  <a:pt x="7" y="47"/>
                </a:cubicBezTo>
                <a:cubicBezTo>
                  <a:pt x="7" y="47"/>
                  <a:pt x="7" y="47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1"/>
                  <a:pt x="9" y="38"/>
                  <a:pt x="11" y="37"/>
                </a:cubicBezTo>
                <a:cubicBezTo>
                  <a:pt x="11" y="37"/>
                  <a:pt x="11" y="37"/>
                  <a:pt x="11" y="37"/>
                </a:cubicBezTo>
                <a:cubicBezTo>
                  <a:pt x="11" y="37"/>
                  <a:pt x="11" y="37"/>
                  <a:pt x="12" y="37"/>
                </a:cubicBezTo>
                <a:cubicBezTo>
                  <a:pt x="12" y="37"/>
                  <a:pt x="21" y="37"/>
                  <a:pt x="24" y="40"/>
                </a:cubicBezTo>
                <a:cubicBezTo>
                  <a:pt x="26" y="41"/>
                  <a:pt x="27" y="43"/>
                  <a:pt x="27" y="46"/>
                </a:cubicBezTo>
                <a:cubicBezTo>
                  <a:pt x="27" y="46"/>
                  <a:pt x="27" y="46"/>
                  <a:pt x="27" y="46"/>
                </a:cubicBezTo>
                <a:cubicBezTo>
                  <a:pt x="27" y="46"/>
                  <a:pt x="27" y="46"/>
                  <a:pt x="27" y="46"/>
                </a:cubicBezTo>
                <a:close/>
                <a:moveTo>
                  <a:pt x="65" y="45"/>
                </a:moveTo>
                <a:cubicBezTo>
                  <a:pt x="65" y="46"/>
                  <a:pt x="64" y="56"/>
                  <a:pt x="60" y="56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6"/>
                  <a:pt x="60" y="56"/>
                  <a:pt x="60" y="56"/>
                </a:cubicBezTo>
                <a:cubicBezTo>
                  <a:pt x="41" y="56"/>
                  <a:pt x="41" y="56"/>
                  <a:pt x="41" y="56"/>
                </a:cubicBezTo>
                <a:cubicBezTo>
                  <a:pt x="41" y="56"/>
                  <a:pt x="41" y="56"/>
                  <a:pt x="41" y="56"/>
                </a:cubicBezTo>
                <a:cubicBezTo>
                  <a:pt x="41" y="56"/>
                  <a:pt x="41" y="56"/>
                  <a:pt x="41" y="56"/>
                </a:cubicBezTo>
                <a:cubicBezTo>
                  <a:pt x="36" y="56"/>
                  <a:pt x="35" y="46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4"/>
                  <a:pt x="36" y="43"/>
                  <a:pt x="37" y="43"/>
                </a:cubicBezTo>
                <a:cubicBezTo>
                  <a:pt x="64" y="43"/>
                  <a:pt x="64" y="43"/>
                  <a:pt x="64" y="43"/>
                </a:cubicBezTo>
                <a:cubicBezTo>
                  <a:pt x="65" y="43"/>
                  <a:pt x="65" y="44"/>
                  <a:pt x="65" y="45"/>
                </a:cubicBezTo>
                <a:cubicBezTo>
                  <a:pt x="65" y="45"/>
                  <a:pt x="65" y="45"/>
                  <a:pt x="65" y="45"/>
                </a:cubicBezTo>
                <a:cubicBezTo>
                  <a:pt x="65" y="45"/>
                  <a:pt x="65" y="45"/>
                  <a:pt x="65" y="45"/>
                </a:cubicBezTo>
                <a:cubicBezTo>
                  <a:pt x="65" y="45"/>
                  <a:pt x="65" y="45"/>
                  <a:pt x="65" y="45"/>
                </a:cubicBezTo>
                <a:cubicBezTo>
                  <a:pt x="65" y="45"/>
                  <a:pt x="65" y="45"/>
                  <a:pt x="65" y="45"/>
                </a:cubicBezTo>
                <a:close/>
                <a:moveTo>
                  <a:pt x="85" y="71"/>
                </a:moveTo>
                <a:cubicBezTo>
                  <a:pt x="83" y="71"/>
                  <a:pt x="81" y="70"/>
                  <a:pt x="81" y="67"/>
                </a:cubicBezTo>
                <a:cubicBezTo>
                  <a:pt x="81" y="65"/>
                  <a:pt x="83" y="63"/>
                  <a:pt x="85" y="63"/>
                </a:cubicBezTo>
                <a:cubicBezTo>
                  <a:pt x="88" y="63"/>
                  <a:pt x="90" y="65"/>
                  <a:pt x="90" y="67"/>
                </a:cubicBezTo>
                <a:cubicBezTo>
                  <a:pt x="90" y="70"/>
                  <a:pt x="88" y="71"/>
                  <a:pt x="85" y="71"/>
                </a:cubicBezTo>
                <a:close/>
                <a:moveTo>
                  <a:pt x="94" y="46"/>
                </a:moveTo>
                <a:cubicBezTo>
                  <a:pt x="94" y="46"/>
                  <a:pt x="94" y="46"/>
                  <a:pt x="94" y="46"/>
                </a:cubicBezTo>
                <a:cubicBezTo>
                  <a:pt x="93" y="46"/>
                  <a:pt x="93" y="46"/>
                  <a:pt x="93" y="46"/>
                </a:cubicBezTo>
                <a:cubicBezTo>
                  <a:pt x="93" y="47"/>
                  <a:pt x="93" y="47"/>
                  <a:pt x="93" y="47"/>
                </a:cubicBezTo>
                <a:cubicBezTo>
                  <a:pt x="93" y="47"/>
                  <a:pt x="93" y="47"/>
                  <a:pt x="93" y="47"/>
                </a:cubicBezTo>
                <a:cubicBezTo>
                  <a:pt x="93" y="47"/>
                  <a:pt x="93" y="47"/>
                  <a:pt x="93" y="47"/>
                </a:cubicBezTo>
                <a:cubicBezTo>
                  <a:pt x="75" y="47"/>
                  <a:pt x="75" y="47"/>
                  <a:pt x="75" y="47"/>
                </a:cubicBezTo>
                <a:cubicBezTo>
                  <a:pt x="74" y="47"/>
                  <a:pt x="74" y="46"/>
                  <a:pt x="74" y="46"/>
                </a:cubicBezTo>
                <a:cubicBezTo>
                  <a:pt x="74" y="46"/>
                  <a:pt x="74" y="46"/>
                  <a:pt x="74" y="46"/>
                </a:cubicBezTo>
                <a:cubicBezTo>
                  <a:pt x="74" y="46"/>
                  <a:pt x="74" y="46"/>
                  <a:pt x="74" y="46"/>
                </a:cubicBezTo>
                <a:cubicBezTo>
                  <a:pt x="74" y="43"/>
                  <a:pt x="75" y="41"/>
                  <a:pt x="76" y="40"/>
                </a:cubicBezTo>
                <a:cubicBezTo>
                  <a:pt x="79" y="37"/>
                  <a:pt x="89" y="37"/>
                  <a:pt x="89" y="37"/>
                </a:cubicBezTo>
                <a:cubicBezTo>
                  <a:pt x="89" y="37"/>
                  <a:pt x="89" y="37"/>
                  <a:pt x="90" y="37"/>
                </a:cubicBezTo>
                <a:cubicBezTo>
                  <a:pt x="90" y="37"/>
                  <a:pt x="90" y="37"/>
                  <a:pt x="90" y="37"/>
                </a:cubicBezTo>
                <a:cubicBezTo>
                  <a:pt x="92" y="38"/>
                  <a:pt x="93" y="41"/>
                  <a:pt x="94" y="46"/>
                </a:cubicBezTo>
                <a:cubicBezTo>
                  <a:pt x="94" y="46"/>
                  <a:pt x="94" y="46"/>
                  <a:pt x="94" y="46"/>
                </a:cubicBezTo>
                <a:cubicBezTo>
                  <a:pt x="94" y="46"/>
                  <a:pt x="94" y="46"/>
                  <a:pt x="94" y="46"/>
                </a:cubicBezTo>
                <a:cubicBezTo>
                  <a:pt x="94" y="46"/>
                  <a:pt x="94" y="46"/>
                  <a:pt x="94" y="46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20" name="Group 143"/>
          <p:cNvGrpSpPr/>
          <p:nvPr>
            <p:custDataLst>
              <p:tags r:id="rId33"/>
            </p:custDataLst>
          </p:nvPr>
        </p:nvGrpSpPr>
        <p:grpSpPr>
          <a:xfrm>
            <a:off x="673367" y="199240"/>
            <a:ext cx="436111" cy="225155"/>
            <a:chOff x="-2952750" y="5189538"/>
            <a:chExt cx="1706562" cy="881063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45" name="Freeform 7"/>
            <p:cNvSpPr>
              <a:spLocks noEditPoints="1"/>
            </p:cNvSpPr>
            <p:nvPr/>
          </p:nvSpPr>
          <p:spPr bwMode="auto">
            <a:xfrm>
              <a:off x="-2716213" y="5786438"/>
              <a:ext cx="1219200" cy="284163"/>
            </a:xfrm>
            <a:custGeom>
              <a:avLst/>
              <a:gdLst>
                <a:gd name="T0" fmla="*/ 38 w 325"/>
                <a:gd name="T1" fmla="*/ 0 h 76"/>
                <a:gd name="T2" fmla="*/ 76 w 325"/>
                <a:gd name="T3" fmla="*/ 38 h 76"/>
                <a:gd name="T4" fmla="*/ 38 w 325"/>
                <a:gd name="T5" fmla="*/ 76 h 76"/>
                <a:gd name="T6" fmla="*/ 0 w 325"/>
                <a:gd name="T7" fmla="*/ 38 h 76"/>
                <a:gd name="T8" fmla="*/ 38 w 325"/>
                <a:gd name="T9" fmla="*/ 0 h 76"/>
                <a:gd name="T10" fmla="*/ 287 w 325"/>
                <a:gd name="T11" fmla="*/ 0 h 76"/>
                <a:gd name="T12" fmla="*/ 325 w 325"/>
                <a:gd name="T13" fmla="*/ 38 h 76"/>
                <a:gd name="T14" fmla="*/ 287 w 325"/>
                <a:gd name="T15" fmla="*/ 76 h 76"/>
                <a:gd name="T16" fmla="*/ 250 w 325"/>
                <a:gd name="T17" fmla="*/ 38 h 76"/>
                <a:gd name="T18" fmla="*/ 287 w 325"/>
                <a:gd name="T1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5" h="76">
                  <a:moveTo>
                    <a:pt x="38" y="0"/>
                  </a:moveTo>
                  <a:cubicBezTo>
                    <a:pt x="59" y="0"/>
                    <a:pt x="76" y="17"/>
                    <a:pt x="76" y="38"/>
                  </a:cubicBezTo>
                  <a:cubicBezTo>
                    <a:pt x="76" y="59"/>
                    <a:pt x="59" y="76"/>
                    <a:pt x="38" y="76"/>
                  </a:cubicBezTo>
                  <a:cubicBezTo>
                    <a:pt x="17" y="76"/>
                    <a:pt x="0" y="59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  <a:close/>
                  <a:moveTo>
                    <a:pt x="287" y="0"/>
                  </a:moveTo>
                  <a:cubicBezTo>
                    <a:pt x="308" y="0"/>
                    <a:pt x="325" y="17"/>
                    <a:pt x="325" y="38"/>
                  </a:cubicBezTo>
                  <a:cubicBezTo>
                    <a:pt x="325" y="59"/>
                    <a:pt x="308" y="76"/>
                    <a:pt x="287" y="76"/>
                  </a:cubicBezTo>
                  <a:cubicBezTo>
                    <a:pt x="267" y="76"/>
                    <a:pt x="250" y="59"/>
                    <a:pt x="250" y="38"/>
                  </a:cubicBezTo>
                  <a:cubicBezTo>
                    <a:pt x="250" y="17"/>
                    <a:pt x="267" y="0"/>
                    <a:pt x="287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6" name="Freeform 8"/>
            <p:cNvSpPr>
              <a:spLocks noEditPoints="1"/>
            </p:cNvSpPr>
            <p:nvPr/>
          </p:nvSpPr>
          <p:spPr bwMode="auto">
            <a:xfrm>
              <a:off x="-2952750" y="5189538"/>
              <a:ext cx="1706562" cy="715963"/>
            </a:xfrm>
            <a:custGeom>
              <a:avLst/>
              <a:gdLst>
                <a:gd name="T0" fmla="*/ 380 w 455"/>
                <a:gd name="T1" fmla="*/ 24 h 191"/>
                <a:gd name="T2" fmla="*/ 422 w 455"/>
                <a:gd name="T3" fmla="*/ 24 h 191"/>
                <a:gd name="T4" fmla="*/ 435 w 455"/>
                <a:gd name="T5" fmla="*/ 39 h 191"/>
                <a:gd name="T6" fmla="*/ 435 w 455"/>
                <a:gd name="T7" fmla="*/ 101 h 191"/>
                <a:gd name="T8" fmla="*/ 422 w 455"/>
                <a:gd name="T9" fmla="*/ 115 h 191"/>
                <a:gd name="T10" fmla="*/ 380 w 455"/>
                <a:gd name="T11" fmla="*/ 115 h 191"/>
                <a:gd name="T12" fmla="*/ 366 w 455"/>
                <a:gd name="T13" fmla="*/ 101 h 191"/>
                <a:gd name="T14" fmla="*/ 366 w 455"/>
                <a:gd name="T15" fmla="*/ 39 h 191"/>
                <a:gd name="T16" fmla="*/ 380 w 455"/>
                <a:gd name="T17" fmla="*/ 24 h 191"/>
                <a:gd name="T18" fmla="*/ 44 w 455"/>
                <a:gd name="T19" fmla="*/ 0 h 191"/>
                <a:gd name="T20" fmla="*/ 429 w 455"/>
                <a:gd name="T21" fmla="*/ 0 h 191"/>
                <a:gd name="T22" fmla="*/ 455 w 455"/>
                <a:gd name="T23" fmla="*/ 26 h 191"/>
                <a:gd name="T24" fmla="*/ 455 w 455"/>
                <a:gd name="T25" fmla="*/ 165 h 191"/>
                <a:gd name="T26" fmla="*/ 429 w 455"/>
                <a:gd name="T27" fmla="*/ 191 h 191"/>
                <a:gd name="T28" fmla="*/ 403 w 455"/>
                <a:gd name="T29" fmla="*/ 191 h 191"/>
                <a:gd name="T30" fmla="*/ 350 w 455"/>
                <a:gd name="T31" fmla="*/ 143 h 191"/>
                <a:gd name="T32" fmla="*/ 298 w 455"/>
                <a:gd name="T33" fmla="*/ 191 h 191"/>
                <a:gd name="T34" fmla="*/ 154 w 455"/>
                <a:gd name="T35" fmla="*/ 191 h 191"/>
                <a:gd name="T36" fmla="*/ 101 w 455"/>
                <a:gd name="T37" fmla="*/ 143 h 191"/>
                <a:gd name="T38" fmla="*/ 48 w 455"/>
                <a:gd name="T39" fmla="*/ 191 h 191"/>
                <a:gd name="T40" fmla="*/ 28 w 455"/>
                <a:gd name="T41" fmla="*/ 191 h 191"/>
                <a:gd name="T42" fmla="*/ 1 w 455"/>
                <a:gd name="T43" fmla="*/ 165 h 191"/>
                <a:gd name="T44" fmla="*/ 7 w 455"/>
                <a:gd name="T45" fmla="*/ 115 h 191"/>
                <a:gd name="T46" fmla="*/ 47 w 455"/>
                <a:gd name="T47" fmla="*/ 115 h 191"/>
                <a:gd name="T48" fmla="*/ 61 w 455"/>
                <a:gd name="T49" fmla="*/ 101 h 191"/>
                <a:gd name="T50" fmla="*/ 61 w 455"/>
                <a:gd name="T51" fmla="*/ 39 h 191"/>
                <a:gd name="T52" fmla="*/ 47 w 455"/>
                <a:gd name="T53" fmla="*/ 24 h 191"/>
                <a:gd name="T54" fmla="*/ 18 w 455"/>
                <a:gd name="T55" fmla="*/ 24 h 191"/>
                <a:gd name="T56" fmla="*/ 44 w 455"/>
                <a:gd name="T57" fmla="*/ 0 h 191"/>
                <a:gd name="T58" fmla="*/ 286 w 455"/>
                <a:gd name="T59" fmla="*/ 24 h 191"/>
                <a:gd name="T60" fmla="*/ 328 w 455"/>
                <a:gd name="T61" fmla="*/ 24 h 191"/>
                <a:gd name="T62" fmla="*/ 342 w 455"/>
                <a:gd name="T63" fmla="*/ 39 h 191"/>
                <a:gd name="T64" fmla="*/ 342 w 455"/>
                <a:gd name="T65" fmla="*/ 101 h 191"/>
                <a:gd name="T66" fmla="*/ 328 w 455"/>
                <a:gd name="T67" fmla="*/ 115 h 191"/>
                <a:gd name="T68" fmla="*/ 286 w 455"/>
                <a:gd name="T69" fmla="*/ 115 h 191"/>
                <a:gd name="T70" fmla="*/ 272 w 455"/>
                <a:gd name="T71" fmla="*/ 101 h 191"/>
                <a:gd name="T72" fmla="*/ 272 w 455"/>
                <a:gd name="T73" fmla="*/ 39 h 191"/>
                <a:gd name="T74" fmla="*/ 286 w 455"/>
                <a:gd name="T75" fmla="*/ 24 h 191"/>
                <a:gd name="T76" fmla="*/ 192 w 455"/>
                <a:gd name="T77" fmla="*/ 24 h 191"/>
                <a:gd name="T78" fmla="*/ 234 w 455"/>
                <a:gd name="T79" fmla="*/ 24 h 191"/>
                <a:gd name="T80" fmla="*/ 248 w 455"/>
                <a:gd name="T81" fmla="*/ 39 h 191"/>
                <a:gd name="T82" fmla="*/ 248 w 455"/>
                <a:gd name="T83" fmla="*/ 101 h 191"/>
                <a:gd name="T84" fmla="*/ 234 w 455"/>
                <a:gd name="T85" fmla="*/ 115 h 191"/>
                <a:gd name="T86" fmla="*/ 192 w 455"/>
                <a:gd name="T87" fmla="*/ 115 h 191"/>
                <a:gd name="T88" fmla="*/ 179 w 455"/>
                <a:gd name="T89" fmla="*/ 101 h 191"/>
                <a:gd name="T90" fmla="*/ 179 w 455"/>
                <a:gd name="T91" fmla="*/ 39 h 191"/>
                <a:gd name="T92" fmla="*/ 192 w 455"/>
                <a:gd name="T93" fmla="*/ 24 h 191"/>
                <a:gd name="T94" fmla="*/ 99 w 455"/>
                <a:gd name="T95" fmla="*/ 24 h 191"/>
                <a:gd name="T96" fmla="*/ 141 w 455"/>
                <a:gd name="T97" fmla="*/ 24 h 191"/>
                <a:gd name="T98" fmla="*/ 155 w 455"/>
                <a:gd name="T99" fmla="*/ 39 h 191"/>
                <a:gd name="T100" fmla="*/ 155 w 455"/>
                <a:gd name="T101" fmla="*/ 101 h 191"/>
                <a:gd name="T102" fmla="*/ 141 w 455"/>
                <a:gd name="T103" fmla="*/ 115 h 191"/>
                <a:gd name="T104" fmla="*/ 99 w 455"/>
                <a:gd name="T105" fmla="*/ 115 h 191"/>
                <a:gd name="T106" fmla="*/ 85 w 455"/>
                <a:gd name="T107" fmla="*/ 101 h 191"/>
                <a:gd name="T108" fmla="*/ 85 w 455"/>
                <a:gd name="T109" fmla="*/ 39 h 191"/>
                <a:gd name="T110" fmla="*/ 99 w 455"/>
                <a:gd name="T111" fmla="*/ 24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55" h="191">
                  <a:moveTo>
                    <a:pt x="380" y="24"/>
                  </a:moveTo>
                  <a:cubicBezTo>
                    <a:pt x="422" y="24"/>
                    <a:pt x="422" y="24"/>
                    <a:pt x="422" y="24"/>
                  </a:cubicBezTo>
                  <a:cubicBezTo>
                    <a:pt x="429" y="24"/>
                    <a:pt x="435" y="31"/>
                    <a:pt x="435" y="39"/>
                  </a:cubicBezTo>
                  <a:cubicBezTo>
                    <a:pt x="435" y="101"/>
                    <a:pt x="435" y="101"/>
                    <a:pt x="435" y="101"/>
                  </a:cubicBezTo>
                  <a:cubicBezTo>
                    <a:pt x="435" y="109"/>
                    <a:pt x="429" y="115"/>
                    <a:pt x="422" y="115"/>
                  </a:cubicBezTo>
                  <a:cubicBezTo>
                    <a:pt x="380" y="115"/>
                    <a:pt x="380" y="115"/>
                    <a:pt x="380" y="115"/>
                  </a:cubicBezTo>
                  <a:cubicBezTo>
                    <a:pt x="372" y="115"/>
                    <a:pt x="366" y="109"/>
                    <a:pt x="366" y="101"/>
                  </a:cubicBezTo>
                  <a:cubicBezTo>
                    <a:pt x="366" y="39"/>
                    <a:pt x="366" y="39"/>
                    <a:pt x="366" y="39"/>
                  </a:cubicBezTo>
                  <a:cubicBezTo>
                    <a:pt x="366" y="31"/>
                    <a:pt x="372" y="24"/>
                    <a:pt x="380" y="24"/>
                  </a:cubicBezTo>
                  <a:close/>
                  <a:moveTo>
                    <a:pt x="44" y="0"/>
                  </a:moveTo>
                  <a:cubicBezTo>
                    <a:pt x="429" y="0"/>
                    <a:pt x="429" y="0"/>
                    <a:pt x="429" y="0"/>
                  </a:cubicBezTo>
                  <a:cubicBezTo>
                    <a:pt x="443" y="0"/>
                    <a:pt x="455" y="12"/>
                    <a:pt x="455" y="26"/>
                  </a:cubicBezTo>
                  <a:cubicBezTo>
                    <a:pt x="455" y="165"/>
                    <a:pt x="455" y="165"/>
                    <a:pt x="455" y="165"/>
                  </a:cubicBezTo>
                  <a:cubicBezTo>
                    <a:pt x="455" y="179"/>
                    <a:pt x="443" y="191"/>
                    <a:pt x="429" y="191"/>
                  </a:cubicBezTo>
                  <a:cubicBezTo>
                    <a:pt x="403" y="191"/>
                    <a:pt x="403" y="191"/>
                    <a:pt x="403" y="191"/>
                  </a:cubicBezTo>
                  <a:cubicBezTo>
                    <a:pt x="400" y="164"/>
                    <a:pt x="378" y="143"/>
                    <a:pt x="350" y="143"/>
                  </a:cubicBezTo>
                  <a:cubicBezTo>
                    <a:pt x="323" y="143"/>
                    <a:pt x="301" y="164"/>
                    <a:pt x="298" y="191"/>
                  </a:cubicBezTo>
                  <a:cubicBezTo>
                    <a:pt x="154" y="191"/>
                    <a:pt x="154" y="191"/>
                    <a:pt x="154" y="191"/>
                  </a:cubicBezTo>
                  <a:cubicBezTo>
                    <a:pt x="151" y="164"/>
                    <a:pt x="128" y="143"/>
                    <a:pt x="101" y="143"/>
                  </a:cubicBezTo>
                  <a:cubicBezTo>
                    <a:pt x="73" y="143"/>
                    <a:pt x="51" y="164"/>
                    <a:pt x="48" y="191"/>
                  </a:cubicBezTo>
                  <a:cubicBezTo>
                    <a:pt x="28" y="191"/>
                    <a:pt x="28" y="191"/>
                    <a:pt x="28" y="191"/>
                  </a:cubicBezTo>
                  <a:cubicBezTo>
                    <a:pt x="13" y="191"/>
                    <a:pt x="0" y="179"/>
                    <a:pt x="1" y="165"/>
                  </a:cubicBezTo>
                  <a:cubicBezTo>
                    <a:pt x="7" y="115"/>
                    <a:pt x="7" y="115"/>
                    <a:pt x="7" y="115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55" y="115"/>
                    <a:pt x="61" y="109"/>
                    <a:pt x="61" y="101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1"/>
                    <a:pt x="55" y="24"/>
                    <a:pt x="47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9" y="11"/>
                    <a:pt x="30" y="0"/>
                    <a:pt x="44" y="0"/>
                  </a:cubicBezTo>
                  <a:close/>
                  <a:moveTo>
                    <a:pt x="286" y="24"/>
                  </a:moveTo>
                  <a:cubicBezTo>
                    <a:pt x="328" y="24"/>
                    <a:pt x="328" y="24"/>
                    <a:pt x="328" y="24"/>
                  </a:cubicBezTo>
                  <a:cubicBezTo>
                    <a:pt x="335" y="24"/>
                    <a:pt x="342" y="31"/>
                    <a:pt x="342" y="39"/>
                  </a:cubicBezTo>
                  <a:cubicBezTo>
                    <a:pt x="342" y="101"/>
                    <a:pt x="342" y="101"/>
                    <a:pt x="342" y="101"/>
                  </a:cubicBezTo>
                  <a:cubicBezTo>
                    <a:pt x="342" y="109"/>
                    <a:pt x="335" y="115"/>
                    <a:pt x="328" y="115"/>
                  </a:cubicBezTo>
                  <a:cubicBezTo>
                    <a:pt x="286" y="115"/>
                    <a:pt x="286" y="115"/>
                    <a:pt x="286" y="115"/>
                  </a:cubicBezTo>
                  <a:cubicBezTo>
                    <a:pt x="279" y="115"/>
                    <a:pt x="272" y="109"/>
                    <a:pt x="272" y="101"/>
                  </a:cubicBezTo>
                  <a:cubicBezTo>
                    <a:pt x="272" y="39"/>
                    <a:pt x="272" y="39"/>
                    <a:pt x="272" y="39"/>
                  </a:cubicBezTo>
                  <a:cubicBezTo>
                    <a:pt x="272" y="31"/>
                    <a:pt x="279" y="24"/>
                    <a:pt x="286" y="24"/>
                  </a:cubicBezTo>
                  <a:close/>
                  <a:moveTo>
                    <a:pt x="192" y="24"/>
                  </a:moveTo>
                  <a:cubicBezTo>
                    <a:pt x="234" y="24"/>
                    <a:pt x="234" y="24"/>
                    <a:pt x="234" y="24"/>
                  </a:cubicBezTo>
                  <a:cubicBezTo>
                    <a:pt x="242" y="24"/>
                    <a:pt x="248" y="31"/>
                    <a:pt x="248" y="39"/>
                  </a:cubicBezTo>
                  <a:cubicBezTo>
                    <a:pt x="248" y="101"/>
                    <a:pt x="248" y="101"/>
                    <a:pt x="248" y="101"/>
                  </a:cubicBezTo>
                  <a:cubicBezTo>
                    <a:pt x="248" y="109"/>
                    <a:pt x="242" y="115"/>
                    <a:pt x="234" y="115"/>
                  </a:cubicBezTo>
                  <a:cubicBezTo>
                    <a:pt x="192" y="115"/>
                    <a:pt x="192" y="115"/>
                    <a:pt x="192" y="115"/>
                  </a:cubicBezTo>
                  <a:cubicBezTo>
                    <a:pt x="185" y="115"/>
                    <a:pt x="179" y="109"/>
                    <a:pt x="179" y="101"/>
                  </a:cubicBezTo>
                  <a:cubicBezTo>
                    <a:pt x="179" y="39"/>
                    <a:pt x="179" y="39"/>
                    <a:pt x="179" y="39"/>
                  </a:cubicBezTo>
                  <a:cubicBezTo>
                    <a:pt x="179" y="31"/>
                    <a:pt x="185" y="24"/>
                    <a:pt x="192" y="24"/>
                  </a:cubicBezTo>
                  <a:close/>
                  <a:moveTo>
                    <a:pt x="99" y="24"/>
                  </a:moveTo>
                  <a:cubicBezTo>
                    <a:pt x="141" y="24"/>
                    <a:pt x="141" y="24"/>
                    <a:pt x="141" y="24"/>
                  </a:cubicBezTo>
                  <a:cubicBezTo>
                    <a:pt x="148" y="24"/>
                    <a:pt x="155" y="31"/>
                    <a:pt x="155" y="39"/>
                  </a:cubicBezTo>
                  <a:cubicBezTo>
                    <a:pt x="155" y="101"/>
                    <a:pt x="155" y="101"/>
                    <a:pt x="155" y="101"/>
                  </a:cubicBezTo>
                  <a:cubicBezTo>
                    <a:pt x="155" y="109"/>
                    <a:pt x="148" y="115"/>
                    <a:pt x="141" y="115"/>
                  </a:cubicBezTo>
                  <a:cubicBezTo>
                    <a:pt x="99" y="115"/>
                    <a:pt x="99" y="115"/>
                    <a:pt x="99" y="115"/>
                  </a:cubicBezTo>
                  <a:cubicBezTo>
                    <a:pt x="91" y="115"/>
                    <a:pt x="85" y="109"/>
                    <a:pt x="85" y="101"/>
                  </a:cubicBezTo>
                  <a:cubicBezTo>
                    <a:pt x="85" y="39"/>
                    <a:pt x="85" y="39"/>
                    <a:pt x="85" y="39"/>
                  </a:cubicBezTo>
                  <a:cubicBezTo>
                    <a:pt x="85" y="31"/>
                    <a:pt x="91" y="24"/>
                    <a:pt x="99" y="2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21" name="Group 146"/>
          <p:cNvGrpSpPr/>
          <p:nvPr>
            <p:custDataLst>
              <p:tags r:id="rId34"/>
            </p:custDataLst>
          </p:nvPr>
        </p:nvGrpSpPr>
        <p:grpSpPr>
          <a:xfrm>
            <a:off x="1045135" y="432552"/>
            <a:ext cx="250263" cy="345075"/>
            <a:chOff x="-2284413" y="254000"/>
            <a:chExt cx="1185862" cy="1635126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48" name="Freeform 9"/>
            <p:cNvSpPr>
              <a:spLocks noEditPoints="1"/>
            </p:cNvSpPr>
            <p:nvPr/>
          </p:nvSpPr>
          <p:spPr bwMode="auto">
            <a:xfrm>
              <a:off x="-2119313" y="254000"/>
              <a:ext cx="858837" cy="1181100"/>
            </a:xfrm>
            <a:custGeom>
              <a:avLst/>
              <a:gdLst>
                <a:gd name="T0" fmla="*/ 33 w 229"/>
                <a:gd name="T1" fmla="*/ 286 h 315"/>
                <a:gd name="T2" fmla="*/ 195 w 229"/>
                <a:gd name="T3" fmla="*/ 286 h 315"/>
                <a:gd name="T4" fmla="*/ 209 w 229"/>
                <a:gd name="T5" fmla="*/ 315 h 315"/>
                <a:gd name="T6" fmla="*/ 19 w 229"/>
                <a:gd name="T7" fmla="*/ 315 h 315"/>
                <a:gd name="T8" fmla="*/ 33 w 229"/>
                <a:gd name="T9" fmla="*/ 286 h 315"/>
                <a:gd name="T10" fmla="*/ 52 w 229"/>
                <a:gd name="T11" fmla="*/ 75 h 315"/>
                <a:gd name="T12" fmla="*/ 176 w 229"/>
                <a:gd name="T13" fmla="*/ 75 h 315"/>
                <a:gd name="T14" fmla="*/ 190 w 229"/>
                <a:gd name="T15" fmla="*/ 89 h 315"/>
                <a:gd name="T16" fmla="*/ 194 w 229"/>
                <a:gd name="T17" fmla="*/ 137 h 315"/>
                <a:gd name="T18" fmla="*/ 180 w 229"/>
                <a:gd name="T19" fmla="*/ 151 h 315"/>
                <a:gd name="T20" fmla="*/ 48 w 229"/>
                <a:gd name="T21" fmla="*/ 151 h 315"/>
                <a:gd name="T22" fmla="*/ 34 w 229"/>
                <a:gd name="T23" fmla="*/ 137 h 315"/>
                <a:gd name="T24" fmla="*/ 38 w 229"/>
                <a:gd name="T25" fmla="*/ 89 h 315"/>
                <a:gd name="T26" fmla="*/ 52 w 229"/>
                <a:gd name="T27" fmla="*/ 75 h 315"/>
                <a:gd name="T28" fmla="*/ 83 w 229"/>
                <a:gd name="T29" fmla="*/ 43 h 315"/>
                <a:gd name="T30" fmla="*/ 145 w 229"/>
                <a:gd name="T31" fmla="*/ 43 h 315"/>
                <a:gd name="T32" fmla="*/ 151 w 229"/>
                <a:gd name="T33" fmla="*/ 49 h 315"/>
                <a:gd name="T34" fmla="*/ 151 w 229"/>
                <a:gd name="T35" fmla="*/ 59 h 315"/>
                <a:gd name="T36" fmla="*/ 145 w 229"/>
                <a:gd name="T37" fmla="*/ 65 h 315"/>
                <a:gd name="T38" fmla="*/ 83 w 229"/>
                <a:gd name="T39" fmla="*/ 65 h 315"/>
                <a:gd name="T40" fmla="*/ 77 w 229"/>
                <a:gd name="T41" fmla="*/ 59 h 315"/>
                <a:gd name="T42" fmla="*/ 77 w 229"/>
                <a:gd name="T43" fmla="*/ 49 h 315"/>
                <a:gd name="T44" fmla="*/ 83 w 229"/>
                <a:gd name="T45" fmla="*/ 43 h 315"/>
                <a:gd name="T46" fmla="*/ 46 w 229"/>
                <a:gd name="T47" fmla="*/ 33 h 315"/>
                <a:gd name="T48" fmla="*/ 182 w 229"/>
                <a:gd name="T49" fmla="*/ 33 h 315"/>
                <a:gd name="T50" fmla="*/ 212 w 229"/>
                <a:gd name="T51" fmla="*/ 63 h 315"/>
                <a:gd name="T52" fmla="*/ 227 w 229"/>
                <a:gd name="T53" fmla="*/ 249 h 315"/>
                <a:gd name="T54" fmla="*/ 198 w 229"/>
                <a:gd name="T55" fmla="*/ 278 h 315"/>
                <a:gd name="T56" fmla="*/ 30 w 229"/>
                <a:gd name="T57" fmla="*/ 278 h 315"/>
                <a:gd name="T58" fmla="*/ 1 w 229"/>
                <a:gd name="T59" fmla="*/ 249 h 315"/>
                <a:gd name="T60" fmla="*/ 16 w 229"/>
                <a:gd name="T61" fmla="*/ 63 h 315"/>
                <a:gd name="T62" fmla="*/ 46 w 229"/>
                <a:gd name="T63" fmla="*/ 33 h 315"/>
                <a:gd name="T64" fmla="*/ 185 w 229"/>
                <a:gd name="T65" fmla="*/ 216 h 315"/>
                <a:gd name="T66" fmla="*/ 201 w 229"/>
                <a:gd name="T67" fmla="*/ 233 h 315"/>
                <a:gd name="T68" fmla="*/ 185 w 229"/>
                <a:gd name="T69" fmla="*/ 249 h 315"/>
                <a:gd name="T70" fmla="*/ 168 w 229"/>
                <a:gd name="T71" fmla="*/ 233 h 315"/>
                <a:gd name="T72" fmla="*/ 185 w 229"/>
                <a:gd name="T73" fmla="*/ 216 h 315"/>
                <a:gd name="T74" fmla="*/ 44 w 229"/>
                <a:gd name="T75" fmla="*/ 216 h 315"/>
                <a:gd name="T76" fmla="*/ 60 w 229"/>
                <a:gd name="T77" fmla="*/ 233 h 315"/>
                <a:gd name="T78" fmla="*/ 44 w 229"/>
                <a:gd name="T79" fmla="*/ 249 h 315"/>
                <a:gd name="T80" fmla="*/ 27 w 229"/>
                <a:gd name="T81" fmla="*/ 233 h 315"/>
                <a:gd name="T82" fmla="*/ 44 w 229"/>
                <a:gd name="T83" fmla="*/ 216 h 315"/>
                <a:gd name="T84" fmla="*/ 80 w 229"/>
                <a:gd name="T85" fmla="*/ 0 h 315"/>
                <a:gd name="T86" fmla="*/ 93 w 229"/>
                <a:gd name="T87" fmla="*/ 0 h 315"/>
                <a:gd name="T88" fmla="*/ 93 w 229"/>
                <a:gd name="T89" fmla="*/ 26 h 315"/>
                <a:gd name="T90" fmla="*/ 80 w 229"/>
                <a:gd name="T91" fmla="*/ 26 h 315"/>
                <a:gd name="T92" fmla="*/ 80 w 229"/>
                <a:gd name="T93" fmla="*/ 0 h 315"/>
                <a:gd name="T94" fmla="*/ 135 w 229"/>
                <a:gd name="T95" fmla="*/ 0 h 315"/>
                <a:gd name="T96" fmla="*/ 148 w 229"/>
                <a:gd name="T97" fmla="*/ 0 h 315"/>
                <a:gd name="T98" fmla="*/ 148 w 229"/>
                <a:gd name="T99" fmla="*/ 26 h 315"/>
                <a:gd name="T100" fmla="*/ 135 w 229"/>
                <a:gd name="T101" fmla="*/ 26 h 315"/>
                <a:gd name="T102" fmla="*/ 135 w 229"/>
                <a:gd name="T103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9" h="315">
                  <a:moveTo>
                    <a:pt x="33" y="286"/>
                  </a:moveTo>
                  <a:cubicBezTo>
                    <a:pt x="195" y="286"/>
                    <a:pt x="195" y="286"/>
                    <a:pt x="195" y="286"/>
                  </a:cubicBezTo>
                  <a:cubicBezTo>
                    <a:pt x="209" y="315"/>
                    <a:pt x="209" y="315"/>
                    <a:pt x="209" y="315"/>
                  </a:cubicBezTo>
                  <a:cubicBezTo>
                    <a:pt x="19" y="315"/>
                    <a:pt x="19" y="315"/>
                    <a:pt x="19" y="315"/>
                  </a:cubicBezTo>
                  <a:cubicBezTo>
                    <a:pt x="33" y="286"/>
                    <a:pt x="33" y="286"/>
                    <a:pt x="33" y="286"/>
                  </a:cubicBezTo>
                  <a:close/>
                  <a:moveTo>
                    <a:pt x="52" y="75"/>
                  </a:moveTo>
                  <a:cubicBezTo>
                    <a:pt x="176" y="75"/>
                    <a:pt x="176" y="75"/>
                    <a:pt x="176" y="75"/>
                  </a:cubicBezTo>
                  <a:cubicBezTo>
                    <a:pt x="184" y="75"/>
                    <a:pt x="190" y="81"/>
                    <a:pt x="190" y="89"/>
                  </a:cubicBezTo>
                  <a:cubicBezTo>
                    <a:pt x="194" y="137"/>
                    <a:pt x="194" y="137"/>
                    <a:pt x="194" y="137"/>
                  </a:cubicBezTo>
                  <a:cubicBezTo>
                    <a:pt x="195" y="145"/>
                    <a:pt x="188" y="151"/>
                    <a:pt x="180" y="151"/>
                  </a:cubicBezTo>
                  <a:cubicBezTo>
                    <a:pt x="48" y="151"/>
                    <a:pt x="48" y="151"/>
                    <a:pt x="48" y="151"/>
                  </a:cubicBezTo>
                  <a:cubicBezTo>
                    <a:pt x="40" y="151"/>
                    <a:pt x="33" y="145"/>
                    <a:pt x="34" y="137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39" y="81"/>
                    <a:pt x="44" y="75"/>
                    <a:pt x="52" y="75"/>
                  </a:cubicBezTo>
                  <a:close/>
                  <a:moveTo>
                    <a:pt x="83" y="43"/>
                  </a:moveTo>
                  <a:cubicBezTo>
                    <a:pt x="145" y="43"/>
                    <a:pt x="145" y="43"/>
                    <a:pt x="145" y="43"/>
                  </a:cubicBezTo>
                  <a:cubicBezTo>
                    <a:pt x="149" y="43"/>
                    <a:pt x="151" y="46"/>
                    <a:pt x="151" y="49"/>
                  </a:cubicBezTo>
                  <a:cubicBezTo>
                    <a:pt x="151" y="59"/>
                    <a:pt x="151" y="59"/>
                    <a:pt x="151" y="59"/>
                  </a:cubicBezTo>
                  <a:cubicBezTo>
                    <a:pt x="151" y="63"/>
                    <a:pt x="149" y="65"/>
                    <a:pt x="145" y="65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80" y="65"/>
                    <a:pt x="77" y="63"/>
                    <a:pt x="77" y="59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6"/>
                    <a:pt x="80" y="43"/>
                    <a:pt x="83" y="43"/>
                  </a:cubicBezTo>
                  <a:close/>
                  <a:moveTo>
                    <a:pt x="46" y="33"/>
                  </a:moveTo>
                  <a:cubicBezTo>
                    <a:pt x="182" y="33"/>
                    <a:pt x="182" y="33"/>
                    <a:pt x="182" y="33"/>
                  </a:cubicBezTo>
                  <a:cubicBezTo>
                    <a:pt x="199" y="33"/>
                    <a:pt x="211" y="47"/>
                    <a:pt x="212" y="63"/>
                  </a:cubicBezTo>
                  <a:cubicBezTo>
                    <a:pt x="227" y="249"/>
                    <a:pt x="227" y="249"/>
                    <a:pt x="227" y="249"/>
                  </a:cubicBezTo>
                  <a:cubicBezTo>
                    <a:pt x="229" y="265"/>
                    <a:pt x="214" y="278"/>
                    <a:pt x="198" y="278"/>
                  </a:cubicBezTo>
                  <a:cubicBezTo>
                    <a:pt x="30" y="278"/>
                    <a:pt x="30" y="278"/>
                    <a:pt x="30" y="278"/>
                  </a:cubicBezTo>
                  <a:cubicBezTo>
                    <a:pt x="14" y="278"/>
                    <a:pt x="0" y="265"/>
                    <a:pt x="1" y="249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8" y="47"/>
                    <a:pt x="30" y="33"/>
                    <a:pt x="46" y="33"/>
                  </a:cubicBezTo>
                  <a:close/>
                  <a:moveTo>
                    <a:pt x="185" y="216"/>
                  </a:moveTo>
                  <a:cubicBezTo>
                    <a:pt x="194" y="216"/>
                    <a:pt x="201" y="223"/>
                    <a:pt x="201" y="233"/>
                  </a:cubicBezTo>
                  <a:cubicBezTo>
                    <a:pt x="201" y="242"/>
                    <a:pt x="194" y="249"/>
                    <a:pt x="185" y="249"/>
                  </a:cubicBezTo>
                  <a:cubicBezTo>
                    <a:pt x="176" y="249"/>
                    <a:pt x="168" y="242"/>
                    <a:pt x="168" y="233"/>
                  </a:cubicBezTo>
                  <a:cubicBezTo>
                    <a:pt x="168" y="223"/>
                    <a:pt x="176" y="216"/>
                    <a:pt x="185" y="216"/>
                  </a:cubicBezTo>
                  <a:close/>
                  <a:moveTo>
                    <a:pt x="44" y="216"/>
                  </a:moveTo>
                  <a:cubicBezTo>
                    <a:pt x="53" y="216"/>
                    <a:pt x="60" y="223"/>
                    <a:pt x="60" y="233"/>
                  </a:cubicBezTo>
                  <a:cubicBezTo>
                    <a:pt x="60" y="242"/>
                    <a:pt x="53" y="249"/>
                    <a:pt x="44" y="249"/>
                  </a:cubicBezTo>
                  <a:cubicBezTo>
                    <a:pt x="35" y="249"/>
                    <a:pt x="27" y="242"/>
                    <a:pt x="27" y="233"/>
                  </a:cubicBezTo>
                  <a:cubicBezTo>
                    <a:pt x="27" y="223"/>
                    <a:pt x="35" y="216"/>
                    <a:pt x="44" y="216"/>
                  </a:cubicBezTo>
                  <a:close/>
                  <a:moveTo>
                    <a:pt x="80" y="0"/>
                  </a:moveTo>
                  <a:cubicBezTo>
                    <a:pt x="93" y="0"/>
                    <a:pt x="93" y="0"/>
                    <a:pt x="93" y="0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0"/>
                    <a:pt x="80" y="0"/>
                    <a:pt x="80" y="0"/>
                  </a:cubicBezTo>
                  <a:close/>
                  <a:moveTo>
                    <a:pt x="135" y="0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148" y="26"/>
                    <a:pt x="148" y="26"/>
                    <a:pt x="148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0"/>
                    <a:pt x="135" y="0"/>
                    <a:pt x="135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9" name="Freeform 10"/>
            <p:cNvSpPr>
              <a:spLocks noEditPoints="1"/>
            </p:cNvSpPr>
            <p:nvPr/>
          </p:nvSpPr>
          <p:spPr bwMode="auto">
            <a:xfrm>
              <a:off x="-2284413" y="1468438"/>
              <a:ext cx="1185862" cy="420688"/>
            </a:xfrm>
            <a:custGeom>
              <a:avLst/>
              <a:gdLst>
                <a:gd name="T0" fmla="*/ 144 w 747"/>
                <a:gd name="T1" fmla="*/ 0 h 265"/>
                <a:gd name="T2" fmla="*/ 198 w 747"/>
                <a:gd name="T3" fmla="*/ 0 h 265"/>
                <a:gd name="T4" fmla="*/ 85 w 747"/>
                <a:gd name="T5" fmla="*/ 265 h 265"/>
                <a:gd name="T6" fmla="*/ 0 w 747"/>
                <a:gd name="T7" fmla="*/ 265 h 265"/>
                <a:gd name="T8" fmla="*/ 144 w 747"/>
                <a:gd name="T9" fmla="*/ 0 h 265"/>
                <a:gd name="T10" fmla="*/ 144 w 747"/>
                <a:gd name="T11" fmla="*/ 0 h 265"/>
                <a:gd name="T12" fmla="*/ 605 w 747"/>
                <a:gd name="T13" fmla="*/ 0 h 265"/>
                <a:gd name="T14" fmla="*/ 550 w 747"/>
                <a:gd name="T15" fmla="*/ 0 h 265"/>
                <a:gd name="T16" fmla="*/ 661 w 747"/>
                <a:gd name="T17" fmla="*/ 265 h 265"/>
                <a:gd name="T18" fmla="*/ 747 w 747"/>
                <a:gd name="T19" fmla="*/ 265 h 265"/>
                <a:gd name="T20" fmla="*/ 605 w 747"/>
                <a:gd name="T21" fmla="*/ 0 h 265"/>
                <a:gd name="T22" fmla="*/ 605 w 747"/>
                <a:gd name="T23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7" h="265">
                  <a:moveTo>
                    <a:pt x="144" y="0"/>
                  </a:moveTo>
                  <a:lnTo>
                    <a:pt x="198" y="0"/>
                  </a:lnTo>
                  <a:lnTo>
                    <a:pt x="85" y="265"/>
                  </a:lnTo>
                  <a:lnTo>
                    <a:pt x="0" y="265"/>
                  </a:lnTo>
                  <a:lnTo>
                    <a:pt x="144" y="0"/>
                  </a:lnTo>
                  <a:lnTo>
                    <a:pt x="144" y="0"/>
                  </a:lnTo>
                  <a:close/>
                  <a:moveTo>
                    <a:pt x="605" y="0"/>
                  </a:moveTo>
                  <a:lnTo>
                    <a:pt x="550" y="0"/>
                  </a:lnTo>
                  <a:lnTo>
                    <a:pt x="661" y="265"/>
                  </a:lnTo>
                  <a:lnTo>
                    <a:pt x="747" y="265"/>
                  </a:lnTo>
                  <a:lnTo>
                    <a:pt x="605" y="0"/>
                  </a:lnTo>
                  <a:lnTo>
                    <a:pt x="60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22" name="Group 149"/>
          <p:cNvGrpSpPr/>
          <p:nvPr>
            <p:custDataLst>
              <p:tags r:id="rId35"/>
            </p:custDataLst>
          </p:nvPr>
        </p:nvGrpSpPr>
        <p:grpSpPr>
          <a:xfrm>
            <a:off x="3538656" y="268561"/>
            <a:ext cx="303534" cy="169590"/>
            <a:chOff x="-3778250" y="3316288"/>
            <a:chExt cx="892175" cy="498475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51" name="Freeform 34"/>
            <p:cNvSpPr>
              <a:spLocks noEditPoints="1"/>
            </p:cNvSpPr>
            <p:nvPr/>
          </p:nvSpPr>
          <p:spPr bwMode="auto">
            <a:xfrm>
              <a:off x="-3554413" y="3319463"/>
              <a:ext cx="487363" cy="492125"/>
            </a:xfrm>
            <a:custGeom>
              <a:avLst/>
              <a:gdLst>
                <a:gd name="T0" fmla="*/ 65 w 130"/>
                <a:gd name="T1" fmla="*/ 0 h 131"/>
                <a:gd name="T2" fmla="*/ 0 w 130"/>
                <a:gd name="T3" fmla="*/ 66 h 131"/>
                <a:gd name="T4" fmla="*/ 65 w 130"/>
                <a:gd name="T5" fmla="*/ 131 h 131"/>
                <a:gd name="T6" fmla="*/ 130 w 130"/>
                <a:gd name="T7" fmla="*/ 66 h 131"/>
                <a:gd name="T8" fmla="*/ 65 w 130"/>
                <a:gd name="T9" fmla="*/ 0 h 131"/>
                <a:gd name="T10" fmla="*/ 65 w 130"/>
                <a:gd name="T11" fmla="*/ 117 h 131"/>
                <a:gd name="T12" fmla="*/ 13 w 130"/>
                <a:gd name="T13" fmla="*/ 66 h 131"/>
                <a:gd name="T14" fmla="*/ 65 w 130"/>
                <a:gd name="T15" fmla="*/ 14 h 131"/>
                <a:gd name="T16" fmla="*/ 116 w 130"/>
                <a:gd name="T17" fmla="*/ 66 h 131"/>
                <a:gd name="T18" fmla="*/ 65 w 130"/>
                <a:gd name="T19" fmla="*/ 11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31">
                  <a:moveTo>
                    <a:pt x="65" y="0"/>
                  </a:moveTo>
                  <a:cubicBezTo>
                    <a:pt x="29" y="0"/>
                    <a:pt x="0" y="30"/>
                    <a:pt x="0" y="66"/>
                  </a:cubicBezTo>
                  <a:cubicBezTo>
                    <a:pt x="0" y="101"/>
                    <a:pt x="29" y="131"/>
                    <a:pt x="65" y="131"/>
                  </a:cubicBezTo>
                  <a:cubicBezTo>
                    <a:pt x="101" y="131"/>
                    <a:pt x="130" y="101"/>
                    <a:pt x="130" y="66"/>
                  </a:cubicBezTo>
                  <a:cubicBezTo>
                    <a:pt x="130" y="30"/>
                    <a:pt x="101" y="0"/>
                    <a:pt x="65" y="0"/>
                  </a:cubicBezTo>
                  <a:close/>
                  <a:moveTo>
                    <a:pt x="65" y="117"/>
                  </a:moveTo>
                  <a:cubicBezTo>
                    <a:pt x="36" y="117"/>
                    <a:pt x="13" y="94"/>
                    <a:pt x="13" y="66"/>
                  </a:cubicBezTo>
                  <a:cubicBezTo>
                    <a:pt x="13" y="37"/>
                    <a:pt x="36" y="14"/>
                    <a:pt x="65" y="14"/>
                  </a:cubicBezTo>
                  <a:cubicBezTo>
                    <a:pt x="93" y="14"/>
                    <a:pt x="116" y="37"/>
                    <a:pt x="116" y="66"/>
                  </a:cubicBezTo>
                  <a:cubicBezTo>
                    <a:pt x="116" y="94"/>
                    <a:pt x="93" y="117"/>
                    <a:pt x="65" y="11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52" name="Oval 35"/>
            <p:cNvSpPr>
              <a:spLocks noChangeArrowheads="1"/>
            </p:cNvSpPr>
            <p:nvPr/>
          </p:nvSpPr>
          <p:spPr bwMode="auto">
            <a:xfrm>
              <a:off x="-3467100" y="3409950"/>
              <a:ext cx="311150" cy="311150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53" name="Freeform 36"/>
            <p:cNvSpPr>
              <a:spLocks/>
            </p:cNvSpPr>
            <p:nvPr/>
          </p:nvSpPr>
          <p:spPr bwMode="auto">
            <a:xfrm>
              <a:off x="-3778250" y="3316288"/>
              <a:ext cx="168275" cy="498475"/>
            </a:xfrm>
            <a:custGeom>
              <a:avLst/>
              <a:gdLst>
                <a:gd name="T0" fmla="*/ 45 w 45"/>
                <a:gd name="T1" fmla="*/ 33 h 133"/>
                <a:gd name="T2" fmla="*/ 22 w 45"/>
                <a:gd name="T3" fmla="*/ 0 h 133"/>
                <a:gd name="T4" fmla="*/ 0 w 45"/>
                <a:gd name="T5" fmla="*/ 33 h 133"/>
                <a:gd name="T6" fmla="*/ 16 w 45"/>
                <a:gd name="T7" fmla="*/ 57 h 133"/>
                <a:gd name="T8" fmla="*/ 14 w 45"/>
                <a:gd name="T9" fmla="*/ 133 h 133"/>
                <a:gd name="T10" fmla="*/ 31 w 45"/>
                <a:gd name="T11" fmla="*/ 133 h 133"/>
                <a:gd name="T12" fmla="*/ 28 w 45"/>
                <a:gd name="T13" fmla="*/ 57 h 133"/>
                <a:gd name="T14" fmla="*/ 45 w 45"/>
                <a:gd name="T15" fmla="*/ 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133">
                  <a:moveTo>
                    <a:pt x="45" y="33"/>
                  </a:moveTo>
                  <a:cubicBezTo>
                    <a:pt x="45" y="17"/>
                    <a:pt x="35" y="0"/>
                    <a:pt x="22" y="0"/>
                  </a:cubicBezTo>
                  <a:cubicBezTo>
                    <a:pt x="10" y="0"/>
                    <a:pt x="0" y="17"/>
                    <a:pt x="0" y="33"/>
                  </a:cubicBezTo>
                  <a:cubicBezTo>
                    <a:pt x="0" y="46"/>
                    <a:pt x="7" y="55"/>
                    <a:pt x="16" y="57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38" y="55"/>
                    <a:pt x="45" y="46"/>
                    <a:pt x="45" y="3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54" name="Freeform 37"/>
            <p:cNvSpPr>
              <a:spLocks/>
            </p:cNvSpPr>
            <p:nvPr/>
          </p:nvSpPr>
          <p:spPr bwMode="auto">
            <a:xfrm>
              <a:off x="-3036888" y="3319463"/>
              <a:ext cx="150813" cy="492125"/>
            </a:xfrm>
            <a:custGeom>
              <a:avLst/>
              <a:gdLst>
                <a:gd name="T0" fmla="*/ 40 w 40"/>
                <a:gd name="T1" fmla="*/ 39 h 131"/>
                <a:gd name="T2" fmla="*/ 37 w 40"/>
                <a:gd name="T3" fmla="*/ 15 h 131"/>
                <a:gd name="T4" fmla="*/ 31 w 40"/>
                <a:gd name="T5" fmla="*/ 1 h 131"/>
                <a:gd name="T6" fmla="*/ 31 w 40"/>
                <a:gd name="T7" fmla="*/ 31 h 131"/>
                <a:gd name="T8" fmla="*/ 27 w 40"/>
                <a:gd name="T9" fmla="*/ 31 h 131"/>
                <a:gd name="T10" fmla="*/ 27 w 40"/>
                <a:gd name="T11" fmla="*/ 0 h 131"/>
                <a:gd name="T12" fmla="*/ 22 w 40"/>
                <a:gd name="T13" fmla="*/ 0 h 131"/>
                <a:gd name="T14" fmla="*/ 22 w 40"/>
                <a:gd name="T15" fmla="*/ 31 h 131"/>
                <a:gd name="T16" fmla="*/ 21 w 40"/>
                <a:gd name="T17" fmla="*/ 31 h 131"/>
                <a:gd name="T18" fmla="*/ 21 w 40"/>
                <a:gd name="T19" fmla="*/ 31 h 131"/>
                <a:gd name="T20" fmla="*/ 17 w 40"/>
                <a:gd name="T21" fmla="*/ 31 h 131"/>
                <a:gd name="T22" fmla="*/ 17 w 40"/>
                <a:gd name="T23" fmla="*/ 0 h 131"/>
                <a:gd name="T24" fmla="*/ 13 w 40"/>
                <a:gd name="T25" fmla="*/ 0 h 131"/>
                <a:gd name="T26" fmla="*/ 13 w 40"/>
                <a:gd name="T27" fmla="*/ 31 h 131"/>
                <a:gd name="T28" fmla="*/ 8 w 40"/>
                <a:gd name="T29" fmla="*/ 31 h 131"/>
                <a:gd name="T30" fmla="*/ 8 w 40"/>
                <a:gd name="T31" fmla="*/ 1 h 131"/>
                <a:gd name="T32" fmla="*/ 2 w 40"/>
                <a:gd name="T33" fmla="*/ 15 h 131"/>
                <a:gd name="T34" fmla="*/ 0 w 40"/>
                <a:gd name="T35" fmla="*/ 39 h 131"/>
                <a:gd name="T36" fmla="*/ 14 w 40"/>
                <a:gd name="T37" fmla="*/ 56 h 131"/>
                <a:gd name="T38" fmla="*/ 11 w 40"/>
                <a:gd name="T39" fmla="*/ 131 h 131"/>
                <a:gd name="T40" fmla="*/ 28 w 40"/>
                <a:gd name="T41" fmla="*/ 131 h 131"/>
                <a:gd name="T42" fmla="*/ 26 w 40"/>
                <a:gd name="T43" fmla="*/ 56 h 131"/>
                <a:gd name="T44" fmla="*/ 40 w 40"/>
                <a:gd name="T45" fmla="*/ 3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131">
                  <a:moveTo>
                    <a:pt x="40" y="39"/>
                  </a:moveTo>
                  <a:cubicBezTo>
                    <a:pt x="37" y="15"/>
                    <a:pt x="37" y="15"/>
                    <a:pt x="37" y="15"/>
                  </a:cubicBezTo>
                  <a:cubicBezTo>
                    <a:pt x="37" y="10"/>
                    <a:pt x="35" y="4"/>
                    <a:pt x="31" y="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4" y="0"/>
                    <a:pt x="22" y="0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0"/>
                    <a:pt x="13" y="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4"/>
                    <a:pt x="2" y="10"/>
                    <a:pt x="2" y="1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7"/>
                    <a:pt x="5" y="54"/>
                    <a:pt x="14" y="56"/>
                  </a:cubicBezTo>
                  <a:cubicBezTo>
                    <a:pt x="11" y="131"/>
                    <a:pt x="11" y="131"/>
                    <a:pt x="11" y="131"/>
                  </a:cubicBezTo>
                  <a:cubicBezTo>
                    <a:pt x="28" y="131"/>
                    <a:pt x="28" y="131"/>
                    <a:pt x="28" y="131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34" y="54"/>
                    <a:pt x="40" y="47"/>
                    <a:pt x="40" y="3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55" name="Freeform 17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3986213" y="792163"/>
            <a:ext cx="349250" cy="409575"/>
          </a:xfrm>
          <a:custGeom>
            <a:avLst/>
            <a:gdLst>
              <a:gd name="T0" fmla="*/ 461 w 503"/>
              <a:gd name="T1" fmla="*/ 304 h 591"/>
              <a:gd name="T2" fmla="*/ 503 w 503"/>
              <a:gd name="T3" fmla="*/ 267 h 591"/>
              <a:gd name="T4" fmla="*/ 461 w 503"/>
              <a:gd name="T5" fmla="*/ 230 h 591"/>
              <a:gd name="T6" fmla="*/ 278 w 503"/>
              <a:gd name="T7" fmla="*/ 230 h 591"/>
              <a:gd name="T8" fmla="*/ 278 w 503"/>
              <a:gd name="T9" fmla="*/ 109 h 591"/>
              <a:gd name="T10" fmla="*/ 385 w 503"/>
              <a:gd name="T11" fmla="*/ 109 h 591"/>
              <a:gd name="T12" fmla="*/ 410 w 503"/>
              <a:gd name="T13" fmla="*/ 73 h 591"/>
              <a:gd name="T14" fmla="*/ 385 w 503"/>
              <a:gd name="T15" fmla="*/ 36 h 591"/>
              <a:gd name="T16" fmla="*/ 278 w 503"/>
              <a:gd name="T17" fmla="*/ 36 h 591"/>
              <a:gd name="T18" fmla="*/ 278 w 503"/>
              <a:gd name="T19" fmla="*/ 22 h 591"/>
              <a:gd name="T20" fmla="*/ 261 w 503"/>
              <a:gd name="T21" fmla="*/ 0 h 591"/>
              <a:gd name="T22" fmla="*/ 244 w 503"/>
              <a:gd name="T23" fmla="*/ 22 h 591"/>
              <a:gd name="T24" fmla="*/ 244 w 503"/>
              <a:gd name="T25" fmla="*/ 109 h 591"/>
              <a:gd name="T26" fmla="*/ 46 w 503"/>
              <a:gd name="T27" fmla="*/ 109 h 591"/>
              <a:gd name="T28" fmla="*/ 0 w 503"/>
              <a:gd name="T29" fmla="*/ 146 h 591"/>
              <a:gd name="T30" fmla="*/ 46 w 503"/>
              <a:gd name="T31" fmla="*/ 183 h 591"/>
              <a:gd name="T32" fmla="*/ 244 w 503"/>
              <a:gd name="T33" fmla="*/ 183 h 591"/>
              <a:gd name="T34" fmla="*/ 244 w 503"/>
              <a:gd name="T35" fmla="*/ 516 h 591"/>
              <a:gd name="T36" fmla="*/ 224 w 503"/>
              <a:gd name="T37" fmla="*/ 516 h 591"/>
              <a:gd name="T38" fmla="*/ 204 w 503"/>
              <a:gd name="T39" fmla="*/ 537 h 591"/>
              <a:gd name="T40" fmla="*/ 206 w 503"/>
              <a:gd name="T41" fmla="*/ 547 h 591"/>
              <a:gd name="T42" fmla="*/ 181 w 503"/>
              <a:gd name="T43" fmla="*/ 569 h 591"/>
              <a:gd name="T44" fmla="*/ 209 w 503"/>
              <a:gd name="T45" fmla="*/ 591 h 591"/>
              <a:gd name="T46" fmla="*/ 314 w 503"/>
              <a:gd name="T47" fmla="*/ 591 h 591"/>
              <a:gd name="T48" fmla="*/ 342 w 503"/>
              <a:gd name="T49" fmla="*/ 569 h 591"/>
              <a:gd name="T50" fmla="*/ 319 w 503"/>
              <a:gd name="T51" fmla="*/ 547 h 591"/>
              <a:gd name="T52" fmla="*/ 321 w 503"/>
              <a:gd name="T53" fmla="*/ 537 h 591"/>
              <a:gd name="T54" fmla="*/ 300 w 503"/>
              <a:gd name="T55" fmla="*/ 516 h 591"/>
              <a:gd name="T56" fmla="*/ 278 w 503"/>
              <a:gd name="T57" fmla="*/ 516 h 591"/>
              <a:gd name="T58" fmla="*/ 278 w 503"/>
              <a:gd name="T59" fmla="*/ 304 h 591"/>
              <a:gd name="T60" fmla="*/ 461 w 503"/>
              <a:gd name="T61" fmla="*/ 304 h 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03" h="591">
                <a:moveTo>
                  <a:pt x="461" y="304"/>
                </a:moveTo>
                <a:cubicBezTo>
                  <a:pt x="503" y="267"/>
                  <a:pt x="503" y="267"/>
                  <a:pt x="503" y="267"/>
                </a:cubicBezTo>
                <a:cubicBezTo>
                  <a:pt x="461" y="230"/>
                  <a:pt x="461" y="230"/>
                  <a:pt x="461" y="230"/>
                </a:cubicBezTo>
                <a:cubicBezTo>
                  <a:pt x="278" y="230"/>
                  <a:pt x="278" y="230"/>
                  <a:pt x="278" y="230"/>
                </a:cubicBezTo>
                <a:cubicBezTo>
                  <a:pt x="278" y="109"/>
                  <a:pt x="278" y="109"/>
                  <a:pt x="278" y="109"/>
                </a:cubicBezTo>
                <a:cubicBezTo>
                  <a:pt x="385" y="109"/>
                  <a:pt x="385" y="109"/>
                  <a:pt x="385" y="109"/>
                </a:cubicBezTo>
                <a:cubicBezTo>
                  <a:pt x="410" y="73"/>
                  <a:pt x="410" y="73"/>
                  <a:pt x="410" y="73"/>
                </a:cubicBezTo>
                <a:cubicBezTo>
                  <a:pt x="385" y="36"/>
                  <a:pt x="385" y="36"/>
                  <a:pt x="385" y="36"/>
                </a:cubicBezTo>
                <a:cubicBezTo>
                  <a:pt x="278" y="36"/>
                  <a:pt x="278" y="36"/>
                  <a:pt x="278" y="36"/>
                </a:cubicBezTo>
                <a:cubicBezTo>
                  <a:pt x="278" y="22"/>
                  <a:pt x="278" y="22"/>
                  <a:pt x="278" y="22"/>
                </a:cubicBezTo>
                <a:cubicBezTo>
                  <a:pt x="278" y="10"/>
                  <a:pt x="271" y="0"/>
                  <a:pt x="261" y="0"/>
                </a:cubicBezTo>
                <a:cubicBezTo>
                  <a:pt x="252" y="0"/>
                  <a:pt x="244" y="10"/>
                  <a:pt x="244" y="22"/>
                </a:cubicBezTo>
                <a:cubicBezTo>
                  <a:pt x="244" y="109"/>
                  <a:pt x="244" y="109"/>
                  <a:pt x="244" y="109"/>
                </a:cubicBezTo>
                <a:cubicBezTo>
                  <a:pt x="46" y="109"/>
                  <a:pt x="46" y="109"/>
                  <a:pt x="46" y="109"/>
                </a:cubicBezTo>
                <a:cubicBezTo>
                  <a:pt x="0" y="146"/>
                  <a:pt x="0" y="146"/>
                  <a:pt x="0" y="146"/>
                </a:cubicBezTo>
                <a:cubicBezTo>
                  <a:pt x="46" y="183"/>
                  <a:pt x="46" y="183"/>
                  <a:pt x="46" y="183"/>
                </a:cubicBezTo>
                <a:cubicBezTo>
                  <a:pt x="244" y="183"/>
                  <a:pt x="244" y="183"/>
                  <a:pt x="244" y="183"/>
                </a:cubicBezTo>
                <a:cubicBezTo>
                  <a:pt x="244" y="516"/>
                  <a:pt x="244" y="516"/>
                  <a:pt x="244" y="516"/>
                </a:cubicBezTo>
                <a:cubicBezTo>
                  <a:pt x="224" y="516"/>
                  <a:pt x="224" y="516"/>
                  <a:pt x="224" y="516"/>
                </a:cubicBezTo>
                <a:cubicBezTo>
                  <a:pt x="213" y="516"/>
                  <a:pt x="204" y="525"/>
                  <a:pt x="204" y="537"/>
                </a:cubicBezTo>
                <a:cubicBezTo>
                  <a:pt x="204" y="541"/>
                  <a:pt x="205" y="544"/>
                  <a:pt x="206" y="547"/>
                </a:cubicBezTo>
                <a:cubicBezTo>
                  <a:pt x="192" y="548"/>
                  <a:pt x="181" y="557"/>
                  <a:pt x="181" y="569"/>
                </a:cubicBezTo>
                <a:cubicBezTo>
                  <a:pt x="181" y="581"/>
                  <a:pt x="193" y="591"/>
                  <a:pt x="209" y="591"/>
                </a:cubicBezTo>
                <a:cubicBezTo>
                  <a:pt x="314" y="591"/>
                  <a:pt x="314" y="591"/>
                  <a:pt x="314" y="591"/>
                </a:cubicBezTo>
                <a:cubicBezTo>
                  <a:pt x="329" y="591"/>
                  <a:pt x="342" y="581"/>
                  <a:pt x="342" y="569"/>
                </a:cubicBezTo>
                <a:cubicBezTo>
                  <a:pt x="342" y="558"/>
                  <a:pt x="332" y="549"/>
                  <a:pt x="319" y="547"/>
                </a:cubicBezTo>
                <a:cubicBezTo>
                  <a:pt x="320" y="544"/>
                  <a:pt x="321" y="541"/>
                  <a:pt x="321" y="537"/>
                </a:cubicBezTo>
                <a:cubicBezTo>
                  <a:pt x="321" y="525"/>
                  <a:pt x="312" y="516"/>
                  <a:pt x="300" y="516"/>
                </a:cubicBezTo>
                <a:cubicBezTo>
                  <a:pt x="278" y="516"/>
                  <a:pt x="278" y="516"/>
                  <a:pt x="278" y="516"/>
                </a:cubicBezTo>
                <a:cubicBezTo>
                  <a:pt x="278" y="304"/>
                  <a:pt x="278" y="304"/>
                  <a:pt x="278" y="304"/>
                </a:cubicBezTo>
                <a:lnTo>
                  <a:pt x="461" y="304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6" name="Freeform 45"/>
          <p:cNvSpPr>
            <a:spLocks noEditPoints="1"/>
          </p:cNvSpPr>
          <p:nvPr>
            <p:custDataLst>
              <p:tags r:id="rId37"/>
            </p:custDataLst>
          </p:nvPr>
        </p:nvSpPr>
        <p:spPr bwMode="auto">
          <a:xfrm>
            <a:off x="1762125" y="136525"/>
            <a:ext cx="371475" cy="561975"/>
          </a:xfrm>
          <a:custGeom>
            <a:avLst/>
            <a:gdLst>
              <a:gd name="T0" fmla="*/ 266 w 266"/>
              <a:gd name="T1" fmla="*/ 133 h 403"/>
              <a:gd name="T2" fmla="*/ 133 w 266"/>
              <a:gd name="T3" fmla="*/ 0 h 403"/>
              <a:gd name="T4" fmla="*/ 0 w 266"/>
              <a:gd name="T5" fmla="*/ 133 h 403"/>
              <a:gd name="T6" fmla="*/ 2 w 266"/>
              <a:gd name="T7" fmla="*/ 156 h 403"/>
              <a:gd name="T8" fmla="*/ 19 w 266"/>
              <a:gd name="T9" fmla="*/ 203 h 403"/>
              <a:gd name="T10" fmla="*/ 19 w 266"/>
              <a:gd name="T11" fmla="*/ 203 h 403"/>
              <a:gd name="T12" fmla="*/ 133 w 266"/>
              <a:gd name="T13" fmla="*/ 403 h 403"/>
              <a:gd name="T14" fmla="*/ 133 w 266"/>
              <a:gd name="T15" fmla="*/ 403 h 403"/>
              <a:gd name="T16" fmla="*/ 133 w 266"/>
              <a:gd name="T17" fmla="*/ 403 h 403"/>
              <a:gd name="T18" fmla="*/ 247 w 266"/>
              <a:gd name="T19" fmla="*/ 203 h 403"/>
              <a:gd name="T20" fmla="*/ 247 w 266"/>
              <a:gd name="T21" fmla="*/ 203 h 403"/>
              <a:gd name="T22" fmla="*/ 266 w 266"/>
              <a:gd name="T23" fmla="*/ 133 h 403"/>
              <a:gd name="T24" fmla="*/ 133 w 266"/>
              <a:gd name="T25" fmla="*/ 189 h 403"/>
              <a:gd name="T26" fmla="*/ 76 w 266"/>
              <a:gd name="T27" fmla="*/ 131 h 403"/>
              <a:gd name="T28" fmla="*/ 133 w 266"/>
              <a:gd name="T29" fmla="*/ 74 h 403"/>
              <a:gd name="T30" fmla="*/ 190 w 266"/>
              <a:gd name="T31" fmla="*/ 131 h 403"/>
              <a:gd name="T32" fmla="*/ 133 w 266"/>
              <a:gd name="T33" fmla="*/ 189 h 4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66" h="403">
                <a:moveTo>
                  <a:pt x="266" y="133"/>
                </a:moveTo>
                <a:cubicBezTo>
                  <a:pt x="266" y="60"/>
                  <a:pt x="207" y="0"/>
                  <a:pt x="133" y="0"/>
                </a:cubicBezTo>
                <a:cubicBezTo>
                  <a:pt x="59" y="0"/>
                  <a:pt x="0" y="60"/>
                  <a:pt x="0" y="133"/>
                </a:cubicBezTo>
                <a:cubicBezTo>
                  <a:pt x="0" y="141"/>
                  <a:pt x="0" y="149"/>
                  <a:pt x="2" y="156"/>
                </a:cubicBezTo>
                <a:cubicBezTo>
                  <a:pt x="4" y="173"/>
                  <a:pt x="11" y="189"/>
                  <a:pt x="19" y="203"/>
                </a:cubicBezTo>
                <a:cubicBezTo>
                  <a:pt x="19" y="203"/>
                  <a:pt x="19" y="203"/>
                  <a:pt x="19" y="203"/>
                </a:cubicBezTo>
                <a:cubicBezTo>
                  <a:pt x="133" y="403"/>
                  <a:pt x="133" y="403"/>
                  <a:pt x="133" y="403"/>
                </a:cubicBezTo>
                <a:cubicBezTo>
                  <a:pt x="133" y="403"/>
                  <a:pt x="133" y="403"/>
                  <a:pt x="133" y="403"/>
                </a:cubicBezTo>
                <a:cubicBezTo>
                  <a:pt x="133" y="403"/>
                  <a:pt x="133" y="403"/>
                  <a:pt x="133" y="403"/>
                </a:cubicBezTo>
                <a:cubicBezTo>
                  <a:pt x="247" y="203"/>
                  <a:pt x="247" y="203"/>
                  <a:pt x="247" y="203"/>
                </a:cubicBezTo>
                <a:cubicBezTo>
                  <a:pt x="247" y="203"/>
                  <a:pt x="247" y="203"/>
                  <a:pt x="247" y="203"/>
                </a:cubicBezTo>
                <a:cubicBezTo>
                  <a:pt x="259" y="182"/>
                  <a:pt x="266" y="159"/>
                  <a:pt x="266" y="133"/>
                </a:cubicBezTo>
                <a:close/>
                <a:moveTo>
                  <a:pt x="133" y="189"/>
                </a:moveTo>
                <a:cubicBezTo>
                  <a:pt x="101" y="189"/>
                  <a:pt x="76" y="163"/>
                  <a:pt x="76" y="131"/>
                </a:cubicBezTo>
                <a:cubicBezTo>
                  <a:pt x="76" y="100"/>
                  <a:pt x="101" y="74"/>
                  <a:pt x="133" y="74"/>
                </a:cubicBezTo>
                <a:cubicBezTo>
                  <a:pt x="165" y="74"/>
                  <a:pt x="190" y="100"/>
                  <a:pt x="190" y="131"/>
                </a:cubicBezTo>
                <a:cubicBezTo>
                  <a:pt x="190" y="163"/>
                  <a:pt x="165" y="189"/>
                  <a:pt x="133" y="189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7" name="Freeform 55"/>
          <p:cNvSpPr>
            <a:spLocks noEditPoints="1"/>
          </p:cNvSpPr>
          <p:nvPr>
            <p:custDataLst>
              <p:tags r:id="rId38"/>
            </p:custDataLst>
          </p:nvPr>
        </p:nvSpPr>
        <p:spPr bwMode="auto">
          <a:xfrm>
            <a:off x="3925888" y="1271588"/>
            <a:ext cx="603250" cy="536575"/>
          </a:xfrm>
          <a:custGeom>
            <a:avLst/>
            <a:gdLst>
              <a:gd name="T0" fmla="*/ 80 w 100"/>
              <a:gd name="T1" fmla="*/ 89 h 89"/>
              <a:gd name="T2" fmla="*/ 94 w 100"/>
              <a:gd name="T3" fmla="*/ 86 h 89"/>
              <a:gd name="T4" fmla="*/ 77 w 100"/>
              <a:gd name="T5" fmla="*/ 78 h 89"/>
              <a:gd name="T6" fmla="*/ 7 w 100"/>
              <a:gd name="T7" fmla="*/ 86 h 89"/>
              <a:gd name="T8" fmla="*/ 21 w 100"/>
              <a:gd name="T9" fmla="*/ 89 h 89"/>
              <a:gd name="T10" fmla="*/ 24 w 100"/>
              <a:gd name="T11" fmla="*/ 78 h 89"/>
              <a:gd name="T12" fmla="*/ 7 w 100"/>
              <a:gd name="T13" fmla="*/ 86 h 89"/>
              <a:gd name="T14" fmla="*/ 59 w 100"/>
              <a:gd name="T15" fmla="*/ 52 h 89"/>
              <a:gd name="T16" fmla="*/ 40 w 100"/>
              <a:gd name="T17" fmla="*/ 48 h 89"/>
              <a:gd name="T18" fmla="*/ 95 w 100"/>
              <a:gd name="T19" fmla="*/ 35 h 89"/>
              <a:gd name="T20" fmla="*/ 70 w 100"/>
              <a:gd name="T21" fmla="*/ 0 h 89"/>
              <a:gd name="T22" fmla="*/ 31 w 100"/>
              <a:gd name="T23" fmla="*/ 0 h 89"/>
              <a:gd name="T24" fmla="*/ 0 w 100"/>
              <a:gd name="T25" fmla="*/ 52 h 89"/>
              <a:gd name="T26" fmla="*/ 3 w 100"/>
              <a:gd name="T27" fmla="*/ 72 h 89"/>
              <a:gd name="T28" fmla="*/ 50 w 100"/>
              <a:gd name="T29" fmla="*/ 74 h 89"/>
              <a:gd name="T30" fmla="*/ 50 w 100"/>
              <a:gd name="T31" fmla="*/ 74 h 89"/>
              <a:gd name="T32" fmla="*/ 97 w 100"/>
              <a:gd name="T33" fmla="*/ 72 h 89"/>
              <a:gd name="T34" fmla="*/ 95 w 100"/>
              <a:gd name="T35" fmla="*/ 35 h 89"/>
              <a:gd name="T36" fmla="*/ 31 w 100"/>
              <a:gd name="T37" fmla="*/ 7 h 89"/>
              <a:gd name="T38" fmla="*/ 70 w 100"/>
              <a:gd name="T39" fmla="*/ 7 h 89"/>
              <a:gd name="T40" fmla="*/ 13 w 100"/>
              <a:gd name="T41" fmla="*/ 28 h 89"/>
              <a:gd name="T42" fmla="*/ 15 w 100"/>
              <a:gd name="T43" fmla="*/ 71 h 89"/>
              <a:gd name="T44" fmla="*/ 15 w 100"/>
              <a:gd name="T45" fmla="*/ 63 h 89"/>
              <a:gd name="T46" fmla="*/ 15 w 100"/>
              <a:gd name="T47" fmla="*/ 71 h 89"/>
              <a:gd name="T48" fmla="*/ 26 w 100"/>
              <a:gd name="T49" fmla="*/ 47 h 89"/>
              <a:gd name="T50" fmla="*/ 7 w 100"/>
              <a:gd name="T51" fmla="*/ 47 h 89"/>
              <a:gd name="T52" fmla="*/ 7 w 100"/>
              <a:gd name="T53" fmla="*/ 46 h 89"/>
              <a:gd name="T54" fmla="*/ 7 w 100"/>
              <a:gd name="T55" fmla="*/ 46 h 89"/>
              <a:gd name="T56" fmla="*/ 7 w 100"/>
              <a:gd name="T57" fmla="*/ 46 h 89"/>
              <a:gd name="T58" fmla="*/ 11 w 100"/>
              <a:gd name="T59" fmla="*/ 37 h 89"/>
              <a:gd name="T60" fmla="*/ 12 w 100"/>
              <a:gd name="T61" fmla="*/ 37 h 89"/>
              <a:gd name="T62" fmla="*/ 27 w 100"/>
              <a:gd name="T63" fmla="*/ 46 h 89"/>
              <a:gd name="T64" fmla="*/ 27 w 100"/>
              <a:gd name="T65" fmla="*/ 46 h 89"/>
              <a:gd name="T66" fmla="*/ 60 w 100"/>
              <a:gd name="T67" fmla="*/ 56 h 89"/>
              <a:gd name="T68" fmla="*/ 60 w 100"/>
              <a:gd name="T69" fmla="*/ 56 h 89"/>
              <a:gd name="T70" fmla="*/ 41 w 100"/>
              <a:gd name="T71" fmla="*/ 56 h 89"/>
              <a:gd name="T72" fmla="*/ 35 w 100"/>
              <a:gd name="T73" fmla="*/ 45 h 89"/>
              <a:gd name="T74" fmla="*/ 35 w 100"/>
              <a:gd name="T75" fmla="*/ 45 h 89"/>
              <a:gd name="T76" fmla="*/ 35 w 100"/>
              <a:gd name="T77" fmla="*/ 45 h 89"/>
              <a:gd name="T78" fmla="*/ 64 w 100"/>
              <a:gd name="T79" fmla="*/ 43 h 89"/>
              <a:gd name="T80" fmla="*/ 65 w 100"/>
              <a:gd name="T81" fmla="*/ 45 h 89"/>
              <a:gd name="T82" fmla="*/ 65 w 100"/>
              <a:gd name="T83" fmla="*/ 45 h 89"/>
              <a:gd name="T84" fmla="*/ 85 w 100"/>
              <a:gd name="T85" fmla="*/ 71 h 89"/>
              <a:gd name="T86" fmla="*/ 85 w 100"/>
              <a:gd name="T87" fmla="*/ 63 h 89"/>
              <a:gd name="T88" fmla="*/ 85 w 100"/>
              <a:gd name="T89" fmla="*/ 71 h 89"/>
              <a:gd name="T90" fmla="*/ 94 w 100"/>
              <a:gd name="T91" fmla="*/ 46 h 89"/>
              <a:gd name="T92" fmla="*/ 93 w 100"/>
              <a:gd name="T93" fmla="*/ 47 h 89"/>
              <a:gd name="T94" fmla="*/ 93 w 100"/>
              <a:gd name="T95" fmla="*/ 47 h 89"/>
              <a:gd name="T96" fmla="*/ 74 w 100"/>
              <a:gd name="T97" fmla="*/ 46 h 89"/>
              <a:gd name="T98" fmla="*/ 74 w 100"/>
              <a:gd name="T99" fmla="*/ 46 h 89"/>
              <a:gd name="T100" fmla="*/ 89 w 100"/>
              <a:gd name="T101" fmla="*/ 37 h 89"/>
              <a:gd name="T102" fmla="*/ 90 w 100"/>
              <a:gd name="T103" fmla="*/ 37 h 89"/>
              <a:gd name="T104" fmla="*/ 94 w 100"/>
              <a:gd name="T105" fmla="*/ 46 h 89"/>
              <a:gd name="T106" fmla="*/ 94 w 100"/>
              <a:gd name="T107" fmla="*/ 46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0" h="89">
                <a:moveTo>
                  <a:pt x="77" y="86"/>
                </a:moveTo>
                <a:cubicBezTo>
                  <a:pt x="77" y="88"/>
                  <a:pt x="78" y="89"/>
                  <a:pt x="8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2" y="89"/>
                  <a:pt x="94" y="88"/>
                  <a:pt x="94" y="86"/>
                </a:cubicBezTo>
                <a:cubicBezTo>
                  <a:pt x="94" y="78"/>
                  <a:pt x="94" y="78"/>
                  <a:pt x="94" y="78"/>
                </a:cubicBezTo>
                <a:cubicBezTo>
                  <a:pt x="77" y="78"/>
                  <a:pt x="77" y="78"/>
                  <a:pt x="77" y="78"/>
                </a:cubicBezTo>
                <a:lnTo>
                  <a:pt x="77" y="86"/>
                </a:lnTo>
                <a:close/>
                <a:moveTo>
                  <a:pt x="7" y="86"/>
                </a:moveTo>
                <a:cubicBezTo>
                  <a:pt x="7" y="88"/>
                  <a:pt x="8" y="89"/>
                  <a:pt x="10" y="89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4" y="88"/>
                  <a:pt x="24" y="86"/>
                </a:cubicBezTo>
                <a:cubicBezTo>
                  <a:pt x="24" y="78"/>
                  <a:pt x="24" y="78"/>
                  <a:pt x="24" y="78"/>
                </a:cubicBezTo>
                <a:cubicBezTo>
                  <a:pt x="7" y="78"/>
                  <a:pt x="7" y="78"/>
                  <a:pt x="7" y="78"/>
                </a:cubicBezTo>
                <a:lnTo>
                  <a:pt x="7" y="86"/>
                </a:lnTo>
                <a:close/>
                <a:moveTo>
                  <a:pt x="41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60" y="51"/>
                  <a:pt x="60" y="50"/>
                  <a:pt x="61" y="48"/>
                </a:cubicBezTo>
                <a:cubicBezTo>
                  <a:pt x="40" y="48"/>
                  <a:pt x="40" y="48"/>
                  <a:pt x="40" y="48"/>
                </a:cubicBezTo>
                <a:cubicBezTo>
                  <a:pt x="40" y="50"/>
                  <a:pt x="41" y="51"/>
                  <a:pt x="41" y="52"/>
                </a:cubicBezTo>
                <a:close/>
                <a:moveTo>
                  <a:pt x="95" y="35"/>
                </a:moveTo>
                <a:cubicBezTo>
                  <a:pt x="95" y="30"/>
                  <a:pt x="90" y="0"/>
                  <a:pt x="70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11" y="0"/>
                  <a:pt x="6" y="30"/>
                  <a:pt x="5" y="35"/>
                </a:cubicBezTo>
                <a:cubicBezTo>
                  <a:pt x="2" y="39"/>
                  <a:pt x="0" y="45"/>
                  <a:pt x="0" y="52"/>
                </a:cubicBezTo>
                <a:cubicBezTo>
                  <a:pt x="0" y="61"/>
                  <a:pt x="2" y="70"/>
                  <a:pt x="3" y="72"/>
                </a:cubicBezTo>
                <a:cubicBezTo>
                  <a:pt x="3" y="72"/>
                  <a:pt x="3" y="72"/>
                  <a:pt x="3" y="72"/>
                </a:cubicBezTo>
                <a:cubicBezTo>
                  <a:pt x="4" y="73"/>
                  <a:pt x="5" y="74"/>
                  <a:pt x="6" y="74"/>
                </a:cubicBezTo>
                <a:cubicBezTo>
                  <a:pt x="50" y="74"/>
                  <a:pt x="50" y="74"/>
                  <a:pt x="50" y="74"/>
                </a:cubicBezTo>
                <a:cubicBezTo>
                  <a:pt x="50" y="74"/>
                  <a:pt x="50" y="74"/>
                  <a:pt x="50" y="74"/>
                </a:cubicBezTo>
                <a:cubicBezTo>
                  <a:pt x="50" y="74"/>
                  <a:pt x="50" y="74"/>
                  <a:pt x="50" y="74"/>
                </a:cubicBezTo>
                <a:cubicBezTo>
                  <a:pt x="94" y="74"/>
                  <a:pt x="94" y="74"/>
                  <a:pt x="94" y="74"/>
                </a:cubicBezTo>
                <a:cubicBezTo>
                  <a:pt x="95" y="74"/>
                  <a:pt x="97" y="73"/>
                  <a:pt x="97" y="72"/>
                </a:cubicBezTo>
                <a:cubicBezTo>
                  <a:pt x="98" y="69"/>
                  <a:pt x="100" y="61"/>
                  <a:pt x="100" y="52"/>
                </a:cubicBezTo>
                <a:cubicBezTo>
                  <a:pt x="100" y="45"/>
                  <a:pt x="99" y="39"/>
                  <a:pt x="95" y="35"/>
                </a:cubicBezTo>
                <a:close/>
                <a:moveTo>
                  <a:pt x="30" y="7"/>
                </a:moveTo>
                <a:cubicBezTo>
                  <a:pt x="31" y="7"/>
                  <a:pt x="31" y="7"/>
                  <a:pt x="31" y="7"/>
                </a:cubicBezTo>
                <a:cubicBezTo>
                  <a:pt x="70" y="7"/>
                  <a:pt x="70" y="7"/>
                  <a:pt x="70" y="7"/>
                </a:cubicBezTo>
                <a:cubicBezTo>
                  <a:pt x="70" y="7"/>
                  <a:pt x="70" y="7"/>
                  <a:pt x="70" y="7"/>
                </a:cubicBezTo>
                <a:cubicBezTo>
                  <a:pt x="79" y="7"/>
                  <a:pt x="85" y="19"/>
                  <a:pt x="87" y="28"/>
                </a:cubicBezTo>
                <a:cubicBezTo>
                  <a:pt x="13" y="28"/>
                  <a:pt x="13" y="28"/>
                  <a:pt x="13" y="28"/>
                </a:cubicBezTo>
                <a:cubicBezTo>
                  <a:pt x="16" y="19"/>
                  <a:pt x="21" y="7"/>
                  <a:pt x="30" y="7"/>
                </a:cubicBezTo>
                <a:close/>
                <a:moveTo>
                  <a:pt x="15" y="71"/>
                </a:moveTo>
                <a:cubicBezTo>
                  <a:pt x="13" y="71"/>
                  <a:pt x="11" y="70"/>
                  <a:pt x="11" y="67"/>
                </a:cubicBezTo>
                <a:cubicBezTo>
                  <a:pt x="11" y="65"/>
                  <a:pt x="13" y="63"/>
                  <a:pt x="15" y="63"/>
                </a:cubicBezTo>
                <a:cubicBezTo>
                  <a:pt x="18" y="63"/>
                  <a:pt x="20" y="65"/>
                  <a:pt x="20" y="67"/>
                </a:cubicBezTo>
                <a:cubicBezTo>
                  <a:pt x="20" y="70"/>
                  <a:pt x="18" y="71"/>
                  <a:pt x="15" y="71"/>
                </a:cubicBezTo>
                <a:close/>
                <a:moveTo>
                  <a:pt x="27" y="46"/>
                </a:moveTo>
                <a:cubicBezTo>
                  <a:pt x="27" y="46"/>
                  <a:pt x="26" y="47"/>
                  <a:pt x="26" y="47"/>
                </a:cubicBezTo>
                <a:cubicBezTo>
                  <a:pt x="7" y="47"/>
                  <a:pt x="7" y="47"/>
                  <a:pt x="7" y="47"/>
                </a:cubicBezTo>
                <a:cubicBezTo>
                  <a:pt x="7" y="47"/>
                  <a:pt x="7" y="47"/>
                  <a:pt x="7" y="47"/>
                </a:cubicBezTo>
                <a:cubicBezTo>
                  <a:pt x="7" y="47"/>
                  <a:pt x="7" y="47"/>
                  <a:pt x="7" y="47"/>
                </a:cubicBezTo>
                <a:cubicBezTo>
                  <a:pt x="7" y="47"/>
                  <a:pt x="7" y="47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1"/>
                  <a:pt x="9" y="38"/>
                  <a:pt x="11" y="37"/>
                </a:cubicBezTo>
                <a:cubicBezTo>
                  <a:pt x="11" y="37"/>
                  <a:pt x="11" y="37"/>
                  <a:pt x="11" y="37"/>
                </a:cubicBezTo>
                <a:cubicBezTo>
                  <a:pt x="11" y="37"/>
                  <a:pt x="11" y="37"/>
                  <a:pt x="12" y="37"/>
                </a:cubicBezTo>
                <a:cubicBezTo>
                  <a:pt x="12" y="37"/>
                  <a:pt x="21" y="37"/>
                  <a:pt x="24" y="40"/>
                </a:cubicBezTo>
                <a:cubicBezTo>
                  <a:pt x="26" y="41"/>
                  <a:pt x="27" y="43"/>
                  <a:pt x="27" y="46"/>
                </a:cubicBezTo>
                <a:cubicBezTo>
                  <a:pt x="27" y="46"/>
                  <a:pt x="27" y="46"/>
                  <a:pt x="27" y="46"/>
                </a:cubicBezTo>
                <a:cubicBezTo>
                  <a:pt x="27" y="46"/>
                  <a:pt x="27" y="46"/>
                  <a:pt x="27" y="46"/>
                </a:cubicBezTo>
                <a:close/>
                <a:moveTo>
                  <a:pt x="65" y="45"/>
                </a:moveTo>
                <a:cubicBezTo>
                  <a:pt x="65" y="46"/>
                  <a:pt x="64" y="56"/>
                  <a:pt x="60" y="56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6"/>
                  <a:pt x="60" y="56"/>
                  <a:pt x="60" y="56"/>
                </a:cubicBezTo>
                <a:cubicBezTo>
                  <a:pt x="41" y="56"/>
                  <a:pt x="41" y="56"/>
                  <a:pt x="41" y="56"/>
                </a:cubicBezTo>
                <a:cubicBezTo>
                  <a:pt x="41" y="56"/>
                  <a:pt x="41" y="56"/>
                  <a:pt x="41" y="56"/>
                </a:cubicBezTo>
                <a:cubicBezTo>
                  <a:pt x="41" y="56"/>
                  <a:pt x="41" y="56"/>
                  <a:pt x="41" y="56"/>
                </a:cubicBezTo>
                <a:cubicBezTo>
                  <a:pt x="36" y="56"/>
                  <a:pt x="35" y="46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4"/>
                  <a:pt x="36" y="43"/>
                  <a:pt x="37" y="43"/>
                </a:cubicBezTo>
                <a:cubicBezTo>
                  <a:pt x="64" y="43"/>
                  <a:pt x="64" y="43"/>
                  <a:pt x="64" y="43"/>
                </a:cubicBezTo>
                <a:cubicBezTo>
                  <a:pt x="65" y="43"/>
                  <a:pt x="65" y="44"/>
                  <a:pt x="65" y="45"/>
                </a:cubicBezTo>
                <a:cubicBezTo>
                  <a:pt x="65" y="45"/>
                  <a:pt x="65" y="45"/>
                  <a:pt x="65" y="45"/>
                </a:cubicBezTo>
                <a:cubicBezTo>
                  <a:pt x="65" y="45"/>
                  <a:pt x="65" y="45"/>
                  <a:pt x="65" y="45"/>
                </a:cubicBezTo>
                <a:cubicBezTo>
                  <a:pt x="65" y="45"/>
                  <a:pt x="65" y="45"/>
                  <a:pt x="65" y="45"/>
                </a:cubicBezTo>
                <a:cubicBezTo>
                  <a:pt x="65" y="45"/>
                  <a:pt x="65" y="45"/>
                  <a:pt x="65" y="45"/>
                </a:cubicBezTo>
                <a:close/>
                <a:moveTo>
                  <a:pt x="85" y="71"/>
                </a:moveTo>
                <a:cubicBezTo>
                  <a:pt x="83" y="71"/>
                  <a:pt x="81" y="70"/>
                  <a:pt x="81" y="67"/>
                </a:cubicBezTo>
                <a:cubicBezTo>
                  <a:pt x="81" y="65"/>
                  <a:pt x="83" y="63"/>
                  <a:pt x="85" y="63"/>
                </a:cubicBezTo>
                <a:cubicBezTo>
                  <a:pt x="88" y="63"/>
                  <a:pt x="90" y="65"/>
                  <a:pt x="90" y="67"/>
                </a:cubicBezTo>
                <a:cubicBezTo>
                  <a:pt x="90" y="70"/>
                  <a:pt x="88" y="71"/>
                  <a:pt x="85" y="71"/>
                </a:cubicBezTo>
                <a:close/>
                <a:moveTo>
                  <a:pt x="94" y="46"/>
                </a:moveTo>
                <a:cubicBezTo>
                  <a:pt x="94" y="46"/>
                  <a:pt x="94" y="46"/>
                  <a:pt x="94" y="46"/>
                </a:cubicBezTo>
                <a:cubicBezTo>
                  <a:pt x="93" y="46"/>
                  <a:pt x="93" y="46"/>
                  <a:pt x="93" y="46"/>
                </a:cubicBezTo>
                <a:cubicBezTo>
                  <a:pt x="93" y="47"/>
                  <a:pt x="93" y="47"/>
                  <a:pt x="93" y="47"/>
                </a:cubicBezTo>
                <a:cubicBezTo>
                  <a:pt x="93" y="47"/>
                  <a:pt x="93" y="47"/>
                  <a:pt x="93" y="47"/>
                </a:cubicBezTo>
                <a:cubicBezTo>
                  <a:pt x="93" y="47"/>
                  <a:pt x="93" y="47"/>
                  <a:pt x="93" y="47"/>
                </a:cubicBezTo>
                <a:cubicBezTo>
                  <a:pt x="75" y="47"/>
                  <a:pt x="75" y="47"/>
                  <a:pt x="75" y="47"/>
                </a:cubicBezTo>
                <a:cubicBezTo>
                  <a:pt x="74" y="47"/>
                  <a:pt x="74" y="46"/>
                  <a:pt x="74" y="46"/>
                </a:cubicBezTo>
                <a:cubicBezTo>
                  <a:pt x="74" y="46"/>
                  <a:pt x="74" y="46"/>
                  <a:pt x="74" y="46"/>
                </a:cubicBezTo>
                <a:cubicBezTo>
                  <a:pt x="74" y="46"/>
                  <a:pt x="74" y="46"/>
                  <a:pt x="74" y="46"/>
                </a:cubicBezTo>
                <a:cubicBezTo>
                  <a:pt x="74" y="43"/>
                  <a:pt x="75" y="41"/>
                  <a:pt x="76" y="40"/>
                </a:cubicBezTo>
                <a:cubicBezTo>
                  <a:pt x="79" y="37"/>
                  <a:pt x="89" y="37"/>
                  <a:pt x="89" y="37"/>
                </a:cubicBezTo>
                <a:cubicBezTo>
                  <a:pt x="89" y="37"/>
                  <a:pt x="89" y="37"/>
                  <a:pt x="90" y="37"/>
                </a:cubicBezTo>
                <a:cubicBezTo>
                  <a:pt x="90" y="37"/>
                  <a:pt x="90" y="37"/>
                  <a:pt x="90" y="37"/>
                </a:cubicBezTo>
                <a:cubicBezTo>
                  <a:pt x="92" y="38"/>
                  <a:pt x="93" y="41"/>
                  <a:pt x="94" y="46"/>
                </a:cubicBezTo>
                <a:cubicBezTo>
                  <a:pt x="94" y="46"/>
                  <a:pt x="94" y="46"/>
                  <a:pt x="94" y="46"/>
                </a:cubicBezTo>
                <a:cubicBezTo>
                  <a:pt x="94" y="46"/>
                  <a:pt x="94" y="46"/>
                  <a:pt x="94" y="46"/>
                </a:cubicBezTo>
                <a:cubicBezTo>
                  <a:pt x="94" y="46"/>
                  <a:pt x="94" y="46"/>
                  <a:pt x="94" y="46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23" name="Group 157"/>
          <p:cNvGrpSpPr/>
          <p:nvPr>
            <p:custDataLst>
              <p:tags r:id="rId39"/>
            </p:custDataLst>
          </p:nvPr>
        </p:nvGrpSpPr>
        <p:grpSpPr>
          <a:xfrm>
            <a:off x="2149033" y="490436"/>
            <a:ext cx="397384" cy="269682"/>
            <a:chOff x="-1341438" y="968375"/>
            <a:chExt cx="795338" cy="539751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59" name="Freeform 38"/>
            <p:cNvSpPr>
              <a:spLocks/>
            </p:cNvSpPr>
            <p:nvPr/>
          </p:nvSpPr>
          <p:spPr bwMode="auto">
            <a:xfrm>
              <a:off x="-1341438" y="1392238"/>
              <a:ext cx="795338" cy="115888"/>
            </a:xfrm>
            <a:custGeom>
              <a:avLst/>
              <a:gdLst>
                <a:gd name="T0" fmla="*/ 0 w 212"/>
                <a:gd name="T1" fmla="*/ 17 h 31"/>
                <a:gd name="T2" fmla="*/ 14 w 212"/>
                <a:gd name="T3" fmla="*/ 31 h 31"/>
                <a:gd name="T4" fmla="*/ 197 w 212"/>
                <a:gd name="T5" fmla="*/ 31 h 31"/>
                <a:gd name="T6" fmla="*/ 212 w 212"/>
                <a:gd name="T7" fmla="*/ 17 h 31"/>
                <a:gd name="T8" fmla="*/ 212 w 212"/>
                <a:gd name="T9" fmla="*/ 0 h 31"/>
                <a:gd name="T10" fmla="*/ 0 w 212"/>
                <a:gd name="T11" fmla="*/ 0 h 31"/>
                <a:gd name="T12" fmla="*/ 0 w 212"/>
                <a:gd name="T13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2" h="31">
                  <a:moveTo>
                    <a:pt x="0" y="17"/>
                  </a:moveTo>
                  <a:cubicBezTo>
                    <a:pt x="0" y="25"/>
                    <a:pt x="6" y="31"/>
                    <a:pt x="14" y="31"/>
                  </a:cubicBezTo>
                  <a:cubicBezTo>
                    <a:pt x="197" y="31"/>
                    <a:pt x="197" y="31"/>
                    <a:pt x="197" y="31"/>
                  </a:cubicBezTo>
                  <a:cubicBezTo>
                    <a:pt x="205" y="31"/>
                    <a:pt x="212" y="25"/>
                    <a:pt x="212" y="17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0" name="Rectangle 39"/>
            <p:cNvSpPr>
              <a:spLocks noChangeArrowheads="1"/>
            </p:cNvSpPr>
            <p:nvPr/>
          </p:nvSpPr>
          <p:spPr bwMode="auto">
            <a:xfrm>
              <a:off x="-1341438" y="1235075"/>
              <a:ext cx="795338" cy="12700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1" name="Freeform 40"/>
            <p:cNvSpPr>
              <a:spLocks noEditPoints="1"/>
            </p:cNvSpPr>
            <p:nvPr/>
          </p:nvSpPr>
          <p:spPr bwMode="auto">
            <a:xfrm>
              <a:off x="-1341438" y="968375"/>
              <a:ext cx="795338" cy="236538"/>
            </a:xfrm>
            <a:custGeom>
              <a:avLst/>
              <a:gdLst>
                <a:gd name="T0" fmla="*/ 197 w 212"/>
                <a:gd name="T1" fmla="*/ 0 h 63"/>
                <a:gd name="T2" fmla="*/ 14 w 212"/>
                <a:gd name="T3" fmla="*/ 0 h 63"/>
                <a:gd name="T4" fmla="*/ 0 w 212"/>
                <a:gd name="T5" fmla="*/ 14 h 63"/>
                <a:gd name="T6" fmla="*/ 0 w 212"/>
                <a:gd name="T7" fmla="*/ 63 h 63"/>
                <a:gd name="T8" fmla="*/ 212 w 212"/>
                <a:gd name="T9" fmla="*/ 63 h 63"/>
                <a:gd name="T10" fmla="*/ 212 w 212"/>
                <a:gd name="T11" fmla="*/ 14 h 63"/>
                <a:gd name="T12" fmla="*/ 197 w 212"/>
                <a:gd name="T13" fmla="*/ 0 h 63"/>
                <a:gd name="T14" fmla="*/ 26 w 212"/>
                <a:gd name="T15" fmla="*/ 14 h 63"/>
                <a:gd name="T16" fmla="*/ 87 w 212"/>
                <a:gd name="T17" fmla="*/ 14 h 63"/>
                <a:gd name="T18" fmla="*/ 87 w 212"/>
                <a:gd name="T19" fmla="*/ 25 h 63"/>
                <a:gd name="T20" fmla="*/ 26 w 212"/>
                <a:gd name="T21" fmla="*/ 25 h 63"/>
                <a:gd name="T22" fmla="*/ 26 w 212"/>
                <a:gd name="T23" fmla="*/ 14 h 63"/>
                <a:gd name="T24" fmla="*/ 26 w 212"/>
                <a:gd name="T25" fmla="*/ 28 h 63"/>
                <a:gd name="T26" fmla="*/ 97 w 212"/>
                <a:gd name="T27" fmla="*/ 28 h 63"/>
                <a:gd name="T28" fmla="*/ 97 w 212"/>
                <a:gd name="T29" fmla="*/ 39 h 63"/>
                <a:gd name="T30" fmla="*/ 26 w 212"/>
                <a:gd name="T31" fmla="*/ 39 h 63"/>
                <a:gd name="T32" fmla="*/ 26 w 212"/>
                <a:gd name="T33" fmla="*/ 28 h 63"/>
                <a:gd name="T34" fmla="*/ 102 w 212"/>
                <a:gd name="T35" fmla="*/ 54 h 63"/>
                <a:gd name="T36" fmla="*/ 26 w 212"/>
                <a:gd name="T37" fmla="*/ 54 h 63"/>
                <a:gd name="T38" fmla="*/ 26 w 212"/>
                <a:gd name="T39" fmla="*/ 43 h 63"/>
                <a:gd name="T40" fmla="*/ 102 w 212"/>
                <a:gd name="T41" fmla="*/ 43 h 63"/>
                <a:gd name="T42" fmla="*/ 102 w 212"/>
                <a:gd name="T43" fmla="*/ 5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2" h="63">
                  <a:moveTo>
                    <a:pt x="197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2" y="14"/>
                    <a:pt x="212" y="14"/>
                    <a:pt x="212" y="14"/>
                  </a:cubicBezTo>
                  <a:cubicBezTo>
                    <a:pt x="212" y="6"/>
                    <a:pt x="205" y="0"/>
                    <a:pt x="197" y="0"/>
                  </a:cubicBezTo>
                  <a:close/>
                  <a:moveTo>
                    <a:pt x="26" y="14"/>
                  </a:moveTo>
                  <a:cubicBezTo>
                    <a:pt x="87" y="14"/>
                    <a:pt x="87" y="14"/>
                    <a:pt x="87" y="14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26" y="25"/>
                    <a:pt x="26" y="25"/>
                    <a:pt x="26" y="25"/>
                  </a:cubicBezTo>
                  <a:lnTo>
                    <a:pt x="26" y="14"/>
                  </a:lnTo>
                  <a:close/>
                  <a:moveTo>
                    <a:pt x="26" y="28"/>
                  </a:moveTo>
                  <a:cubicBezTo>
                    <a:pt x="97" y="28"/>
                    <a:pt x="97" y="28"/>
                    <a:pt x="97" y="28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26" y="39"/>
                    <a:pt x="26" y="39"/>
                    <a:pt x="26" y="39"/>
                  </a:cubicBezTo>
                  <a:lnTo>
                    <a:pt x="26" y="28"/>
                  </a:lnTo>
                  <a:close/>
                  <a:moveTo>
                    <a:pt x="102" y="54"/>
                  </a:moveTo>
                  <a:cubicBezTo>
                    <a:pt x="26" y="54"/>
                    <a:pt x="26" y="54"/>
                    <a:pt x="26" y="54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102" y="43"/>
                    <a:pt x="102" y="43"/>
                    <a:pt x="102" y="43"/>
                  </a:cubicBezTo>
                  <a:lnTo>
                    <a:pt x="102" y="5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24" name="Group 161"/>
          <p:cNvGrpSpPr/>
          <p:nvPr>
            <p:custDataLst>
              <p:tags r:id="rId40"/>
            </p:custDataLst>
          </p:nvPr>
        </p:nvGrpSpPr>
        <p:grpSpPr>
          <a:xfrm>
            <a:off x="4130179" y="2464484"/>
            <a:ext cx="337046" cy="464735"/>
            <a:chOff x="-2284413" y="254000"/>
            <a:chExt cx="1185862" cy="1635126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63" name="Freeform 9"/>
            <p:cNvSpPr>
              <a:spLocks noEditPoints="1"/>
            </p:cNvSpPr>
            <p:nvPr/>
          </p:nvSpPr>
          <p:spPr bwMode="auto">
            <a:xfrm>
              <a:off x="-2119313" y="254000"/>
              <a:ext cx="858837" cy="1181100"/>
            </a:xfrm>
            <a:custGeom>
              <a:avLst/>
              <a:gdLst>
                <a:gd name="T0" fmla="*/ 33 w 229"/>
                <a:gd name="T1" fmla="*/ 286 h 315"/>
                <a:gd name="T2" fmla="*/ 195 w 229"/>
                <a:gd name="T3" fmla="*/ 286 h 315"/>
                <a:gd name="T4" fmla="*/ 209 w 229"/>
                <a:gd name="T5" fmla="*/ 315 h 315"/>
                <a:gd name="T6" fmla="*/ 19 w 229"/>
                <a:gd name="T7" fmla="*/ 315 h 315"/>
                <a:gd name="T8" fmla="*/ 33 w 229"/>
                <a:gd name="T9" fmla="*/ 286 h 315"/>
                <a:gd name="T10" fmla="*/ 52 w 229"/>
                <a:gd name="T11" fmla="*/ 75 h 315"/>
                <a:gd name="T12" fmla="*/ 176 w 229"/>
                <a:gd name="T13" fmla="*/ 75 h 315"/>
                <a:gd name="T14" fmla="*/ 190 w 229"/>
                <a:gd name="T15" fmla="*/ 89 h 315"/>
                <a:gd name="T16" fmla="*/ 194 w 229"/>
                <a:gd name="T17" fmla="*/ 137 h 315"/>
                <a:gd name="T18" fmla="*/ 180 w 229"/>
                <a:gd name="T19" fmla="*/ 151 h 315"/>
                <a:gd name="T20" fmla="*/ 48 w 229"/>
                <a:gd name="T21" fmla="*/ 151 h 315"/>
                <a:gd name="T22" fmla="*/ 34 w 229"/>
                <a:gd name="T23" fmla="*/ 137 h 315"/>
                <a:gd name="T24" fmla="*/ 38 w 229"/>
                <a:gd name="T25" fmla="*/ 89 h 315"/>
                <a:gd name="T26" fmla="*/ 52 w 229"/>
                <a:gd name="T27" fmla="*/ 75 h 315"/>
                <a:gd name="T28" fmla="*/ 83 w 229"/>
                <a:gd name="T29" fmla="*/ 43 h 315"/>
                <a:gd name="T30" fmla="*/ 145 w 229"/>
                <a:gd name="T31" fmla="*/ 43 h 315"/>
                <a:gd name="T32" fmla="*/ 151 w 229"/>
                <a:gd name="T33" fmla="*/ 49 h 315"/>
                <a:gd name="T34" fmla="*/ 151 w 229"/>
                <a:gd name="T35" fmla="*/ 59 h 315"/>
                <a:gd name="T36" fmla="*/ 145 w 229"/>
                <a:gd name="T37" fmla="*/ 65 h 315"/>
                <a:gd name="T38" fmla="*/ 83 w 229"/>
                <a:gd name="T39" fmla="*/ 65 h 315"/>
                <a:gd name="T40" fmla="*/ 77 w 229"/>
                <a:gd name="T41" fmla="*/ 59 h 315"/>
                <a:gd name="T42" fmla="*/ 77 w 229"/>
                <a:gd name="T43" fmla="*/ 49 h 315"/>
                <a:gd name="T44" fmla="*/ 83 w 229"/>
                <a:gd name="T45" fmla="*/ 43 h 315"/>
                <a:gd name="T46" fmla="*/ 46 w 229"/>
                <a:gd name="T47" fmla="*/ 33 h 315"/>
                <a:gd name="T48" fmla="*/ 182 w 229"/>
                <a:gd name="T49" fmla="*/ 33 h 315"/>
                <a:gd name="T50" fmla="*/ 212 w 229"/>
                <a:gd name="T51" fmla="*/ 63 h 315"/>
                <a:gd name="T52" fmla="*/ 227 w 229"/>
                <a:gd name="T53" fmla="*/ 249 h 315"/>
                <a:gd name="T54" fmla="*/ 198 w 229"/>
                <a:gd name="T55" fmla="*/ 278 h 315"/>
                <a:gd name="T56" fmla="*/ 30 w 229"/>
                <a:gd name="T57" fmla="*/ 278 h 315"/>
                <a:gd name="T58" fmla="*/ 1 w 229"/>
                <a:gd name="T59" fmla="*/ 249 h 315"/>
                <a:gd name="T60" fmla="*/ 16 w 229"/>
                <a:gd name="T61" fmla="*/ 63 h 315"/>
                <a:gd name="T62" fmla="*/ 46 w 229"/>
                <a:gd name="T63" fmla="*/ 33 h 315"/>
                <a:gd name="T64" fmla="*/ 185 w 229"/>
                <a:gd name="T65" fmla="*/ 216 h 315"/>
                <a:gd name="T66" fmla="*/ 201 w 229"/>
                <a:gd name="T67" fmla="*/ 233 h 315"/>
                <a:gd name="T68" fmla="*/ 185 w 229"/>
                <a:gd name="T69" fmla="*/ 249 h 315"/>
                <a:gd name="T70" fmla="*/ 168 w 229"/>
                <a:gd name="T71" fmla="*/ 233 h 315"/>
                <a:gd name="T72" fmla="*/ 185 w 229"/>
                <a:gd name="T73" fmla="*/ 216 h 315"/>
                <a:gd name="T74" fmla="*/ 44 w 229"/>
                <a:gd name="T75" fmla="*/ 216 h 315"/>
                <a:gd name="T76" fmla="*/ 60 w 229"/>
                <a:gd name="T77" fmla="*/ 233 h 315"/>
                <a:gd name="T78" fmla="*/ 44 w 229"/>
                <a:gd name="T79" fmla="*/ 249 h 315"/>
                <a:gd name="T80" fmla="*/ 27 w 229"/>
                <a:gd name="T81" fmla="*/ 233 h 315"/>
                <a:gd name="T82" fmla="*/ 44 w 229"/>
                <a:gd name="T83" fmla="*/ 216 h 315"/>
                <a:gd name="T84" fmla="*/ 80 w 229"/>
                <a:gd name="T85" fmla="*/ 0 h 315"/>
                <a:gd name="T86" fmla="*/ 93 w 229"/>
                <a:gd name="T87" fmla="*/ 0 h 315"/>
                <a:gd name="T88" fmla="*/ 93 w 229"/>
                <a:gd name="T89" fmla="*/ 26 h 315"/>
                <a:gd name="T90" fmla="*/ 80 w 229"/>
                <a:gd name="T91" fmla="*/ 26 h 315"/>
                <a:gd name="T92" fmla="*/ 80 w 229"/>
                <a:gd name="T93" fmla="*/ 0 h 315"/>
                <a:gd name="T94" fmla="*/ 135 w 229"/>
                <a:gd name="T95" fmla="*/ 0 h 315"/>
                <a:gd name="T96" fmla="*/ 148 w 229"/>
                <a:gd name="T97" fmla="*/ 0 h 315"/>
                <a:gd name="T98" fmla="*/ 148 w 229"/>
                <a:gd name="T99" fmla="*/ 26 h 315"/>
                <a:gd name="T100" fmla="*/ 135 w 229"/>
                <a:gd name="T101" fmla="*/ 26 h 315"/>
                <a:gd name="T102" fmla="*/ 135 w 229"/>
                <a:gd name="T103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9" h="315">
                  <a:moveTo>
                    <a:pt x="33" y="286"/>
                  </a:moveTo>
                  <a:cubicBezTo>
                    <a:pt x="195" y="286"/>
                    <a:pt x="195" y="286"/>
                    <a:pt x="195" y="286"/>
                  </a:cubicBezTo>
                  <a:cubicBezTo>
                    <a:pt x="209" y="315"/>
                    <a:pt x="209" y="315"/>
                    <a:pt x="209" y="315"/>
                  </a:cubicBezTo>
                  <a:cubicBezTo>
                    <a:pt x="19" y="315"/>
                    <a:pt x="19" y="315"/>
                    <a:pt x="19" y="315"/>
                  </a:cubicBezTo>
                  <a:cubicBezTo>
                    <a:pt x="33" y="286"/>
                    <a:pt x="33" y="286"/>
                    <a:pt x="33" y="286"/>
                  </a:cubicBezTo>
                  <a:close/>
                  <a:moveTo>
                    <a:pt x="52" y="75"/>
                  </a:moveTo>
                  <a:cubicBezTo>
                    <a:pt x="176" y="75"/>
                    <a:pt x="176" y="75"/>
                    <a:pt x="176" y="75"/>
                  </a:cubicBezTo>
                  <a:cubicBezTo>
                    <a:pt x="184" y="75"/>
                    <a:pt x="190" y="81"/>
                    <a:pt x="190" y="89"/>
                  </a:cubicBezTo>
                  <a:cubicBezTo>
                    <a:pt x="194" y="137"/>
                    <a:pt x="194" y="137"/>
                    <a:pt x="194" y="137"/>
                  </a:cubicBezTo>
                  <a:cubicBezTo>
                    <a:pt x="195" y="145"/>
                    <a:pt x="188" y="151"/>
                    <a:pt x="180" y="151"/>
                  </a:cubicBezTo>
                  <a:cubicBezTo>
                    <a:pt x="48" y="151"/>
                    <a:pt x="48" y="151"/>
                    <a:pt x="48" y="151"/>
                  </a:cubicBezTo>
                  <a:cubicBezTo>
                    <a:pt x="40" y="151"/>
                    <a:pt x="33" y="145"/>
                    <a:pt x="34" y="137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39" y="81"/>
                    <a:pt x="44" y="75"/>
                    <a:pt x="52" y="75"/>
                  </a:cubicBezTo>
                  <a:close/>
                  <a:moveTo>
                    <a:pt x="83" y="43"/>
                  </a:moveTo>
                  <a:cubicBezTo>
                    <a:pt x="145" y="43"/>
                    <a:pt x="145" y="43"/>
                    <a:pt x="145" y="43"/>
                  </a:cubicBezTo>
                  <a:cubicBezTo>
                    <a:pt x="149" y="43"/>
                    <a:pt x="151" y="46"/>
                    <a:pt x="151" y="49"/>
                  </a:cubicBezTo>
                  <a:cubicBezTo>
                    <a:pt x="151" y="59"/>
                    <a:pt x="151" y="59"/>
                    <a:pt x="151" y="59"/>
                  </a:cubicBezTo>
                  <a:cubicBezTo>
                    <a:pt x="151" y="63"/>
                    <a:pt x="149" y="65"/>
                    <a:pt x="145" y="65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80" y="65"/>
                    <a:pt x="77" y="63"/>
                    <a:pt x="77" y="59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6"/>
                    <a:pt x="80" y="43"/>
                    <a:pt x="83" y="43"/>
                  </a:cubicBezTo>
                  <a:close/>
                  <a:moveTo>
                    <a:pt x="46" y="33"/>
                  </a:moveTo>
                  <a:cubicBezTo>
                    <a:pt x="182" y="33"/>
                    <a:pt x="182" y="33"/>
                    <a:pt x="182" y="33"/>
                  </a:cubicBezTo>
                  <a:cubicBezTo>
                    <a:pt x="199" y="33"/>
                    <a:pt x="211" y="47"/>
                    <a:pt x="212" y="63"/>
                  </a:cubicBezTo>
                  <a:cubicBezTo>
                    <a:pt x="227" y="249"/>
                    <a:pt x="227" y="249"/>
                    <a:pt x="227" y="249"/>
                  </a:cubicBezTo>
                  <a:cubicBezTo>
                    <a:pt x="229" y="265"/>
                    <a:pt x="214" y="278"/>
                    <a:pt x="198" y="278"/>
                  </a:cubicBezTo>
                  <a:cubicBezTo>
                    <a:pt x="30" y="278"/>
                    <a:pt x="30" y="278"/>
                    <a:pt x="30" y="278"/>
                  </a:cubicBezTo>
                  <a:cubicBezTo>
                    <a:pt x="14" y="278"/>
                    <a:pt x="0" y="265"/>
                    <a:pt x="1" y="249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8" y="47"/>
                    <a:pt x="30" y="33"/>
                    <a:pt x="46" y="33"/>
                  </a:cubicBezTo>
                  <a:close/>
                  <a:moveTo>
                    <a:pt x="185" y="216"/>
                  </a:moveTo>
                  <a:cubicBezTo>
                    <a:pt x="194" y="216"/>
                    <a:pt x="201" y="223"/>
                    <a:pt x="201" y="233"/>
                  </a:cubicBezTo>
                  <a:cubicBezTo>
                    <a:pt x="201" y="242"/>
                    <a:pt x="194" y="249"/>
                    <a:pt x="185" y="249"/>
                  </a:cubicBezTo>
                  <a:cubicBezTo>
                    <a:pt x="176" y="249"/>
                    <a:pt x="168" y="242"/>
                    <a:pt x="168" y="233"/>
                  </a:cubicBezTo>
                  <a:cubicBezTo>
                    <a:pt x="168" y="223"/>
                    <a:pt x="176" y="216"/>
                    <a:pt x="185" y="216"/>
                  </a:cubicBezTo>
                  <a:close/>
                  <a:moveTo>
                    <a:pt x="44" y="216"/>
                  </a:moveTo>
                  <a:cubicBezTo>
                    <a:pt x="53" y="216"/>
                    <a:pt x="60" y="223"/>
                    <a:pt x="60" y="233"/>
                  </a:cubicBezTo>
                  <a:cubicBezTo>
                    <a:pt x="60" y="242"/>
                    <a:pt x="53" y="249"/>
                    <a:pt x="44" y="249"/>
                  </a:cubicBezTo>
                  <a:cubicBezTo>
                    <a:pt x="35" y="249"/>
                    <a:pt x="27" y="242"/>
                    <a:pt x="27" y="233"/>
                  </a:cubicBezTo>
                  <a:cubicBezTo>
                    <a:pt x="27" y="223"/>
                    <a:pt x="35" y="216"/>
                    <a:pt x="44" y="216"/>
                  </a:cubicBezTo>
                  <a:close/>
                  <a:moveTo>
                    <a:pt x="80" y="0"/>
                  </a:moveTo>
                  <a:cubicBezTo>
                    <a:pt x="93" y="0"/>
                    <a:pt x="93" y="0"/>
                    <a:pt x="93" y="0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0"/>
                    <a:pt x="80" y="0"/>
                    <a:pt x="80" y="0"/>
                  </a:cubicBezTo>
                  <a:close/>
                  <a:moveTo>
                    <a:pt x="135" y="0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148" y="26"/>
                    <a:pt x="148" y="26"/>
                    <a:pt x="148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0"/>
                    <a:pt x="135" y="0"/>
                    <a:pt x="135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4" name="Freeform 10"/>
            <p:cNvSpPr>
              <a:spLocks noEditPoints="1"/>
            </p:cNvSpPr>
            <p:nvPr/>
          </p:nvSpPr>
          <p:spPr bwMode="auto">
            <a:xfrm>
              <a:off x="-2284413" y="1468438"/>
              <a:ext cx="1185862" cy="420688"/>
            </a:xfrm>
            <a:custGeom>
              <a:avLst/>
              <a:gdLst>
                <a:gd name="T0" fmla="*/ 144 w 747"/>
                <a:gd name="T1" fmla="*/ 0 h 265"/>
                <a:gd name="T2" fmla="*/ 198 w 747"/>
                <a:gd name="T3" fmla="*/ 0 h 265"/>
                <a:gd name="T4" fmla="*/ 85 w 747"/>
                <a:gd name="T5" fmla="*/ 265 h 265"/>
                <a:gd name="T6" fmla="*/ 0 w 747"/>
                <a:gd name="T7" fmla="*/ 265 h 265"/>
                <a:gd name="T8" fmla="*/ 144 w 747"/>
                <a:gd name="T9" fmla="*/ 0 h 265"/>
                <a:gd name="T10" fmla="*/ 144 w 747"/>
                <a:gd name="T11" fmla="*/ 0 h 265"/>
                <a:gd name="T12" fmla="*/ 605 w 747"/>
                <a:gd name="T13" fmla="*/ 0 h 265"/>
                <a:gd name="T14" fmla="*/ 550 w 747"/>
                <a:gd name="T15" fmla="*/ 0 h 265"/>
                <a:gd name="T16" fmla="*/ 661 w 747"/>
                <a:gd name="T17" fmla="*/ 265 h 265"/>
                <a:gd name="T18" fmla="*/ 747 w 747"/>
                <a:gd name="T19" fmla="*/ 265 h 265"/>
                <a:gd name="T20" fmla="*/ 605 w 747"/>
                <a:gd name="T21" fmla="*/ 0 h 265"/>
                <a:gd name="T22" fmla="*/ 605 w 747"/>
                <a:gd name="T23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7" h="265">
                  <a:moveTo>
                    <a:pt x="144" y="0"/>
                  </a:moveTo>
                  <a:lnTo>
                    <a:pt x="198" y="0"/>
                  </a:lnTo>
                  <a:lnTo>
                    <a:pt x="85" y="265"/>
                  </a:lnTo>
                  <a:lnTo>
                    <a:pt x="0" y="265"/>
                  </a:lnTo>
                  <a:lnTo>
                    <a:pt x="144" y="0"/>
                  </a:lnTo>
                  <a:lnTo>
                    <a:pt x="144" y="0"/>
                  </a:lnTo>
                  <a:close/>
                  <a:moveTo>
                    <a:pt x="605" y="0"/>
                  </a:moveTo>
                  <a:lnTo>
                    <a:pt x="550" y="0"/>
                  </a:lnTo>
                  <a:lnTo>
                    <a:pt x="661" y="265"/>
                  </a:lnTo>
                  <a:lnTo>
                    <a:pt x="747" y="265"/>
                  </a:lnTo>
                  <a:lnTo>
                    <a:pt x="605" y="0"/>
                  </a:lnTo>
                  <a:lnTo>
                    <a:pt x="60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25" name="Group 164"/>
          <p:cNvGrpSpPr/>
          <p:nvPr>
            <p:custDataLst>
              <p:tags r:id="rId41"/>
            </p:custDataLst>
          </p:nvPr>
        </p:nvGrpSpPr>
        <p:grpSpPr>
          <a:xfrm>
            <a:off x="4285673" y="3055193"/>
            <a:ext cx="229122" cy="155492"/>
            <a:chOff x="-1341438" y="968375"/>
            <a:chExt cx="795338" cy="539751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66" name="Freeform 38"/>
            <p:cNvSpPr>
              <a:spLocks/>
            </p:cNvSpPr>
            <p:nvPr/>
          </p:nvSpPr>
          <p:spPr bwMode="auto">
            <a:xfrm>
              <a:off x="-1341438" y="1392238"/>
              <a:ext cx="795338" cy="115888"/>
            </a:xfrm>
            <a:custGeom>
              <a:avLst/>
              <a:gdLst>
                <a:gd name="T0" fmla="*/ 0 w 212"/>
                <a:gd name="T1" fmla="*/ 17 h 31"/>
                <a:gd name="T2" fmla="*/ 14 w 212"/>
                <a:gd name="T3" fmla="*/ 31 h 31"/>
                <a:gd name="T4" fmla="*/ 197 w 212"/>
                <a:gd name="T5" fmla="*/ 31 h 31"/>
                <a:gd name="T6" fmla="*/ 212 w 212"/>
                <a:gd name="T7" fmla="*/ 17 h 31"/>
                <a:gd name="T8" fmla="*/ 212 w 212"/>
                <a:gd name="T9" fmla="*/ 0 h 31"/>
                <a:gd name="T10" fmla="*/ 0 w 212"/>
                <a:gd name="T11" fmla="*/ 0 h 31"/>
                <a:gd name="T12" fmla="*/ 0 w 212"/>
                <a:gd name="T13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2" h="31">
                  <a:moveTo>
                    <a:pt x="0" y="17"/>
                  </a:moveTo>
                  <a:cubicBezTo>
                    <a:pt x="0" y="25"/>
                    <a:pt x="6" y="31"/>
                    <a:pt x="14" y="31"/>
                  </a:cubicBezTo>
                  <a:cubicBezTo>
                    <a:pt x="197" y="31"/>
                    <a:pt x="197" y="31"/>
                    <a:pt x="197" y="31"/>
                  </a:cubicBezTo>
                  <a:cubicBezTo>
                    <a:pt x="205" y="31"/>
                    <a:pt x="212" y="25"/>
                    <a:pt x="212" y="17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7" name="Rectangle 39"/>
            <p:cNvSpPr>
              <a:spLocks noChangeArrowheads="1"/>
            </p:cNvSpPr>
            <p:nvPr/>
          </p:nvSpPr>
          <p:spPr bwMode="auto">
            <a:xfrm>
              <a:off x="-1341438" y="1235075"/>
              <a:ext cx="795338" cy="12700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8" name="Freeform 40"/>
            <p:cNvSpPr>
              <a:spLocks noEditPoints="1"/>
            </p:cNvSpPr>
            <p:nvPr/>
          </p:nvSpPr>
          <p:spPr bwMode="auto">
            <a:xfrm>
              <a:off x="-1341438" y="968375"/>
              <a:ext cx="795338" cy="236538"/>
            </a:xfrm>
            <a:custGeom>
              <a:avLst/>
              <a:gdLst>
                <a:gd name="T0" fmla="*/ 197 w 212"/>
                <a:gd name="T1" fmla="*/ 0 h 63"/>
                <a:gd name="T2" fmla="*/ 14 w 212"/>
                <a:gd name="T3" fmla="*/ 0 h 63"/>
                <a:gd name="T4" fmla="*/ 0 w 212"/>
                <a:gd name="T5" fmla="*/ 14 h 63"/>
                <a:gd name="T6" fmla="*/ 0 w 212"/>
                <a:gd name="T7" fmla="*/ 63 h 63"/>
                <a:gd name="T8" fmla="*/ 212 w 212"/>
                <a:gd name="T9" fmla="*/ 63 h 63"/>
                <a:gd name="T10" fmla="*/ 212 w 212"/>
                <a:gd name="T11" fmla="*/ 14 h 63"/>
                <a:gd name="T12" fmla="*/ 197 w 212"/>
                <a:gd name="T13" fmla="*/ 0 h 63"/>
                <a:gd name="T14" fmla="*/ 26 w 212"/>
                <a:gd name="T15" fmla="*/ 14 h 63"/>
                <a:gd name="T16" fmla="*/ 87 w 212"/>
                <a:gd name="T17" fmla="*/ 14 h 63"/>
                <a:gd name="T18" fmla="*/ 87 w 212"/>
                <a:gd name="T19" fmla="*/ 25 h 63"/>
                <a:gd name="T20" fmla="*/ 26 w 212"/>
                <a:gd name="T21" fmla="*/ 25 h 63"/>
                <a:gd name="T22" fmla="*/ 26 w 212"/>
                <a:gd name="T23" fmla="*/ 14 h 63"/>
                <a:gd name="T24" fmla="*/ 26 w 212"/>
                <a:gd name="T25" fmla="*/ 28 h 63"/>
                <a:gd name="T26" fmla="*/ 97 w 212"/>
                <a:gd name="T27" fmla="*/ 28 h 63"/>
                <a:gd name="T28" fmla="*/ 97 w 212"/>
                <a:gd name="T29" fmla="*/ 39 h 63"/>
                <a:gd name="T30" fmla="*/ 26 w 212"/>
                <a:gd name="T31" fmla="*/ 39 h 63"/>
                <a:gd name="T32" fmla="*/ 26 w 212"/>
                <a:gd name="T33" fmla="*/ 28 h 63"/>
                <a:gd name="T34" fmla="*/ 102 w 212"/>
                <a:gd name="T35" fmla="*/ 54 h 63"/>
                <a:gd name="T36" fmla="*/ 26 w 212"/>
                <a:gd name="T37" fmla="*/ 54 h 63"/>
                <a:gd name="T38" fmla="*/ 26 w 212"/>
                <a:gd name="T39" fmla="*/ 43 h 63"/>
                <a:gd name="T40" fmla="*/ 102 w 212"/>
                <a:gd name="T41" fmla="*/ 43 h 63"/>
                <a:gd name="T42" fmla="*/ 102 w 212"/>
                <a:gd name="T43" fmla="*/ 5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2" h="63">
                  <a:moveTo>
                    <a:pt x="197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2" y="14"/>
                    <a:pt x="212" y="14"/>
                    <a:pt x="212" y="14"/>
                  </a:cubicBezTo>
                  <a:cubicBezTo>
                    <a:pt x="212" y="6"/>
                    <a:pt x="205" y="0"/>
                    <a:pt x="197" y="0"/>
                  </a:cubicBezTo>
                  <a:close/>
                  <a:moveTo>
                    <a:pt x="26" y="14"/>
                  </a:moveTo>
                  <a:cubicBezTo>
                    <a:pt x="87" y="14"/>
                    <a:pt x="87" y="14"/>
                    <a:pt x="87" y="14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26" y="25"/>
                    <a:pt x="26" y="25"/>
                    <a:pt x="26" y="25"/>
                  </a:cubicBezTo>
                  <a:lnTo>
                    <a:pt x="26" y="14"/>
                  </a:lnTo>
                  <a:close/>
                  <a:moveTo>
                    <a:pt x="26" y="28"/>
                  </a:moveTo>
                  <a:cubicBezTo>
                    <a:pt x="97" y="28"/>
                    <a:pt x="97" y="28"/>
                    <a:pt x="97" y="28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26" y="39"/>
                    <a:pt x="26" y="39"/>
                    <a:pt x="26" y="39"/>
                  </a:cubicBezTo>
                  <a:lnTo>
                    <a:pt x="26" y="28"/>
                  </a:lnTo>
                  <a:close/>
                  <a:moveTo>
                    <a:pt x="102" y="54"/>
                  </a:moveTo>
                  <a:cubicBezTo>
                    <a:pt x="26" y="54"/>
                    <a:pt x="26" y="54"/>
                    <a:pt x="26" y="54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102" y="43"/>
                    <a:pt x="102" y="43"/>
                    <a:pt x="102" y="43"/>
                  </a:cubicBezTo>
                  <a:lnTo>
                    <a:pt x="102" y="5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26" name="Group 168"/>
          <p:cNvGrpSpPr/>
          <p:nvPr>
            <p:custDataLst>
              <p:tags r:id="rId42"/>
            </p:custDataLst>
          </p:nvPr>
        </p:nvGrpSpPr>
        <p:grpSpPr>
          <a:xfrm flipH="1">
            <a:off x="4156606" y="3307425"/>
            <a:ext cx="286880" cy="182826"/>
            <a:chOff x="-5124450" y="3267075"/>
            <a:chExt cx="936625" cy="596901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70" name="Oval 27"/>
            <p:cNvSpPr>
              <a:spLocks noChangeArrowheads="1"/>
            </p:cNvSpPr>
            <p:nvPr/>
          </p:nvSpPr>
          <p:spPr bwMode="auto">
            <a:xfrm>
              <a:off x="-4978400" y="3671888"/>
              <a:ext cx="187325" cy="192088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71" name="Oval 28"/>
            <p:cNvSpPr>
              <a:spLocks noChangeArrowheads="1"/>
            </p:cNvSpPr>
            <p:nvPr/>
          </p:nvSpPr>
          <p:spPr bwMode="auto">
            <a:xfrm>
              <a:off x="-4494213" y="3671888"/>
              <a:ext cx="187325" cy="192088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72" name="Freeform 29"/>
            <p:cNvSpPr>
              <a:spLocks noEditPoints="1"/>
            </p:cNvSpPr>
            <p:nvPr/>
          </p:nvSpPr>
          <p:spPr bwMode="auto">
            <a:xfrm>
              <a:off x="-5124450" y="3267075"/>
              <a:ext cx="936625" cy="533400"/>
            </a:xfrm>
            <a:custGeom>
              <a:avLst/>
              <a:gdLst>
                <a:gd name="T0" fmla="*/ 203 w 250"/>
                <a:gd name="T1" fmla="*/ 69 h 142"/>
                <a:gd name="T2" fmla="*/ 203 w 250"/>
                <a:gd name="T3" fmla="*/ 66 h 142"/>
                <a:gd name="T4" fmla="*/ 130 w 250"/>
                <a:gd name="T5" fmla="*/ 0 h 142"/>
                <a:gd name="T6" fmla="*/ 96 w 250"/>
                <a:gd name="T7" fmla="*/ 0 h 142"/>
                <a:gd name="T8" fmla="*/ 34 w 250"/>
                <a:gd name="T9" fmla="*/ 39 h 142"/>
                <a:gd name="T10" fmla="*/ 32 w 250"/>
                <a:gd name="T11" fmla="*/ 53 h 142"/>
                <a:gd name="T12" fmla="*/ 0 w 250"/>
                <a:gd name="T13" fmla="*/ 105 h 142"/>
                <a:gd name="T14" fmla="*/ 0 w 250"/>
                <a:gd name="T15" fmla="*/ 105 h 142"/>
                <a:gd name="T16" fmla="*/ 33 w 250"/>
                <a:gd name="T17" fmla="*/ 140 h 142"/>
                <a:gd name="T18" fmla="*/ 32 w 250"/>
                <a:gd name="T19" fmla="*/ 133 h 142"/>
                <a:gd name="T20" fmla="*/ 64 w 250"/>
                <a:gd name="T21" fmla="*/ 100 h 142"/>
                <a:gd name="T22" fmla="*/ 96 w 250"/>
                <a:gd name="T23" fmla="*/ 133 h 142"/>
                <a:gd name="T24" fmla="*/ 95 w 250"/>
                <a:gd name="T25" fmla="*/ 142 h 142"/>
                <a:gd name="T26" fmla="*/ 162 w 250"/>
                <a:gd name="T27" fmla="*/ 142 h 142"/>
                <a:gd name="T28" fmla="*/ 160 w 250"/>
                <a:gd name="T29" fmla="*/ 133 h 142"/>
                <a:gd name="T30" fmla="*/ 193 w 250"/>
                <a:gd name="T31" fmla="*/ 100 h 142"/>
                <a:gd name="T32" fmla="*/ 225 w 250"/>
                <a:gd name="T33" fmla="*/ 133 h 142"/>
                <a:gd name="T34" fmla="*/ 224 w 250"/>
                <a:gd name="T35" fmla="*/ 137 h 142"/>
                <a:gd name="T36" fmla="*/ 250 w 250"/>
                <a:gd name="T37" fmla="*/ 105 h 142"/>
                <a:gd name="T38" fmla="*/ 250 w 250"/>
                <a:gd name="T39" fmla="*/ 105 h 142"/>
                <a:gd name="T40" fmla="*/ 203 w 250"/>
                <a:gd name="T41" fmla="*/ 69 h 142"/>
                <a:gd name="T42" fmla="*/ 182 w 250"/>
                <a:gd name="T43" fmla="*/ 68 h 142"/>
                <a:gd name="T44" fmla="*/ 69 w 250"/>
                <a:gd name="T45" fmla="*/ 68 h 142"/>
                <a:gd name="T46" fmla="*/ 69 w 250"/>
                <a:gd name="T47" fmla="*/ 48 h 142"/>
                <a:gd name="T48" fmla="*/ 106 w 250"/>
                <a:gd name="T49" fmla="*/ 11 h 142"/>
                <a:gd name="T50" fmla="*/ 129 w 250"/>
                <a:gd name="T51" fmla="*/ 11 h 142"/>
                <a:gd name="T52" fmla="*/ 182 w 250"/>
                <a:gd name="T53" fmla="*/ 58 h 142"/>
                <a:gd name="T54" fmla="*/ 182 w 250"/>
                <a:gd name="T55" fmla="*/ 6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0" h="142">
                  <a:moveTo>
                    <a:pt x="203" y="69"/>
                  </a:moveTo>
                  <a:cubicBezTo>
                    <a:pt x="203" y="66"/>
                    <a:pt x="203" y="66"/>
                    <a:pt x="203" y="66"/>
                  </a:cubicBezTo>
                  <a:cubicBezTo>
                    <a:pt x="203" y="37"/>
                    <a:pt x="158" y="0"/>
                    <a:pt x="13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67" y="0"/>
                    <a:pt x="34" y="11"/>
                    <a:pt x="34" y="39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6" y="54"/>
                    <a:pt x="0" y="85"/>
                    <a:pt x="0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21"/>
                    <a:pt x="14" y="135"/>
                    <a:pt x="33" y="140"/>
                  </a:cubicBezTo>
                  <a:cubicBezTo>
                    <a:pt x="32" y="137"/>
                    <a:pt x="32" y="135"/>
                    <a:pt x="32" y="133"/>
                  </a:cubicBezTo>
                  <a:cubicBezTo>
                    <a:pt x="32" y="115"/>
                    <a:pt x="46" y="100"/>
                    <a:pt x="64" y="100"/>
                  </a:cubicBezTo>
                  <a:cubicBezTo>
                    <a:pt x="82" y="100"/>
                    <a:pt x="96" y="115"/>
                    <a:pt x="96" y="133"/>
                  </a:cubicBezTo>
                  <a:cubicBezTo>
                    <a:pt x="96" y="136"/>
                    <a:pt x="96" y="139"/>
                    <a:pt x="95" y="142"/>
                  </a:cubicBezTo>
                  <a:cubicBezTo>
                    <a:pt x="162" y="142"/>
                    <a:pt x="162" y="142"/>
                    <a:pt x="162" y="142"/>
                  </a:cubicBezTo>
                  <a:cubicBezTo>
                    <a:pt x="161" y="139"/>
                    <a:pt x="160" y="136"/>
                    <a:pt x="160" y="133"/>
                  </a:cubicBezTo>
                  <a:cubicBezTo>
                    <a:pt x="160" y="115"/>
                    <a:pt x="175" y="100"/>
                    <a:pt x="193" y="100"/>
                  </a:cubicBezTo>
                  <a:cubicBezTo>
                    <a:pt x="210" y="100"/>
                    <a:pt x="225" y="115"/>
                    <a:pt x="225" y="133"/>
                  </a:cubicBezTo>
                  <a:cubicBezTo>
                    <a:pt x="225" y="134"/>
                    <a:pt x="225" y="136"/>
                    <a:pt x="224" y="137"/>
                  </a:cubicBezTo>
                  <a:cubicBezTo>
                    <a:pt x="240" y="131"/>
                    <a:pt x="250" y="119"/>
                    <a:pt x="250" y="105"/>
                  </a:cubicBezTo>
                  <a:cubicBezTo>
                    <a:pt x="250" y="105"/>
                    <a:pt x="250" y="105"/>
                    <a:pt x="250" y="105"/>
                  </a:cubicBezTo>
                  <a:cubicBezTo>
                    <a:pt x="250" y="85"/>
                    <a:pt x="229" y="69"/>
                    <a:pt x="203" y="69"/>
                  </a:cubicBezTo>
                  <a:close/>
                  <a:moveTo>
                    <a:pt x="182" y="68"/>
                  </a:moveTo>
                  <a:cubicBezTo>
                    <a:pt x="69" y="68"/>
                    <a:pt x="69" y="68"/>
                    <a:pt x="69" y="6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28"/>
                    <a:pt x="86" y="11"/>
                    <a:pt x="106" y="11"/>
                  </a:cubicBezTo>
                  <a:cubicBezTo>
                    <a:pt x="129" y="11"/>
                    <a:pt x="129" y="11"/>
                    <a:pt x="129" y="11"/>
                  </a:cubicBezTo>
                  <a:cubicBezTo>
                    <a:pt x="149" y="11"/>
                    <a:pt x="182" y="37"/>
                    <a:pt x="182" y="58"/>
                  </a:cubicBezTo>
                  <a:lnTo>
                    <a:pt x="182" y="6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27" name="Group 172"/>
          <p:cNvGrpSpPr/>
          <p:nvPr>
            <p:custDataLst>
              <p:tags r:id="rId43"/>
            </p:custDataLst>
          </p:nvPr>
        </p:nvGrpSpPr>
        <p:grpSpPr>
          <a:xfrm rot="16200000">
            <a:off x="4394772" y="2155386"/>
            <a:ext cx="357766" cy="199891"/>
            <a:chOff x="-3778250" y="3316288"/>
            <a:chExt cx="892175" cy="498475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74" name="Freeform 34"/>
            <p:cNvSpPr>
              <a:spLocks noEditPoints="1"/>
            </p:cNvSpPr>
            <p:nvPr/>
          </p:nvSpPr>
          <p:spPr bwMode="auto">
            <a:xfrm>
              <a:off x="-3554413" y="3319463"/>
              <a:ext cx="487363" cy="492125"/>
            </a:xfrm>
            <a:custGeom>
              <a:avLst/>
              <a:gdLst>
                <a:gd name="T0" fmla="*/ 65 w 130"/>
                <a:gd name="T1" fmla="*/ 0 h 131"/>
                <a:gd name="T2" fmla="*/ 0 w 130"/>
                <a:gd name="T3" fmla="*/ 66 h 131"/>
                <a:gd name="T4" fmla="*/ 65 w 130"/>
                <a:gd name="T5" fmla="*/ 131 h 131"/>
                <a:gd name="T6" fmla="*/ 130 w 130"/>
                <a:gd name="T7" fmla="*/ 66 h 131"/>
                <a:gd name="T8" fmla="*/ 65 w 130"/>
                <a:gd name="T9" fmla="*/ 0 h 131"/>
                <a:gd name="T10" fmla="*/ 65 w 130"/>
                <a:gd name="T11" fmla="*/ 117 h 131"/>
                <a:gd name="T12" fmla="*/ 13 w 130"/>
                <a:gd name="T13" fmla="*/ 66 h 131"/>
                <a:gd name="T14" fmla="*/ 65 w 130"/>
                <a:gd name="T15" fmla="*/ 14 h 131"/>
                <a:gd name="T16" fmla="*/ 116 w 130"/>
                <a:gd name="T17" fmla="*/ 66 h 131"/>
                <a:gd name="T18" fmla="*/ 65 w 130"/>
                <a:gd name="T19" fmla="*/ 11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31">
                  <a:moveTo>
                    <a:pt x="65" y="0"/>
                  </a:moveTo>
                  <a:cubicBezTo>
                    <a:pt x="29" y="0"/>
                    <a:pt x="0" y="30"/>
                    <a:pt x="0" y="66"/>
                  </a:cubicBezTo>
                  <a:cubicBezTo>
                    <a:pt x="0" y="101"/>
                    <a:pt x="29" y="131"/>
                    <a:pt x="65" y="131"/>
                  </a:cubicBezTo>
                  <a:cubicBezTo>
                    <a:pt x="101" y="131"/>
                    <a:pt x="130" y="101"/>
                    <a:pt x="130" y="66"/>
                  </a:cubicBezTo>
                  <a:cubicBezTo>
                    <a:pt x="130" y="30"/>
                    <a:pt x="101" y="0"/>
                    <a:pt x="65" y="0"/>
                  </a:cubicBezTo>
                  <a:close/>
                  <a:moveTo>
                    <a:pt x="65" y="117"/>
                  </a:moveTo>
                  <a:cubicBezTo>
                    <a:pt x="36" y="117"/>
                    <a:pt x="13" y="94"/>
                    <a:pt x="13" y="66"/>
                  </a:cubicBezTo>
                  <a:cubicBezTo>
                    <a:pt x="13" y="37"/>
                    <a:pt x="36" y="14"/>
                    <a:pt x="65" y="14"/>
                  </a:cubicBezTo>
                  <a:cubicBezTo>
                    <a:pt x="93" y="14"/>
                    <a:pt x="116" y="37"/>
                    <a:pt x="116" y="66"/>
                  </a:cubicBezTo>
                  <a:cubicBezTo>
                    <a:pt x="116" y="94"/>
                    <a:pt x="93" y="117"/>
                    <a:pt x="65" y="11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75" name="Oval 35"/>
            <p:cNvSpPr>
              <a:spLocks noChangeArrowheads="1"/>
            </p:cNvSpPr>
            <p:nvPr/>
          </p:nvSpPr>
          <p:spPr bwMode="auto">
            <a:xfrm>
              <a:off x="-3467100" y="3409950"/>
              <a:ext cx="311150" cy="311150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76" name="Freeform 36"/>
            <p:cNvSpPr>
              <a:spLocks/>
            </p:cNvSpPr>
            <p:nvPr/>
          </p:nvSpPr>
          <p:spPr bwMode="auto">
            <a:xfrm>
              <a:off x="-3778250" y="3316288"/>
              <a:ext cx="168275" cy="498475"/>
            </a:xfrm>
            <a:custGeom>
              <a:avLst/>
              <a:gdLst>
                <a:gd name="T0" fmla="*/ 45 w 45"/>
                <a:gd name="T1" fmla="*/ 33 h 133"/>
                <a:gd name="T2" fmla="*/ 22 w 45"/>
                <a:gd name="T3" fmla="*/ 0 h 133"/>
                <a:gd name="T4" fmla="*/ 0 w 45"/>
                <a:gd name="T5" fmla="*/ 33 h 133"/>
                <a:gd name="T6" fmla="*/ 16 w 45"/>
                <a:gd name="T7" fmla="*/ 57 h 133"/>
                <a:gd name="T8" fmla="*/ 14 w 45"/>
                <a:gd name="T9" fmla="*/ 133 h 133"/>
                <a:gd name="T10" fmla="*/ 31 w 45"/>
                <a:gd name="T11" fmla="*/ 133 h 133"/>
                <a:gd name="T12" fmla="*/ 28 w 45"/>
                <a:gd name="T13" fmla="*/ 57 h 133"/>
                <a:gd name="T14" fmla="*/ 45 w 45"/>
                <a:gd name="T15" fmla="*/ 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133">
                  <a:moveTo>
                    <a:pt x="45" y="33"/>
                  </a:moveTo>
                  <a:cubicBezTo>
                    <a:pt x="45" y="17"/>
                    <a:pt x="35" y="0"/>
                    <a:pt x="22" y="0"/>
                  </a:cubicBezTo>
                  <a:cubicBezTo>
                    <a:pt x="10" y="0"/>
                    <a:pt x="0" y="17"/>
                    <a:pt x="0" y="33"/>
                  </a:cubicBezTo>
                  <a:cubicBezTo>
                    <a:pt x="0" y="46"/>
                    <a:pt x="7" y="55"/>
                    <a:pt x="16" y="57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38" y="55"/>
                    <a:pt x="45" y="46"/>
                    <a:pt x="45" y="3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77" name="Freeform 37"/>
            <p:cNvSpPr>
              <a:spLocks/>
            </p:cNvSpPr>
            <p:nvPr/>
          </p:nvSpPr>
          <p:spPr bwMode="auto">
            <a:xfrm>
              <a:off x="-3036888" y="3319463"/>
              <a:ext cx="150813" cy="492125"/>
            </a:xfrm>
            <a:custGeom>
              <a:avLst/>
              <a:gdLst>
                <a:gd name="T0" fmla="*/ 40 w 40"/>
                <a:gd name="T1" fmla="*/ 39 h 131"/>
                <a:gd name="T2" fmla="*/ 37 w 40"/>
                <a:gd name="T3" fmla="*/ 15 h 131"/>
                <a:gd name="T4" fmla="*/ 31 w 40"/>
                <a:gd name="T5" fmla="*/ 1 h 131"/>
                <a:gd name="T6" fmla="*/ 31 w 40"/>
                <a:gd name="T7" fmla="*/ 31 h 131"/>
                <a:gd name="T8" fmla="*/ 27 w 40"/>
                <a:gd name="T9" fmla="*/ 31 h 131"/>
                <a:gd name="T10" fmla="*/ 27 w 40"/>
                <a:gd name="T11" fmla="*/ 0 h 131"/>
                <a:gd name="T12" fmla="*/ 22 w 40"/>
                <a:gd name="T13" fmla="*/ 0 h 131"/>
                <a:gd name="T14" fmla="*/ 22 w 40"/>
                <a:gd name="T15" fmla="*/ 31 h 131"/>
                <a:gd name="T16" fmla="*/ 21 w 40"/>
                <a:gd name="T17" fmla="*/ 31 h 131"/>
                <a:gd name="T18" fmla="*/ 21 w 40"/>
                <a:gd name="T19" fmla="*/ 31 h 131"/>
                <a:gd name="T20" fmla="*/ 17 w 40"/>
                <a:gd name="T21" fmla="*/ 31 h 131"/>
                <a:gd name="T22" fmla="*/ 17 w 40"/>
                <a:gd name="T23" fmla="*/ 0 h 131"/>
                <a:gd name="T24" fmla="*/ 13 w 40"/>
                <a:gd name="T25" fmla="*/ 0 h 131"/>
                <a:gd name="T26" fmla="*/ 13 w 40"/>
                <a:gd name="T27" fmla="*/ 31 h 131"/>
                <a:gd name="T28" fmla="*/ 8 w 40"/>
                <a:gd name="T29" fmla="*/ 31 h 131"/>
                <a:gd name="T30" fmla="*/ 8 w 40"/>
                <a:gd name="T31" fmla="*/ 1 h 131"/>
                <a:gd name="T32" fmla="*/ 2 w 40"/>
                <a:gd name="T33" fmla="*/ 15 h 131"/>
                <a:gd name="T34" fmla="*/ 0 w 40"/>
                <a:gd name="T35" fmla="*/ 39 h 131"/>
                <a:gd name="T36" fmla="*/ 14 w 40"/>
                <a:gd name="T37" fmla="*/ 56 h 131"/>
                <a:gd name="T38" fmla="*/ 11 w 40"/>
                <a:gd name="T39" fmla="*/ 131 h 131"/>
                <a:gd name="T40" fmla="*/ 28 w 40"/>
                <a:gd name="T41" fmla="*/ 131 h 131"/>
                <a:gd name="T42" fmla="*/ 26 w 40"/>
                <a:gd name="T43" fmla="*/ 56 h 131"/>
                <a:gd name="T44" fmla="*/ 40 w 40"/>
                <a:gd name="T45" fmla="*/ 3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131">
                  <a:moveTo>
                    <a:pt x="40" y="39"/>
                  </a:moveTo>
                  <a:cubicBezTo>
                    <a:pt x="37" y="15"/>
                    <a:pt x="37" y="15"/>
                    <a:pt x="37" y="15"/>
                  </a:cubicBezTo>
                  <a:cubicBezTo>
                    <a:pt x="37" y="10"/>
                    <a:pt x="35" y="4"/>
                    <a:pt x="31" y="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4" y="0"/>
                    <a:pt x="22" y="0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0"/>
                    <a:pt x="13" y="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4"/>
                    <a:pt x="2" y="10"/>
                    <a:pt x="2" y="1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7"/>
                    <a:pt x="5" y="54"/>
                    <a:pt x="14" y="56"/>
                  </a:cubicBezTo>
                  <a:cubicBezTo>
                    <a:pt x="11" y="131"/>
                    <a:pt x="11" y="131"/>
                    <a:pt x="11" y="131"/>
                  </a:cubicBezTo>
                  <a:cubicBezTo>
                    <a:pt x="28" y="131"/>
                    <a:pt x="28" y="131"/>
                    <a:pt x="28" y="131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34" y="54"/>
                    <a:pt x="40" y="47"/>
                    <a:pt x="40" y="3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78" name="Freeform 17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376488" y="760413"/>
            <a:ext cx="490537" cy="576262"/>
          </a:xfrm>
          <a:custGeom>
            <a:avLst/>
            <a:gdLst>
              <a:gd name="T0" fmla="*/ 461 w 503"/>
              <a:gd name="T1" fmla="*/ 304 h 591"/>
              <a:gd name="T2" fmla="*/ 503 w 503"/>
              <a:gd name="T3" fmla="*/ 267 h 591"/>
              <a:gd name="T4" fmla="*/ 461 w 503"/>
              <a:gd name="T5" fmla="*/ 230 h 591"/>
              <a:gd name="T6" fmla="*/ 278 w 503"/>
              <a:gd name="T7" fmla="*/ 230 h 591"/>
              <a:gd name="T8" fmla="*/ 278 w 503"/>
              <a:gd name="T9" fmla="*/ 109 h 591"/>
              <a:gd name="T10" fmla="*/ 385 w 503"/>
              <a:gd name="T11" fmla="*/ 109 h 591"/>
              <a:gd name="T12" fmla="*/ 410 w 503"/>
              <a:gd name="T13" fmla="*/ 73 h 591"/>
              <a:gd name="T14" fmla="*/ 385 w 503"/>
              <a:gd name="T15" fmla="*/ 36 h 591"/>
              <a:gd name="T16" fmla="*/ 278 w 503"/>
              <a:gd name="T17" fmla="*/ 36 h 591"/>
              <a:gd name="T18" fmla="*/ 278 w 503"/>
              <a:gd name="T19" fmla="*/ 22 h 591"/>
              <a:gd name="T20" fmla="*/ 261 w 503"/>
              <a:gd name="T21" fmla="*/ 0 h 591"/>
              <a:gd name="T22" fmla="*/ 244 w 503"/>
              <a:gd name="T23" fmla="*/ 22 h 591"/>
              <a:gd name="T24" fmla="*/ 244 w 503"/>
              <a:gd name="T25" fmla="*/ 109 h 591"/>
              <a:gd name="T26" fmla="*/ 46 w 503"/>
              <a:gd name="T27" fmla="*/ 109 h 591"/>
              <a:gd name="T28" fmla="*/ 0 w 503"/>
              <a:gd name="T29" fmla="*/ 146 h 591"/>
              <a:gd name="T30" fmla="*/ 46 w 503"/>
              <a:gd name="T31" fmla="*/ 183 h 591"/>
              <a:gd name="T32" fmla="*/ 244 w 503"/>
              <a:gd name="T33" fmla="*/ 183 h 591"/>
              <a:gd name="T34" fmla="*/ 244 w 503"/>
              <a:gd name="T35" fmla="*/ 516 h 591"/>
              <a:gd name="T36" fmla="*/ 224 w 503"/>
              <a:gd name="T37" fmla="*/ 516 h 591"/>
              <a:gd name="T38" fmla="*/ 204 w 503"/>
              <a:gd name="T39" fmla="*/ 537 h 591"/>
              <a:gd name="T40" fmla="*/ 206 w 503"/>
              <a:gd name="T41" fmla="*/ 547 h 591"/>
              <a:gd name="T42" fmla="*/ 181 w 503"/>
              <a:gd name="T43" fmla="*/ 569 h 591"/>
              <a:gd name="T44" fmla="*/ 209 w 503"/>
              <a:gd name="T45" fmla="*/ 591 h 591"/>
              <a:gd name="T46" fmla="*/ 314 w 503"/>
              <a:gd name="T47" fmla="*/ 591 h 591"/>
              <a:gd name="T48" fmla="*/ 342 w 503"/>
              <a:gd name="T49" fmla="*/ 569 h 591"/>
              <a:gd name="T50" fmla="*/ 319 w 503"/>
              <a:gd name="T51" fmla="*/ 547 h 591"/>
              <a:gd name="T52" fmla="*/ 321 w 503"/>
              <a:gd name="T53" fmla="*/ 537 h 591"/>
              <a:gd name="T54" fmla="*/ 300 w 503"/>
              <a:gd name="T55" fmla="*/ 516 h 591"/>
              <a:gd name="T56" fmla="*/ 278 w 503"/>
              <a:gd name="T57" fmla="*/ 516 h 591"/>
              <a:gd name="T58" fmla="*/ 278 w 503"/>
              <a:gd name="T59" fmla="*/ 304 h 591"/>
              <a:gd name="T60" fmla="*/ 461 w 503"/>
              <a:gd name="T61" fmla="*/ 304 h 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03" h="591">
                <a:moveTo>
                  <a:pt x="461" y="304"/>
                </a:moveTo>
                <a:cubicBezTo>
                  <a:pt x="503" y="267"/>
                  <a:pt x="503" y="267"/>
                  <a:pt x="503" y="267"/>
                </a:cubicBezTo>
                <a:cubicBezTo>
                  <a:pt x="461" y="230"/>
                  <a:pt x="461" y="230"/>
                  <a:pt x="461" y="230"/>
                </a:cubicBezTo>
                <a:cubicBezTo>
                  <a:pt x="278" y="230"/>
                  <a:pt x="278" y="230"/>
                  <a:pt x="278" y="230"/>
                </a:cubicBezTo>
                <a:cubicBezTo>
                  <a:pt x="278" y="109"/>
                  <a:pt x="278" y="109"/>
                  <a:pt x="278" y="109"/>
                </a:cubicBezTo>
                <a:cubicBezTo>
                  <a:pt x="385" y="109"/>
                  <a:pt x="385" y="109"/>
                  <a:pt x="385" y="109"/>
                </a:cubicBezTo>
                <a:cubicBezTo>
                  <a:pt x="410" y="73"/>
                  <a:pt x="410" y="73"/>
                  <a:pt x="410" y="73"/>
                </a:cubicBezTo>
                <a:cubicBezTo>
                  <a:pt x="385" y="36"/>
                  <a:pt x="385" y="36"/>
                  <a:pt x="385" y="36"/>
                </a:cubicBezTo>
                <a:cubicBezTo>
                  <a:pt x="278" y="36"/>
                  <a:pt x="278" y="36"/>
                  <a:pt x="278" y="36"/>
                </a:cubicBezTo>
                <a:cubicBezTo>
                  <a:pt x="278" y="22"/>
                  <a:pt x="278" y="22"/>
                  <a:pt x="278" y="22"/>
                </a:cubicBezTo>
                <a:cubicBezTo>
                  <a:pt x="278" y="10"/>
                  <a:pt x="271" y="0"/>
                  <a:pt x="261" y="0"/>
                </a:cubicBezTo>
                <a:cubicBezTo>
                  <a:pt x="252" y="0"/>
                  <a:pt x="244" y="10"/>
                  <a:pt x="244" y="22"/>
                </a:cubicBezTo>
                <a:cubicBezTo>
                  <a:pt x="244" y="109"/>
                  <a:pt x="244" y="109"/>
                  <a:pt x="244" y="109"/>
                </a:cubicBezTo>
                <a:cubicBezTo>
                  <a:pt x="46" y="109"/>
                  <a:pt x="46" y="109"/>
                  <a:pt x="46" y="109"/>
                </a:cubicBezTo>
                <a:cubicBezTo>
                  <a:pt x="0" y="146"/>
                  <a:pt x="0" y="146"/>
                  <a:pt x="0" y="146"/>
                </a:cubicBezTo>
                <a:cubicBezTo>
                  <a:pt x="46" y="183"/>
                  <a:pt x="46" y="183"/>
                  <a:pt x="46" y="183"/>
                </a:cubicBezTo>
                <a:cubicBezTo>
                  <a:pt x="244" y="183"/>
                  <a:pt x="244" y="183"/>
                  <a:pt x="244" y="183"/>
                </a:cubicBezTo>
                <a:cubicBezTo>
                  <a:pt x="244" y="516"/>
                  <a:pt x="244" y="516"/>
                  <a:pt x="244" y="516"/>
                </a:cubicBezTo>
                <a:cubicBezTo>
                  <a:pt x="224" y="516"/>
                  <a:pt x="224" y="516"/>
                  <a:pt x="224" y="516"/>
                </a:cubicBezTo>
                <a:cubicBezTo>
                  <a:pt x="213" y="516"/>
                  <a:pt x="204" y="525"/>
                  <a:pt x="204" y="537"/>
                </a:cubicBezTo>
                <a:cubicBezTo>
                  <a:pt x="204" y="541"/>
                  <a:pt x="205" y="544"/>
                  <a:pt x="206" y="547"/>
                </a:cubicBezTo>
                <a:cubicBezTo>
                  <a:pt x="192" y="548"/>
                  <a:pt x="181" y="557"/>
                  <a:pt x="181" y="569"/>
                </a:cubicBezTo>
                <a:cubicBezTo>
                  <a:pt x="181" y="581"/>
                  <a:pt x="193" y="591"/>
                  <a:pt x="209" y="591"/>
                </a:cubicBezTo>
                <a:cubicBezTo>
                  <a:pt x="314" y="591"/>
                  <a:pt x="314" y="591"/>
                  <a:pt x="314" y="591"/>
                </a:cubicBezTo>
                <a:cubicBezTo>
                  <a:pt x="329" y="591"/>
                  <a:pt x="342" y="581"/>
                  <a:pt x="342" y="569"/>
                </a:cubicBezTo>
                <a:cubicBezTo>
                  <a:pt x="342" y="558"/>
                  <a:pt x="332" y="549"/>
                  <a:pt x="319" y="547"/>
                </a:cubicBezTo>
                <a:cubicBezTo>
                  <a:pt x="320" y="544"/>
                  <a:pt x="321" y="541"/>
                  <a:pt x="321" y="537"/>
                </a:cubicBezTo>
                <a:cubicBezTo>
                  <a:pt x="321" y="525"/>
                  <a:pt x="312" y="516"/>
                  <a:pt x="300" y="516"/>
                </a:cubicBezTo>
                <a:cubicBezTo>
                  <a:pt x="278" y="516"/>
                  <a:pt x="278" y="516"/>
                  <a:pt x="278" y="516"/>
                </a:cubicBezTo>
                <a:cubicBezTo>
                  <a:pt x="278" y="304"/>
                  <a:pt x="278" y="304"/>
                  <a:pt x="278" y="304"/>
                </a:cubicBezTo>
                <a:lnTo>
                  <a:pt x="461" y="304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28" name="Group 178"/>
          <p:cNvGrpSpPr/>
          <p:nvPr>
            <p:custDataLst>
              <p:tags r:id="rId45"/>
            </p:custDataLst>
          </p:nvPr>
        </p:nvGrpSpPr>
        <p:grpSpPr>
          <a:xfrm>
            <a:off x="3065458" y="3334654"/>
            <a:ext cx="199885" cy="185747"/>
            <a:chOff x="3791090" y="2972422"/>
            <a:chExt cx="428485" cy="39817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80" name="Freeform 18"/>
            <p:cNvSpPr>
              <a:spLocks noEditPoints="1"/>
            </p:cNvSpPr>
            <p:nvPr/>
          </p:nvSpPr>
          <p:spPr bwMode="auto">
            <a:xfrm>
              <a:off x="3791090" y="2972422"/>
              <a:ext cx="428485" cy="398177"/>
            </a:xfrm>
            <a:custGeom>
              <a:avLst/>
              <a:gdLst>
                <a:gd name="T0" fmla="*/ 240 w 479"/>
                <a:gd name="T1" fmla="*/ 0 h 445"/>
                <a:gd name="T2" fmla="*/ 0 w 479"/>
                <a:gd name="T3" fmla="*/ 222 h 445"/>
                <a:gd name="T4" fmla="*/ 240 w 479"/>
                <a:gd name="T5" fmla="*/ 445 h 445"/>
                <a:gd name="T6" fmla="*/ 479 w 479"/>
                <a:gd name="T7" fmla="*/ 222 h 445"/>
                <a:gd name="T8" fmla="*/ 240 w 479"/>
                <a:gd name="T9" fmla="*/ 0 h 445"/>
                <a:gd name="T10" fmla="*/ 240 w 479"/>
                <a:gd name="T11" fmla="*/ 377 h 445"/>
                <a:gd name="T12" fmla="*/ 70 w 479"/>
                <a:gd name="T13" fmla="*/ 222 h 445"/>
                <a:gd name="T14" fmla="*/ 240 w 479"/>
                <a:gd name="T15" fmla="*/ 67 h 445"/>
                <a:gd name="T16" fmla="*/ 410 w 479"/>
                <a:gd name="T17" fmla="*/ 222 h 445"/>
                <a:gd name="T18" fmla="*/ 240 w 479"/>
                <a:gd name="T19" fmla="*/ 377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9" h="445">
                  <a:moveTo>
                    <a:pt x="240" y="0"/>
                  </a:moveTo>
                  <a:cubicBezTo>
                    <a:pt x="108" y="0"/>
                    <a:pt x="0" y="99"/>
                    <a:pt x="0" y="222"/>
                  </a:cubicBezTo>
                  <a:cubicBezTo>
                    <a:pt x="0" y="345"/>
                    <a:pt x="108" y="445"/>
                    <a:pt x="240" y="445"/>
                  </a:cubicBezTo>
                  <a:cubicBezTo>
                    <a:pt x="372" y="445"/>
                    <a:pt x="479" y="345"/>
                    <a:pt x="479" y="222"/>
                  </a:cubicBezTo>
                  <a:cubicBezTo>
                    <a:pt x="479" y="99"/>
                    <a:pt x="372" y="0"/>
                    <a:pt x="240" y="0"/>
                  </a:cubicBezTo>
                  <a:close/>
                  <a:moveTo>
                    <a:pt x="240" y="377"/>
                  </a:moveTo>
                  <a:cubicBezTo>
                    <a:pt x="146" y="377"/>
                    <a:pt x="70" y="308"/>
                    <a:pt x="70" y="222"/>
                  </a:cubicBezTo>
                  <a:cubicBezTo>
                    <a:pt x="70" y="137"/>
                    <a:pt x="146" y="67"/>
                    <a:pt x="240" y="67"/>
                  </a:cubicBezTo>
                  <a:cubicBezTo>
                    <a:pt x="333" y="67"/>
                    <a:pt x="410" y="137"/>
                    <a:pt x="410" y="222"/>
                  </a:cubicBezTo>
                  <a:cubicBezTo>
                    <a:pt x="410" y="308"/>
                    <a:pt x="333" y="377"/>
                    <a:pt x="240" y="37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81" name="Freeform 19"/>
            <p:cNvSpPr>
              <a:spLocks/>
            </p:cNvSpPr>
            <p:nvPr/>
          </p:nvSpPr>
          <p:spPr bwMode="auto">
            <a:xfrm>
              <a:off x="3872544" y="3062590"/>
              <a:ext cx="266714" cy="96608"/>
            </a:xfrm>
            <a:custGeom>
              <a:avLst/>
              <a:gdLst>
                <a:gd name="T0" fmla="*/ 298 w 298"/>
                <a:gd name="T1" fmla="*/ 77 h 108"/>
                <a:gd name="T2" fmla="*/ 293 w 298"/>
                <a:gd name="T3" fmla="*/ 71 h 108"/>
                <a:gd name="T4" fmla="*/ 261 w 298"/>
                <a:gd name="T5" fmla="*/ 92 h 108"/>
                <a:gd name="T6" fmla="*/ 230 w 298"/>
                <a:gd name="T7" fmla="*/ 58 h 108"/>
                <a:gd name="T8" fmla="*/ 248 w 298"/>
                <a:gd name="T9" fmla="*/ 24 h 108"/>
                <a:gd name="T10" fmla="*/ 239 w 298"/>
                <a:gd name="T11" fmla="*/ 21 h 108"/>
                <a:gd name="T12" fmla="*/ 223 w 298"/>
                <a:gd name="T13" fmla="*/ 52 h 108"/>
                <a:gd name="T14" fmla="*/ 222 w 298"/>
                <a:gd name="T15" fmla="*/ 53 h 108"/>
                <a:gd name="T16" fmla="*/ 156 w 298"/>
                <a:gd name="T17" fmla="*/ 36 h 108"/>
                <a:gd name="T18" fmla="*/ 156 w 298"/>
                <a:gd name="T19" fmla="*/ 0 h 108"/>
                <a:gd name="T20" fmla="*/ 146 w 298"/>
                <a:gd name="T21" fmla="*/ 0 h 108"/>
                <a:gd name="T22" fmla="*/ 146 w 298"/>
                <a:gd name="T23" fmla="*/ 36 h 108"/>
                <a:gd name="T24" fmla="*/ 89 w 298"/>
                <a:gd name="T25" fmla="*/ 49 h 108"/>
                <a:gd name="T26" fmla="*/ 71 w 298"/>
                <a:gd name="T27" fmla="*/ 15 h 108"/>
                <a:gd name="T28" fmla="*/ 62 w 298"/>
                <a:gd name="T29" fmla="*/ 18 h 108"/>
                <a:gd name="T30" fmla="*/ 69 w 298"/>
                <a:gd name="T31" fmla="*/ 31 h 108"/>
                <a:gd name="T32" fmla="*/ 18 w 298"/>
                <a:gd name="T33" fmla="*/ 79 h 108"/>
                <a:gd name="T34" fmla="*/ 6 w 298"/>
                <a:gd name="T35" fmla="*/ 71 h 108"/>
                <a:gd name="T36" fmla="*/ 0 w 298"/>
                <a:gd name="T37" fmla="*/ 77 h 108"/>
                <a:gd name="T38" fmla="*/ 34 w 298"/>
                <a:gd name="T39" fmla="*/ 100 h 108"/>
                <a:gd name="T40" fmla="*/ 33 w 298"/>
                <a:gd name="T41" fmla="*/ 103 h 108"/>
                <a:gd name="T42" fmla="*/ 44 w 298"/>
                <a:gd name="T43" fmla="*/ 108 h 108"/>
                <a:gd name="T44" fmla="*/ 150 w 298"/>
                <a:gd name="T45" fmla="*/ 47 h 108"/>
                <a:gd name="T46" fmla="*/ 257 w 298"/>
                <a:gd name="T47" fmla="*/ 108 h 108"/>
                <a:gd name="T48" fmla="*/ 268 w 298"/>
                <a:gd name="T49" fmla="*/ 103 h 108"/>
                <a:gd name="T50" fmla="*/ 266 w 298"/>
                <a:gd name="T51" fmla="*/ 99 h 108"/>
                <a:gd name="T52" fmla="*/ 298 w 298"/>
                <a:gd name="T53" fmla="*/ 7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8" h="108">
                  <a:moveTo>
                    <a:pt x="298" y="77"/>
                  </a:moveTo>
                  <a:cubicBezTo>
                    <a:pt x="293" y="71"/>
                    <a:pt x="293" y="71"/>
                    <a:pt x="293" y="71"/>
                  </a:cubicBezTo>
                  <a:cubicBezTo>
                    <a:pt x="261" y="92"/>
                    <a:pt x="261" y="92"/>
                    <a:pt x="261" y="92"/>
                  </a:cubicBezTo>
                  <a:cubicBezTo>
                    <a:pt x="252" y="77"/>
                    <a:pt x="242" y="66"/>
                    <a:pt x="230" y="58"/>
                  </a:cubicBezTo>
                  <a:cubicBezTo>
                    <a:pt x="248" y="24"/>
                    <a:pt x="248" y="24"/>
                    <a:pt x="248" y="24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23" y="52"/>
                    <a:pt x="223" y="52"/>
                    <a:pt x="223" y="52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04" y="42"/>
                    <a:pt x="183" y="37"/>
                    <a:pt x="156" y="36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25" y="37"/>
                    <a:pt x="106" y="41"/>
                    <a:pt x="89" y="49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44" y="43"/>
                    <a:pt x="28" y="61"/>
                    <a:pt x="18" y="79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34" y="101"/>
                    <a:pt x="33" y="102"/>
                    <a:pt x="33" y="103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51" y="94"/>
                    <a:pt x="79" y="47"/>
                    <a:pt x="150" y="47"/>
                  </a:cubicBezTo>
                  <a:cubicBezTo>
                    <a:pt x="215" y="47"/>
                    <a:pt x="240" y="77"/>
                    <a:pt x="257" y="108"/>
                  </a:cubicBezTo>
                  <a:cubicBezTo>
                    <a:pt x="268" y="103"/>
                    <a:pt x="268" y="103"/>
                    <a:pt x="268" y="103"/>
                  </a:cubicBezTo>
                  <a:cubicBezTo>
                    <a:pt x="267" y="102"/>
                    <a:pt x="266" y="100"/>
                    <a:pt x="266" y="99"/>
                  </a:cubicBezTo>
                  <a:lnTo>
                    <a:pt x="298" y="7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82" name="Freeform 20"/>
            <p:cNvSpPr>
              <a:spLocks/>
            </p:cNvSpPr>
            <p:nvPr/>
          </p:nvSpPr>
          <p:spPr bwMode="auto">
            <a:xfrm>
              <a:off x="3893002" y="3166396"/>
              <a:ext cx="27656" cy="38643"/>
            </a:xfrm>
            <a:custGeom>
              <a:avLst/>
              <a:gdLst>
                <a:gd name="T0" fmla="*/ 66 w 73"/>
                <a:gd name="T1" fmla="*/ 57 h 102"/>
                <a:gd name="T2" fmla="*/ 21 w 73"/>
                <a:gd name="T3" fmla="*/ 57 h 102"/>
                <a:gd name="T4" fmla="*/ 21 w 73"/>
                <a:gd name="T5" fmla="*/ 85 h 102"/>
                <a:gd name="T6" fmla="*/ 73 w 73"/>
                <a:gd name="T7" fmla="*/ 85 h 102"/>
                <a:gd name="T8" fmla="*/ 73 w 73"/>
                <a:gd name="T9" fmla="*/ 102 h 102"/>
                <a:gd name="T10" fmla="*/ 0 w 73"/>
                <a:gd name="T11" fmla="*/ 102 h 102"/>
                <a:gd name="T12" fmla="*/ 0 w 73"/>
                <a:gd name="T13" fmla="*/ 0 h 102"/>
                <a:gd name="T14" fmla="*/ 69 w 73"/>
                <a:gd name="T15" fmla="*/ 0 h 102"/>
                <a:gd name="T16" fmla="*/ 69 w 73"/>
                <a:gd name="T17" fmla="*/ 14 h 102"/>
                <a:gd name="T18" fmla="*/ 21 w 73"/>
                <a:gd name="T19" fmla="*/ 14 h 102"/>
                <a:gd name="T20" fmla="*/ 21 w 73"/>
                <a:gd name="T21" fmla="*/ 40 h 102"/>
                <a:gd name="T22" fmla="*/ 66 w 73"/>
                <a:gd name="T23" fmla="*/ 40 h 102"/>
                <a:gd name="T24" fmla="*/ 66 w 73"/>
                <a:gd name="T25" fmla="*/ 57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102">
                  <a:moveTo>
                    <a:pt x="66" y="57"/>
                  </a:moveTo>
                  <a:lnTo>
                    <a:pt x="21" y="57"/>
                  </a:lnTo>
                  <a:lnTo>
                    <a:pt x="21" y="85"/>
                  </a:lnTo>
                  <a:lnTo>
                    <a:pt x="73" y="85"/>
                  </a:lnTo>
                  <a:lnTo>
                    <a:pt x="73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4"/>
                  </a:lnTo>
                  <a:lnTo>
                    <a:pt x="21" y="14"/>
                  </a:lnTo>
                  <a:lnTo>
                    <a:pt x="21" y="40"/>
                  </a:lnTo>
                  <a:lnTo>
                    <a:pt x="66" y="40"/>
                  </a:lnTo>
                  <a:lnTo>
                    <a:pt x="66" y="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83" name="Freeform 21"/>
            <p:cNvSpPr>
              <a:spLocks/>
            </p:cNvSpPr>
            <p:nvPr/>
          </p:nvSpPr>
          <p:spPr bwMode="auto">
            <a:xfrm>
              <a:off x="4100614" y="3168290"/>
              <a:ext cx="26899" cy="38643"/>
            </a:xfrm>
            <a:custGeom>
              <a:avLst/>
              <a:gdLst>
                <a:gd name="T0" fmla="*/ 0 w 71"/>
                <a:gd name="T1" fmla="*/ 0 h 102"/>
                <a:gd name="T2" fmla="*/ 71 w 71"/>
                <a:gd name="T3" fmla="*/ 0 h 102"/>
                <a:gd name="T4" fmla="*/ 71 w 71"/>
                <a:gd name="T5" fmla="*/ 17 h 102"/>
                <a:gd name="T6" fmla="*/ 24 w 71"/>
                <a:gd name="T7" fmla="*/ 17 h 102"/>
                <a:gd name="T8" fmla="*/ 24 w 71"/>
                <a:gd name="T9" fmla="*/ 43 h 102"/>
                <a:gd name="T10" fmla="*/ 66 w 71"/>
                <a:gd name="T11" fmla="*/ 43 h 102"/>
                <a:gd name="T12" fmla="*/ 66 w 71"/>
                <a:gd name="T13" fmla="*/ 59 h 102"/>
                <a:gd name="T14" fmla="*/ 24 w 71"/>
                <a:gd name="T15" fmla="*/ 59 h 102"/>
                <a:gd name="T16" fmla="*/ 24 w 71"/>
                <a:gd name="T17" fmla="*/ 102 h 102"/>
                <a:gd name="T18" fmla="*/ 0 w 71"/>
                <a:gd name="T19" fmla="*/ 102 h 102"/>
                <a:gd name="T20" fmla="*/ 0 w 71"/>
                <a:gd name="T2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102">
                  <a:moveTo>
                    <a:pt x="0" y="0"/>
                  </a:moveTo>
                  <a:lnTo>
                    <a:pt x="71" y="0"/>
                  </a:lnTo>
                  <a:lnTo>
                    <a:pt x="71" y="17"/>
                  </a:lnTo>
                  <a:lnTo>
                    <a:pt x="24" y="17"/>
                  </a:lnTo>
                  <a:lnTo>
                    <a:pt x="24" y="43"/>
                  </a:lnTo>
                  <a:lnTo>
                    <a:pt x="66" y="43"/>
                  </a:lnTo>
                  <a:lnTo>
                    <a:pt x="66" y="59"/>
                  </a:lnTo>
                  <a:lnTo>
                    <a:pt x="24" y="59"/>
                  </a:lnTo>
                  <a:lnTo>
                    <a:pt x="24" y="102"/>
                  </a:lnTo>
                  <a:lnTo>
                    <a:pt x="0" y="10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84" name="Freeform 22"/>
            <p:cNvSpPr>
              <a:spLocks/>
            </p:cNvSpPr>
            <p:nvPr/>
          </p:nvSpPr>
          <p:spPr bwMode="auto">
            <a:xfrm>
              <a:off x="3986958" y="3110325"/>
              <a:ext cx="132599" cy="131463"/>
            </a:xfrm>
            <a:custGeom>
              <a:avLst/>
              <a:gdLst>
                <a:gd name="T0" fmla="*/ 148 w 148"/>
                <a:gd name="T1" fmla="*/ 0 h 147"/>
                <a:gd name="T2" fmla="*/ 148 w 148"/>
                <a:gd name="T3" fmla="*/ 0 h 147"/>
                <a:gd name="T4" fmla="*/ 148 w 148"/>
                <a:gd name="T5" fmla="*/ 0 h 147"/>
                <a:gd name="T6" fmla="*/ 116 w 148"/>
                <a:gd name="T7" fmla="*/ 16 h 147"/>
                <a:gd name="T8" fmla="*/ 22 w 148"/>
                <a:gd name="T9" fmla="*/ 115 h 147"/>
                <a:gd name="T10" fmla="*/ 6 w 148"/>
                <a:gd name="T11" fmla="*/ 120 h 147"/>
                <a:gd name="T12" fmla="*/ 8 w 148"/>
                <a:gd name="T13" fmla="*/ 142 h 147"/>
                <a:gd name="T14" fmla="*/ 30 w 148"/>
                <a:gd name="T15" fmla="*/ 140 h 147"/>
                <a:gd name="T16" fmla="*/ 31 w 148"/>
                <a:gd name="T17" fmla="*/ 122 h 147"/>
                <a:gd name="T18" fmla="*/ 129 w 148"/>
                <a:gd name="T19" fmla="*/ 34 h 147"/>
                <a:gd name="T20" fmla="*/ 148 w 148"/>
                <a:gd name="T21" fmla="*/ 0 h 147"/>
                <a:gd name="T22" fmla="*/ 148 w 148"/>
                <a:gd name="T23" fmla="*/ 0 h 147"/>
                <a:gd name="T24" fmla="*/ 148 w 148"/>
                <a:gd name="T25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" h="147">
                  <a:moveTo>
                    <a:pt x="148" y="0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39" y="5"/>
                    <a:pt x="125" y="12"/>
                    <a:pt x="116" y="16"/>
                  </a:cubicBezTo>
                  <a:cubicBezTo>
                    <a:pt x="104" y="29"/>
                    <a:pt x="51" y="85"/>
                    <a:pt x="22" y="115"/>
                  </a:cubicBezTo>
                  <a:cubicBezTo>
                    <a:pt x="16" y="114"/>
                    <a:pt x="10" y="115"/>
                    <a:pt x="6" y="120"/>
                  </a:cubicBezTo>
                  <a:cubicBezTo>
                    <a:pt x="0" y="126"/>
                    <a:pt x="1" y="136"/>
                    <a:pt x="8" y="142"/>
                  </a:cubicBezTo>
                  <a:cubicBezTo>
                    <a:pt x="14" y="147"/>
                    <a:pt x="24" y="147"/>
                    <a:pt x="30" y="140"/>
                  </a:cubicBezTo>
                  <a:cubicBezTo>
                    <a:pt x="34" y="135"/>
                    <a:pt x="35" y="128"/>
                    <a:pt x="31" y="122"/>
                  </a:cubicBezTo>
                  <a:cubicBezTo>
                    <a:pt x="62" y="93"/>
                    <a:pt x="116" y="45"/>
                    <a:pt x="129" y="34"/>
                  </a:cubicBezTo>
                  <a:cubicBezTo>
                    <a:pt x="134" y="24"/>
                    <a:pt x="142" y="10"/>
                    <a:pt x="148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48" y="0"/>
                    <a:pt x="148" y="0"/>
                    <a:pt x="148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4" name="Freeform 60"/>
          <p:cNvSpPr>
            <a:spLocks noEditPoints="1"/>
          </p:cNvSpPr>
          <p:nvPr>
            <p:custDataLst>
              <p:tags r:id="rId46"/>
            </p:custDataLst>
          </p:nvPr>
        </p:nvSpPr>
        <p:spPr bwMode="auto">
          <a:xfrm>
            <a:off x="3108325" y="122238"/>
            <a:ext cx="339725" cy="334962"/>
          </a:xfrm>
          <a:custGeom>
            <a:avLst/>
            <a:gdLst>
              <a:gd name="T0" fmla="*/ 246 w 249"/>
              <a:gd name="T1" fmla="*/ 145 h 245"/>
              <a:gd name="T2" fmla="*/ 214 w 249"/>
              <a:gd name="T3" fmla="*/ 89 h 245"/>
              <a:gd name="T4" fmla="*/ 214 w 249"/>
              <a:gd name="T5" fmla="*/ 89 h 245"/>
              <a:gd name="T6" fmla="*/ 211 w 249"/>
              <a:gd name="T7" fmla="*/ 84 h 245"/>
              <a:gd name="T8" fmla="*/ 211 w 249"/>
              <a:gd name="T9" fmla="*/ 84 h 245"/>
              <a:gd name="T10" fmla="*/ 165 w 249"/>
              <a:gd name="T11" fmla="*/ 39 h 245"/>
              <a:gd name="T12" fmla="*/ 164 w 249"/>
              <a:gd name="T13" fmla="*/ 39 h 245"/>
              <a:gd name="T14" fmla="*/ 164 w 249"/>
              <a:gd name="T15" fmla="*/ 15 h 245"/>
              <a:gd name="T16" fmla="*/ 149 w 249"/>
              <a:gd name="T17" fmla="*/ 0 h 245"/>
              <a:gd name="T18" fmla="*/ 16 w 249"/>
              <a:gd name="T19" fmla="*/ 0 h 245"/>
              <a:gd name="T20" fmla="*/ 0 w 249"/>
              <a:gd name="T21" fmla="*/ 15 h 245"/>
              <a:gd name="T22" fmla="*/ 0 w 249"/>
              <a:gd name="T23" fmla="*/ 229 h 245"/>
              <a:gd name="T24" fmla="*/ 16 w 249"/>
              <a:gd name="T25" fmla="*/ 245 h 245"/>
              <a:gd name="T26" fmla="*/ 149 w 249"/>
              <a:gd name="T27" fmla="*/ 245 h 245"/>
              <a:gd name="T28" fmla="*/ 164 w 249"/>
              <a:gd name="T29" fmla="*/ 229 h 245"/>
              <a:gd name="T30" fmla="*/ 164 w 249"/>
              <a:gd name="T31" fmla="*/ 143 h 245"/>
              <a:gd name="T32" fmla="*/ 168 w 249"/>
              <a:gd name="T33" fmla="*/ 148 h 245"/>
              <a:gd name="T34" fmla="*/ 175 w 249"/>
              <a:gd name="T35" fmla="*/ 187 h 245"/>
              <a:gd name="T36" fmla="*/ 191 w 249"/>
              <a:gd name="T37" fmla="*/ 227 h 245"/>
              <a:gd name="T38" fmla="*/ 216 w 249"/>
              <a:gd name="T39" fmla="*/ 238 h 245"/>
              <a:gd name="T40" fmla="*/ 216 w 249"/>
              <a:gd name="T41" fmla="*/ 238 h 245"/>
              <a:gd name="T42" fmla="*/ 233 w 249"/>
              <a:gd name="T43" fmla="*/ 230 h 245"/>
              <a:gd name="T44" fmla="*/ 249 w 249"/>
              <a:gd name="T45" fmla="*/ 172 h 245"/>
              <a:gd name="T46" fmla="*/ 246 w 249"/>
              <a:gd name="T47" fmla="*/ 145 h 245"/>
              <a:gd name="T48" fmla="*/ 140 w 249"/>
              <a:gd name="T49" fmla="*/ 93 h 245"/>
              <a:gd name="T50" fmla="*/ 124 w 249"/>
              <a:gd name="T51" fmla="*/ 108 h 245"/>
              <a:gd name="T52" fmla="*/ 41 w 249"/>
              <a:gd name="T53" fmla="*/ 108 h 245"/>
              <a:gd name="T54" fmla="*/ 25 w 249"/>
              <a:gd name="T55" fmla="*/ 93 h 245"/>
              <a:gd name="T56" fmla="*/ 25 w 249"/>
              <a:gd name="T57" fmla="*/ 40 h 245"/>
              <a:gd name="T58" fmla="*/ 41 w 249"/>
              <a:gd name="T59" fmla="*/ 25 h 245"/>
              <a:gd name="T60" fmla="*/ 124 w 249"/>
              <a:gd name="T61" fmla="*/ 25 h 245"/>
              <a:gd name="T62" fmla="*/ 140 w 249"/>
              <a:gd name="T63" fmla="*/ 40 h 245"/>
              <a:gd name="T64" fmla="*/ 140 w 249"/>
              <a:gd name="T65" fmla="*/ 93 h 245"/>
              <a:gd name="T66" fmla="*/ 204 w 249"/>
              <a:gd name="T67" fmla="*/ 90 h 245"/>
              <a:gd name="T68" fmla="*/ 204 w 249"/>
              <a:gd name="T69" fmla="*/ 90 h 245"/>
              <a:gd name="T70" fmla="*/ 205 w 249"/>
              <a:gd name="T71" fmla="*/ 92 h 245"/>
              <a:gd name="T72" fmla="*/ 203 w 249"/>
              <a:gd name="T73" fmla="*/ 97 h 245"/>
              <a:gd name="T74" fmla="*/ 201 w 249"/>
              <a:gd name="T75" fmla="*/ 98 h 245"/>
              <a:gd name="T76" fmla="*/ 189 w 249"/>
              <a:gd name="T77" fmla="*/ 91 h 245"/>
              <a:gd name="T78" fmla="*/ 183 w 249"/>
              <a:gd name="T79" fmla="*/ 76 h 245"/>
              <a:gd name="T80" fmla="*/ 182 w 249"/>
              <a:gd name="T81" fmla="*/ 69 h 245"/>
              <a:gd name="T82" fmla="*/ 204 w 249"/>
              <a:gd name="T83" fmla="*/ 90 h 245"/>
              <a:gd name="T84" fmla="*/ 231 w 249"/>
              <a:gd name="T85" fmla="*/ 210 h 245"/>
              <a:gd name="T86" fmla="*/ 224 w 249"/>
              <a:gd name="T87" fmla="*/ 222 h 245"/>
              <a:gd name="T88" fmla="*/ 216 w 249"/>
              <a:gd name="T89" fmla="*/ 225 h 245"/>
              <a:gd name="T90" fmla="*/ 199 w 249"/>
              <a:gd name="T91" fmla="*/ 217 h 245"/>
              <a:gd name="T92" fmla="*/ 189 w 249"/>
              <a:gd name="T93" fmla="*/ 199 h 245"/>
              <a:gd name="T94" fmla="*/ 183 w 249"/>
              <a:gd name="T95" fmla="*/ 156 h 245"/>
              <a:gd name="T96" fmla="*/ 175 w 249"/>
              <a:gd name="T97" fmla="*/ 137 h 245"/>
              <a:gd name="T98" fmla="*/ 164 w 249"/>
              <a:gd name="T99" fmla="*/ 129 h 245"/>
              <a:gd name="T100" fmla="*/ 164 w 249"/>
              <a:gd name="T101" fmla="*/ 52 h 245"/>
              <a:gd name="T102" fmla="*/ 173 w 249"/>
              <a:gd name="T103" fmla="*/ 60 h 245"/>
              <a:gd name="T104" fmla="*/ 172 w 249"/>
              <a:gd name="T105" fmla="*/ 66 h 245"/>
              <a:gd name="T106" fmla="*/ 173 w 249"/>
              <a:gd name="T107" fmla="*/ 68 h 245"/>
              <a:gd name="T108" fmla="*/ 174 w 249"/>
              <a:gd name="T109" fmla="*/ 78 h 245"/>
              <a:gd name="T110" fmla="*/ 182 w 249"/>
              <a:gd name="T111" fmla="*/ 98 h 245"/>
              <a:gd name="T112" fmla="*/ 201 w 249"/>
              <a:gd name="T113" fmla="*/ 108 h 245"/>
              <a:gd name="T114" fmla="*/ 201 w 249"/>
              <a:gd name="T115" fmla="*/ 108 h 245"/>
              <a:gd name="T116" fmla="*/ 210 w 249"/>
              <a:gd name="T117" fmla="*/ 104 h 245"/>
              <a:gd name="T118" fmla="*/ 210 w 249"/>
              <a:gd name="T119" fmla="*/ 104 h 245"/>
              <a:gd name="T120" fmla="*/ 234 w 249"/>
              <a:gd name="T121" fmla="*/ 148 h 245"/>
              <a:gd name="T122" fmla="*/ 236 w 249"/>
              <a:gd name="T123" fmla="*/ 172 h 245"/>
              <a:gd name="T124" fmla="*/ 231 w 249"/>
              <a:gd name="T125" fmla="*/ 21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49" h="245">
                <a:moveTo>
                  <a:pt x="246" y="145"/>
                </a:moveTo>
                <a:cubicBezTo>
                  <a:pt x="239" y="124"/>
                  <a:pt x="227" y="105"/>
                  <a:pt x="214" y="89"/>
                </a:cubicBezTo>
                <a:cubicBezTo>
                  <a:pt x="214" y="89"/>
                  <a:pt x="214" y="89"/>
                  <a:pt x="214" y="89"/>
                </a:cubicBezTo>
                <a:cubicBezTo>
                  <a:pt x="214" y="87"/>
                  <a:pt x="213" y="85"/>
                  <a:pt x="211" y="84"/>
                </a:cubicBezTo>
                <a:cubicBezTo>
                  <a:pt x="211" y="84"/>
                  <a:pt x="211" y="84"/>
                  <a:pt x="211" y="84"/>
                </a:cubicBezTo>
                <a:cubicBezTo>
                  <a:pt x="165" y="39"/>
                  <a:pt x="165" y="39"/>
                  <a:pt x="165" y="39"/>
                </a:cubicBezTo>
                <a:cubicBezTo>
                  <a:pt x="165" y="39"/>
                  <a:pt x="164" y="39"/>
                  <a:pt x="164" y="39"/>
                </a:cubicBezTo>
                <a:cubicBezTo>
                  <a:pt x="164" y="15"/>
                  <a:pt x="164" y="15"/>
                  <a:pt x="164" y="15"/>
                </a:cubicBezTo>
                <a:cubicBezTo>
                  <a:pt x="164" y="7"/>
                  <a:pt x="158" y="0"/>
                  <a:pt x="14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5"/>
                </a:cubicBezTo>
                <a:cubicBezTo>
                  <a:pt x="0" y="229"/>
                  <a:pt x="0" y="229"/>
                  <a:pt x="0" y="229"/>
                </a:cubicBezTo>
                <a:cubicBezTo>
                  <a:pt x="0" y="238"/>
                  <a:pt x="7" y="245"/>
                  <a:pt x="16" y="245"/>
                </a:cubicBezTo>
                <a:cubicBezTo>
                  <a:pt x="149" y="245"/>
                  <a:pt x="149" y="245"/>
                  <a:pt x="149" y="245"/>
                </a:cubicBezTo>
                <a:cubicBezTo>
                  <a:pt x="158" y="245"/>
                  <a:pt x="164" y="238"/>
                  <a:pt x="164" y="229"/>
                </a:cubicBezTo>
                <a:cubicBezTo>
                  <a:pt x="164" y="143"/>
                  <a:pt x="164" y="143"/>
                  <a:pt x="164" y="143"/>
                </a:cubicBezTo>
                <a:cubicBezTo>
                  <a:pt x="166" y="144"/>
                  <a:pt x="167" y="146"/>
                  <a:pt x="168" y="148"/>
                </a:cubicBezTo>
                <a:cubicBezTo>
                  <a:pt x="172" y="157"/>
                  <a:pt x="173" y="172"/>
                  <a:pt x="175" y="187"/>
                </a:cubicBezTo>
                <a:cubicBezTo>
                  <a:pt x="177" y="201"/>
                  <a:pt x="179" y="217"/>
                  <a:pt x="191" y="227"/>
                </a:cubicBezTo>
                <a:cubicBezTo>
                  <a:pt x="200" y="234"/>
                  <a:pt x="208" y="238"/>
                  <a:pt x="216" y="238"/>
                </a:cubicBezTo>
                <a:cubicBezTo>
                  <a:pt x="216" y="238"/>
                  <a:pt x="216" y="238"/>
                  <a:pt x="216" y="238"/>
                </a:cubicBezTo>
                <a:cubicBezTo>
                  <a:pt x="222" y="238"/>
                  <a:pt x="228" y="235"/>
                  <a:pt x="233" y="230"/>
                </a:cubicBezTo>
                <a:cubicBezTo>
                  <a:pt x="245" y="217"/>
                  <a:pt x="248" y="193"/>
                  <a:pt x="249" y="172"/>
                </a:cubicBezTo>
                <a:cubicBezTo>
                  <a:pt x="249" y="161"/>
                  <a:pt x="248" y="152"/>
                  <a:pt x="246" y="145"/>
                </a:cubicBezTo>
                <a:close/>
                <a:moveTo>
                  <a:pt x="140" y="93"/>
                </a:moveTo>
                <a:cubicBezTo>
                  <a:pt x="140" y="101"/>
                  <a:pt x="133" y="108"/>
                  <a:pt x="124" y="108"/>
                </a:cubicBezTo>
                <a:cubicBezTo>
                  <a:pt x="41" y="108"/>
                  <a:pt x="41" y="108"/>
                  <a:pt x="41" y="108"/>
                </a:cubicBezTo>
                <a:cubicBezTo>
                  <a:pt x="32" y="108"/>
                  <a:pt x="25" y="101"/>
                  <a:pt x="25" y="93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32"/>
                  <a:pt x="32" y="25"/>
                  <a:pt x="41" y="25"/>
                </a:cubicBezTo>
                <a:cubicBezTo>
                  <a:pt x="124" y="25"/>
                  <a:pt x="124" y="25"/>
                  <a:pt x="124" y="25"/>
                </a:cubicBezTo>
                <a:cubicBezTo>
                  <a:pt x="133" y="25"/>
                  <a:pt x="140" y="32"/>
                  <a:pt x="140" y="40"/>
                </a:cubicBezTo>
                <a:lnTo>
                  <a:pt x="140" y="93"/>
                </a:lnTo>
                <a:close/>
                <a:moveTo>
                  <a:pt x="204" y="90"/>
                </a:moveTo>
                <a:cubicBezTo>
                  <a:pt x="204" y="90"/>
                  <a:pt x="204" y="90"/>
                  <a:pt x="204" y="90"/>
                </a:cubicBezTo>
                <a:cubicBezTo>
                  <a:pt x="205" y="91"/>
                  <a:pt x="205" y="91"/>
                  <a:pt x="205" y="92"/>
                </a:cubicBezTo>
                <a:cubicBezTo>
                  <a:pt x="205" y="94"/>
                  <a:pt x="204" y="97"/>
                  <a:pt x="203" y="97"/>
                </a:cubicBezTo>
                <a:cubicBezTo>
                  <a:pt x="203" y="98"/>
                  <a:pt x="202" y="98"/>
                  <a:pt x="201" y="98"/>
                </a:cubicBezTo>
                <a:cubicBezTo>
                  <a:pt x="198" y="99"/>
                  <a:pt x="192" y="94"/>
                  <a:pt x="189" y="91"/>
                </a:cubicBezTo>
                <a:cubicBezTo>
                  <a:pt x="186" y="88"/>
                  <a:pt x="184" y="82"/>
                  <a:pt x="183" y="76"/>
                </a:cubicBezTo>
                <a:cubicBezTo>
                  <a:pt x="183" y="74"/>
                  <a:pt x="182" y="71"/>
                  <a:pt x="182" y="69"/>
                </a:cubicBezTo>
                <a:lnTo>
                  <a:pt x="204" y="90"/>
                </a:lnTo>
                <a:close/>
                <a:moveTo>
                  <a:pt x="231" y="210"/>
                </a:moveTo>
                <a:cubicBezTo>
                  <a:pt x="229" y="215"/>
                  <a:pt x="226" y="219"/>
                  <a:pt x="224" y="222"/>
                </a:cubicBezTo>
                <a:cubicBezTo>
                  <a:pt x="221" y="224"/>
                  <a:pt x="219" y="225"/>
                  <a:pt x="216" y="225"/>
                </a:cubicBezTo>
                <a:cubicBezTo>
                  <a:pt x="212" y="225"/>
                  <a:pt x="206" y="223"/>
                  <a:pt x="199" y="217"/>
                </a:cubicBezTo>
                <a:cubicBezTo>
                  <a:pt x="194" y="214"/>
                  <a:pt x="191" y="207"/>
                  <a:pt x="189" y="199"/>
                </a:cubicBezTo>
                <a:cubicBezTo>
                  <a:pt x="186" y="186"/>
                  <a:pt x="186" y="170"/>
                  <a:pt x="183" y="156"/>
                </a:cubicBezTo>
                <a:cubicBezTo>
                  <a:pt x="182" y="149"/>
                  <a:pt x="179" y="143"/>
                  <a:pt x="175" y="137"/>
                </a:cubicBezTo>
                <a:cubicBezTo>
                  <a:pt x="173" y="133"/>
                  <a:pt x="169" y="130"/>
                  <a:pt x="164" y="129"/>
                </a:cubicBezTo>
                <a:cubicBezTo>
                  <a:pt x="164" y="52"/>
                  <a:pt x="164" y="52"/>
                  <a:pt x="164" y="52"/>
                </a:cubicBezTo>
                <a:cubicBezTo>
                  <a:pt x="173" y="60"/>
                  <a:pt x="173" y="60"/>
                  <a:pt x="173" y="60"/>
                </a:cubicBezTo>
                <a:cubicBezTo>
                  <a:pt x="173" y="62"/>
                  <a:pt x="172" y="63"/>
                  <a:pt x="172" y="66"/>
                </a:cubicBezTo>
                <a:cubicBezTo>
                  <a:pt x="172" y="67"/>
                  <a:pt x="172" y="67"/>
                  <a:pt x="173" y="68"/>
                </a:cubicBezTo>
                <a:cubicBezTo>
                  <a:pt x="173" y="72"/>
                  <a:pt x="173" y="75"/>
                  <a:pt x="174" y="78"/>
                </a:cubicBezTo>
                <a:cubicBezTo>
                  <a:pt x="175" y="85"/>
                  <a:pt x="177" y="92"/>
                  <a:pt x="182" y="98"/>
                </a:cubicBezTo>
                <a:cubicBezTo>
                  <a:pt x="186" y="102"/>
                  <a:pt x="193" y="107"/>
                  <a:pt x="201" y="108"/>
                </a:cubicBezTo>
                <a:cubicBezTo>
                  <a:pt x="201" y="108"/>
                  <a:pt x="201" y="108"/>
                  <a:pt x="201" y="108"/>
                </a:cubicBezTo>
                <a:cubicBezTo>
                  <a:pt x="204" y="108"/>
                  <a:pt x="207" y="106"/>
                  <a:pt x="210" y="104"/>
                </a:cubicBezTo>
                <a:cubicBezTo>
                  <a:pt x="210" y="104"/>
                  <a:pt x="210" y="104"/>
                  <a:pt x="210" y="104"/>
                </a:cubicBezTo>
                <a:cubicBezTo>
                  <a:pt x="220" y="117"/>
                  <a:pt x="229" y="133"/>
                  <a:pt x="234" y="148"/>
                </a:cubicBezTo>
                <a:cubicBezTo>
                  <a:pt x="235" y="153"/>
                  <a:pt x="236" y="162"/>
                  <a:pt x="236" y="172"/>
                </a:cubicBezTo>
                <a:cubicBezTo>
                  <a:pt x="236" y="185"/>
                  <a:pt x="234" y="199"/>
                  <a:pt x="231" y="21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89" name="Freeform 60"/>
          <p:cNvSpPr>
            <a:spLocks noEditPoints="1"/>
          </p:cNvSpPr>
          <p:nvPr>
            <p:custDataLst>
              <p:tags r:id="rId47"/>
            </p:custDataLst>
          </p:nvPr>
        </p:nvSpPr>
        <p:spPr bwMode="auto">
          <a:xfrm>
            <a:off x="3641725" y="990600"/>
            <a:ext cx="300038" cy="295275"/>
          </a:xfrm>
          <a:custGeom>
            <a:avLst/>
            <a:gdLst>
              <a:gd name="T0" fmla="*/ 246 w 249"/>
              <a:gd name="T1" fmla="*/ 145 h 245"/>
              <a:gd name="T2" fmla="*/ 214 w 249"/>
              <a:gd name="T3" fmla="*/ 89 h 245"/>
              <a:gd name="T4" fmla="*/ 214 w 249"/>
              <a:gd name="T5" fmla="*/ 89 h 245"/>
              <a:gd name="T6" fmla="*/ 211 w 249"/>
              <a:gd name="T7" fmla="*/ 84 h 245"/>
              <a:gd name="T8" fmla="*/ 211 w 249"/>
              <a:gd name="T9" fmla="*/ 84 h 245"/>
              <a:gd name="T10" fmla="*/ 165 w 249"/>
              <a:gd name="T11" fmla="*/ 39 h 245"/>
              <a:gd name="T12" fmla="*/ 164 w 249"/>
              <a:gd name="T13" fmla="*/ 39 h 245"/>
              <a:gd name="T14" fmla="*/ 164 w 249"/>
              <a:gd name="T15" fmla="*/ 15 h 245"/>
              <a:gd name="T16" fmla="*/ 149 w 249"/>
              <a:gd name="T17" fmla="*/ 0 h 245"/>
              <a:gd name="T18" fmla="*/ 16 w 249"/>
              <a:gd name="T19" fmla="*/ 0 h 245"/>
              <a:gd name="T20" fmla="*/ 0 w 249"/>
              <a:gd name="T21" fmla="*/ 15 h 245"/>
              <a:gd name="T22" fmla="*/ 0 w 249"/>
              <a:gd name="T23" fmla="*/ 229 h 245"/>
              <a:gd name="T24" fmla="*/ 16 w 249"/>
              <a:gd name="T25" fmla="*/ 245 h 245"/>
              <a:gd name="T26" fmla="*/ 149 w 249"/>
              <a:gd name="T27" fmla="*/ 245 h 245"/>
              <a:gd name="T28" fmla="*/ 164 w 249"/>
              <a:gd name="T29" fmla="*/ 229 h 245"/>
              <a:gd name="T30" fmla="*/ 164 w 249"/>
              <a:gd name="T31" fmla="*/ 143 h 245"/>
              <a:gd name="T32" fmla="*/ 168 w 249"/>
              <a:gd name="T33" fmla="*/ 148 h 245"/>
              <a:gd name="T34" fmla="*/ 175 w 249"/>
              <a:gd name="T35" fmla="*/ 187 h 245"/>
              <a:gd name="T36" fmla="*/ 191 w 249"/>
              <a:gd name="T37" fmla="*/ 227 h 245"/>
              <a:gd name="T38" fmla="*/ 216 w 249"/>
              <a:gd name="T39" fmla="*/ 238 h 245"/>
              <a:gd name="T40" fmla="*/ 216 w 249"/>
              <a:gd name="T41" fmla="*/ 238 h 245"/>
              <a:gd name="T42" fmla="*/ 233 w 249"/>
              <a:gd name="T43" fmla="*/ 230 h 245"/>
              <a:gd name="T44" fmla="*/ 249 w 249"/>
              <a:gd name="T45" fmla="*/ 172 h 245"/>
              <a:gd name="T46" fmla="*/ 246 w 249"/>
              <a:gd name="T47" fmla="*/ 145 h 245"/>
              <a:gd name="T48" fmla="*/ 140 w 249"/>
              <a:gd name="T49" fmla="*/ 93 h 245"/>
              <a:gd name="T50" fmla="*/ 124 w 249"/>
              <a:gd name="T51" fmla="*/ 108 h 245"/>
              <a:gd name="T52" fmla="*/ 41 w 249"/>
              <a:gd name="T53" fmla="*/ 108 h 245"/>
              <a:gd name="T54" fmla="*/ 25 w 249"/>
              <a:gd name="T55" fmla="*/ 93 h 245"/>
              <a:gd name="T56" fmla="*/ 25 w 249"/>
              <a:gd name="T57" fmla="*/ 40 h 245"/>
              <a:gd name="T58" fmla="*/ 41 w 249"/>
              <a:gd name="T59" fmla="*/ 25 h 245"/>
              <a:gd name="T60" fmla="*/ 124 w 249"/>
              <a:gd name="T61" fmla="*/ 25 h 245"/>
              <a:gd name="T62" fmla="*/ 140 w 249"/>
              <a:gd name="T63" fmla="*/ 40 h 245"/>
              <a:gd name="T64" fmla="*/ 140 w 249"/>
              <a:gd name="T65" fmla="*/ 93 h 245"/>
              <a:gd name="T66" fmla="*/ 204 w 249"/>
              <a:gd name="T67" fmla="*/ 90 h 245"/>
              <a:gd name="T68" fmla="*/ 204 w 249"/>
              <a:gd name="T69" fmla="*/ 90 h 245"/>
              <a:gd name="T70" fmla="*/ 205 w 249"/>
              <a:gd name="T71" fmla="*/ 92 h 245"/>
              <a:gd name="T72" fmla="*/ 203 w 249"/>
              <a:gd name="T73" fmla="*/ 97 h 245"/>
              <a:gd name="T74" fmla="*/ 201 w 249"/>
              <a:gd name="T75" fmla="*/ 98 h 245"/>
              <a:gd name="T76" fmla="*/ 189 w 249"/>
              <a:gd name="T77" fmla="*/ 91 h 245"/>
              <a:gd name="T78" fmla="*/ 183 w 249"/>
              <a:gd name="T79" fmla="*/ 76 h 245"/>
              <a:gd name="T80" fmla="*/ 182 w 249"/>
              <a:gd name="T81" fmla="*/ 69 h 245"/>
              <a:gd name="T82" fmla="*/ 204 w 249"/>
              <a:gd name="T83" fmla="*/ 90 h 245"/>
              <a:gd name="T84" fmla="*/ 231 w 249"/>
              <a:gd name="T85" fmla="*/ 210 h 245"/>
              <a:gd name="T86" fmla="*/ 224 w 249"/>
              <a:gd name="T87" fmla="*/ 222 h 245"/>
              <a:gd name="T88" fmla="*/ 216 w 249"/>
              <a:gd name="T89" fmla="*/ 225 h 245"/>
              <a:gd name="T90" fmla="*/ 199 w 249"/>
              <a:gd name="T91" fmla="*/ 217 h 245"/>
              <a:gd name="T92" fmla="*/ 189 w 249"/>
              <a:gd name="T93" fmla="*/ 199 h 245"/>
              <a:gd name="T94" fmla="*/ 183 w 249"/>
              <a:gd name="T95" fmla="*/ 156 h 245"/>
              <a:gd name="T96" fmla="*/ 175 w 249"/>
              <a:gd name="T97" fmla="*/ 137 h 245"/>
              <a:gd name="T98" fmla="*/ 164 w 249"/>
              <a:gd name="T99" fmla="*/ 129 h 245"/>
              <a:gd name="T100" fmla="*/ 164 w 249"/>
              <a:gd name="T101" fmla="*/ 52 h 245"/>
              <a:gd name="T102" fmla="*/ 173 w 249"/>
              <a:gd name="T103" fmla="*/ 60 h 245"/>
              <a:gd name="T104" fmla="*/ 172 w 249"/>
              <a:gd name="T105" fmla="*/ 66 h 245"/>
              <a:gd name="T106" fmla="*/ 173 w 249"/>
              <a:gd name="T107" fmla="*/ 68 h 245"/>
              <a:gd name="T108" fmla="*/ 174 w 249"/>
              <a:gd name="T109" fmla="*/ 78 h 245"/>
              <a:gd name="T110" fmla="*/ 182 w 249"/>
              <a:gd name="T111" fmla="*/ 98 h 245"/>
              <a:gd name="T112" fmla="*/ 201 w 249"/>
              <a:gd name="T113" fmla="*/ 108 h 245"/>
              <a:gd name="T114" fmla="*/ 201 w 249"/>
              <a:gd name="T115" fmla="*/ 108 h 245"/>
              <a:gd name="T116" fmla="*/ 210 w 249"/>
              <a:gd name="T117" fmla="*/ 104 h 245"/>
              <a:gd name="T118" fmla="*/ 210 w 249"/>
              <a:gd name="T119" fmla="*/ 104 h 245"/>
              <a:gd name="T120" fmla="*/ 234 w 249"/>
              <a:gd name="T121" fmla="*/ 148 h 245"/>
              <a:gd name="T122" fmla="*/ 236 w 249"/>
              <a:gd name="T123" fmla="*/ 172 h 245"/>
              <a:gd name="T124" fmla="*/ 231 w 249"/>
              <a:gd name="T125" fmla="*/ 21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49" h="245">
                <a:moveTo>
                  <a:pt x="246" y="145"/>
                </a:moveTo>
                <a:cubicBezTo>
                  <a:pt x="239" y="124"/>
                  <a:pt x="227" y="105"/>
                  <a:pt x="214" y="89"/>
                </a:cubicBezTo>
                <a:cubicBezTo>
                  <a:pt x="214" y="89"/>
                  <a:pt x="214" y="89"/>
                  <a:pt x="214" y="89"/>
                </a:cubicBezTo>
                <a:cubicBezTo>
                  <a:pt x="214" y="87"/>
                  <a:pt x="213" y="85"/>
                  <a:pt x="211" y="84"/>
                </a:cubicBezTo>
                <a:cubicBezTo>
                  <a:pt x="211" y="84"/>
                  <a:pt x="211" y="84"/>
                  <a:pt x="211" y="84"/>
                </a:cubicBezTo>
                <a:cubicBezTo>
                  <a:pt x="165" y="39"/>
                  <a:pt x="165" y="39"/>
                  <a:pt x="165" y="39"/>
                </a:cubicBezTo>
                <a:cubicBezTo>
                  <a:pt x="165" y="39"/>
                  <a:pt x="164" y="39"/>
                  <a:pt x="164" y="39"/>
                </a:cubicBezTo>
                <a:cubicBezTo>
                  <a:pt x="164" y="15"/>
                  <a:pt x="164" y="15"/>
                  <a:pt x="164" y="15"/>
                </a:cubicBezTo>
                <a:cubicBezTo>
                  <a:pt x="164" y="7"/>
                  <a:pt x="158" y="0"/>
                  <a:pt x="14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5"/>
                </a:cubicBezTo>
                <a:cubicBezTo>
                  <a:pt x="0" y="229"/>
                  <a:pt x="0" y="229"/>
                  <a:pt x="0" y="229"/>
                </a:cubicBezTo>
                <a:cubicBezTo>
                  <a:pt x="0" y="238"/>
                  <a:pt x="7" y="245"/>
                  <a:pt x="16" y="245"/>
                </a:cubicBezTo>
                <a:cubicBezTo>
                  <a:pt x="149" y="245"/>
                  <a:pt x="149" y="245"/>
                  <a:pt x="149" y="245"/>
                </a:cubicBezTo>
                <a:cubicBezTo>
                  <a:pt x="158" y="245"/>
                  <a:pt x="164" y="238"/>
                  <a:pt x="164" y="229"/>
                </a:cubicBezTo>
                <a:cubicBezTo>
                  <a:pt x="164" y="143"/>
                  <a:pt x="164" y="143"/>
                  <a:pt x="164" y="143"/>
                </a:cubicBezTo>
                <a:cubicBezTo>
                  <a:pt x="166" y="144"/>
                  <a:pt x="167" y="146"/>
                  <a:pt x="168" y="148"/>
                </a:cubicBezTo>
                <a:cubicBezTo>
                  <a:pt x="172" y="157"/>
                  <a:pt x="173" y="172"/>
                  <a:pt x="175" y="187"/>
                </a:cubicBezTo>
                <a:cubicBezTo>
                  <a:pt x="177" y="201"/>
                  <a:pt x="179" y="217"/>
                  <a:pt x="191" y="227"/>
                </a:cubicBezTo>
                <a:cubicBezTo>
                  <a:pt x="200" y="234"/>
                  <a:pt x="208" y="238"/>
                  <a:pt x="216" y="238"/>
                </a:cubicBezTo>
                <a:cubicBezTo>
                  <a:pt x="216" y="238"/>
                  <a:pt x="216" y="238"/>
                  <a:pt x="216" y="238"/>
                </a:cubicBezTo>
                <a:cubicBezTo>
                  <a:pt x="222" y="238"/>
                  <a:pt x="228" y="235"/>
                  <a:pt x="233" y="230"/>
                </a:cubicBezTo>
                <a:cubicBezTo>
                  <a:pt x="245" y="217"/>
                  <a:pt x="248" y="193"/>
                  <a:pt x="249" y="172"/>
                </a:cubicBezTo>
                <a:cubicBezTo>
                  <a:pt x="249" y="161"/>
                  <a:pt x="248" y="152"/>
                  <a:pt x="246" y="145"/>
                </a:cubicBezTo>
                <a:close/>
                <a:moveTo>
                  <a:pt x="140" y="93"/>
                </a:moveTo>
                <a:cubicBezTo>
                  <a:pt x="140" y="101"/>
                  <a:pt x="133" y="108"/>
                  <a:pt x="124" y="108"/>
                </a:cubicBezTo>
                <a:cubicBezTo>
                  <a:pt x="41" y="108"/>
                  <a:pt x="41" y="108"/>
                  <a:pt x="41" y="108"/>
                </a:cubicBezTo>
                <a:cubicBezTo>
                  <a:pt x="32" y="108"/>
                  <a:pt x="25" y="101"/>
                  <a:pt x="25" y="93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32"/>
                  <a:pt x="32" y="25"/>
                  <a:pt x="41" y="25"/>
                </a:cubicBezTo>
                <a:cubicBezTo>
                  <a:pt x="124" y="25"/>
                  <a:pt x="124" y="25"/>
                  <a:pt x="124" y="25"/>
                </a:cubicBezTo>
                <a:cubicBezTo>
                  <a:pt x="133" y="25"/>
                  <a:pt x="140" y="32"/>
                  <a:pt x="140" y="40"/>
                </a:cubicBezTo>
                <a:lnTo>
                  <a:pt x="140" y="93"/>
                </a:lnTo>
                <a:close/>
                <a:moveTo>
                  <a:pt x="204" y="90"/>
                </a:moveTo>
                <a:cubicBezTo>
                  <a:pt x="204" y="90"/>
                  <a:pt x="204" y="90"/>
                  <a:pt x="204" y="90"/>
                </a:cubicBezTo>
                <a:cubicBezTo>
                  <a:pt x="205" y="91"/>
                  <a:pt x="205" y="91"/>
                  <a:pt x="205" y="92"/>
                </a:cubicBezTo>
                <a:cubicBezTo>
                  <a:pt x="205" y="94"/>
                  <a:pt x="204" y="97"/>
                  <a:pt x="203" y="97"/>
                </a:cubicBezTo>
                <a:cubicBezTo>
                  <a:pt x="203" y="98"/>
                  <a:pt x="202" y="98"/>
                  <a:pt x="201" y="98"/>
                </a:cubicBezTo>
                <a:cubicBezTo>
                  <a:pt x="198" y="99"/>
                  <a:pt x="192" y="94"/>
                  <a:pt x="189" y="91"/>
                </a:cubicBezTo>
                <a:cubicBezTo>
                  <a:pt x="186" y="88"/>
                  <a:pt x="184" y="82"/>
                  <a:pt x="183" y="76"/>
                </a:cubicBezTo>
                <a:cubicBezTo>
                  <a:pt x="183" y="74"/>
                  <a:pt x="182" y="71"/>
                  <a:pt x="182" y="69"/>
                </a:cubicBezTo>
                <a:lnTo>
                  <a:pt x="204" y="90"/>
                </a:lnTo>
                <a:close/>
                <a:moveTo>
                  <a:pt x="231" y="210"/>
                </a:moveTo>
                <a:cubicBezTo>
                  <a:pt x="229" y="215"/>
                  <a:pt x="226" y="219"/>
                  <a:pt x="224" y="222"/>
                </a:cubicBezTo>
                <a:cubicBezTo>
                  <a:pt x="221" y="224"/>
                  <a:pt x="219" y="225"/>
                  <a:pt x="216" y="225"/>
                </a:cubicBezTo>
                <a:cubicBezTo>
                  <a:pt x="212" y="225"/>
                  <a:pt x="206" y="223"/>
                  <a:pt x="199" y="217"/>
                </a:cubicBezTo>
                <a:cubicBezTo>
                  <a:pt x="194" y="214"/>
                  <a:pt x="191" y="207"/>
                  <a:pt x="189" y="199"/>
                </a:cubicBezTo>
                <a:cubicBezTo>
                  <a:pt x="186" y="186"/>
                  <a:pt x="186" y="170"/>
                  <a:pt x="183" y="156"/>
                </a:cubicBezTo>
                <a:cubicBezTo>
                  <a:pt x="182" y="149"/>
                  <a:pt x="179" y="143"/>
                  <a:pt x="175" y="137"/>
                </a:cubicBezTo>
                <a:cubicBezTo>
                  <a:pt x="173" y="133"/>
                  <a:pt x="169" y="130"/>
                  <a:pt x="164" y="129"/>
                </a:cubicBezTo>
                <a:cubicBezTo>
                  <a:pt x="164" y="52"/>
                  <a:pt x="164" y="52"/>
                  <a:pt x="164" y="52"/>
                </a:cubicBezTo>
                <a:cubicBezTo>
                  <a:pt x="173" y="60"/>
                  <a:pt x="173" y="60"/>
                  <a:pt x="173" y="60"/>
                </a:cubicBezTo>
                <a:cubicBezTo>
                  <a:pt x="173" y="62"/>
                  <a:pt x="172" y="63"/>
                  <a:pt x="172" y="66"/>
                </a:cubicBezTo>
                <a:cubicBezTo>
                  <a:pt x="172" y="67"/>
                  <a:pt x="172" y="67"/>
                  <a:pt x="173" y="68"/>
                </a:cubicBezTo>
                <a:cubicBezTo>
                  <a:pt x="173" y="72"/>
                  <a:pt x="173" y="75"/>
                  <a:pt x="174" y="78"/>
                </a:cubicBezTo>
                <a:cubicBezTo>
                  <a:pt x="175" y="85"/>
                  <a:pt x="177" y="92"/>
                  <a:pt x="182" y="98"/>
                </a:cubicBezTo>
                <a:cubicBezTo>
                  <a:pt x="186" y="102"/>
                  <a:pt x="193" y="107"/>
                  <a:pt x="201" y="108"/>
                </a:cubicBezTo>
                <a:cubicBezTo>
                  <a:pt x="201" y="108"/>
                  <a:pt x="201" y="108"/>
                  <a:pt x="201" y="108"/>
                </a:cubicBezTo>
                <a:cubicBezTo>
                  <a:pt x="204" y="108"/>
                  <a:pt x="207" y="106"/>
                  <a:pt x="210" y="104"/>
                </a:cubicBezTo>
                <a:cubicBezTo>
                  <a:pt x="210" y="104"/>
                  <a:pt x="210" y="104"/>
                  <a:pt x="210" y="104"/>
                </a:cubicBezTo>
                <a:cubicBezTo>
                  <a:pt x="220" y="117"/>
                  <a:pt x="229" y="133"/>
                  <a:pt x="234" y="148"/>
                </a:cubicBezTo>
                <a:cubicBezTo>
                  <a:pt x="235" y="153"/>
                  <a:pt x="236" y="162"/>
                  <a:pt x="236" y="172"/>
                </a:cubicBezTo>
                <a:cubicBezTo>
                  <a:pt x="236" y="185"/>
                  <a:pt x="234" y="199"/>
                  <a:pt x="231" y="21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29" name="Group 189"/>
          <p:cNvGrpSpPr/>
          <p:nvPr>
            <p:custDataLst>
              <p:tags r:id="rId48"/>
            </p:custDataLst>
          </p:nvPr>
        </p:nvGrpSpPr>
        <p:grpSpPr>
          <a:xfrm>
            <a:off x="2918349" y="2238262"/>
            <a:ext cx="377798" cy="520926"/>
            <a:chOff x="-2284413" y="254000"/>
            <a:chExt cx="1185862" cy="1635126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91" name="Freeform 9"/>
            <p:cNvSpPr>
              <a:spLocks noEditPoints="1"/>
            </p:cNvSpPr>
            <p:nvPr/>
          </p:nvSpPr>
          <p:spPr bwMode="auto">
            <a:xfrm>
              <a:off x="-2119313" y="254000"/>
              <a:ext cx="858837" cy="1181100"/>
            </a:xfrm>
            <a:custGeom>
              <a:avLst/>
              <a:gdLst>
                <a:gd name="T0" fmla="*/ 33 w 229"/>
                <a:gd name="T1" fmla="*/ 286 h 315"/>
                <a:gd name="T2" fmla="*/ 195 w 229"/>
                <a:gd name="T3" fmla="*/ 286 h 315"/>
                <a:gd name="T4" fmla="*/ 209 w 229"/>
                <a:gd name="T5" fmla="*/ 315 h 315"/>
                <a:gd name="T6" fmla="*/ 19 w 229"/>
                <a:gd name="T7" fmla="*/ 315 h 315"/>
                <a:gd name="T8" fmla="*/ 33 w 229"/>
                <a:gd name="T9" fmla="*/ 286 h 315"/>
                <a:gd name="T10" fmla="*/ 52 w 229"/>
                <a:gd name="T11" fmla="*/ 75 h 315"/>
                <a:gd name="T12" fmla="*/ 176 w 229"/>
                <a:gd name="T13" fmla="*/ 75 h 315"/>
                <a:gd name="T14" fmla="*/ 190 w 229"/>
                <a:gd name="T15" fmla="*/ 89 h 315"/>
                <a:gd name="T16" fmla="*/ 194 w 229"/>
                <a:gd name="T17" fmla="*/ 137 h 315"/>
                <a:gd name="T18" fmla="*/ 180 w 229"/>
                <a:gd name="T19" fmla="*/ 151 h 315"/>
                <a:gd name="T20" fmla="*/ 48 w 229"/>
                <a:gd name="T21" fmla="*/ 151 h 315"/>
                <a:gd name="T22" fmla="*/ 34 w 229"/>
                <a:gd name="T23" fmla="*/ 137 h 315"/>
                <a:gd name="T24" fmla="*/ 38 w 229"/>
                <a:gd name="T25" fmla="*/ 89 h 315"/>
                <a:gd name="T26" fmla="*/ 52 w 229"/>
                <a:gd name="T27" fmla="*/ 75 h 315"/>
                <a:gd name="T28" fmla="*/ 83 w 229"/>
                <a:gd name="T29" fmla="*/ 43 h 315"/>
                <a:gd name="T30" fmla="*/ 145 w 229"/>
                <a:gd name="T31" fmla="*/ 43 h 315"/>
                <a:gd name="T32" fmla="*/ 151 w 229"/>
                <a:gd name="T33" fmla="*/ 49 h 315"/>
                <a:gd name="T34" fmla="*/ 151 w 229"/>
                <a:gd name="T35" fmla="*/ 59 h 315"/>
                <a:gd name="T36" fmla="*/ 145 w 229"/>
                <a:gd name="T37" fmla="*/ 65 h 315"/>
                <a:gd name="T38" fmla="*/ 83 w 229"/>
                <a:gd name="T39" fmla="*/ 65 h 315"/>
                <a:gd name="T40" fmla="*/ 77 w 229"/>
                <a:gd name="T41" fmla="*/ 59 h 315"/>
                <a:gd name="T42" fmla="*/ 77 w 229"/>
                <a:gd name="T43" fmla="*/ 49 h 315"/>
                <a:gd name="T44" fmla="*/ 83 w 229"/>
                <a:gd name="T45" fmla="*/ 43 h 315"/>
                <a:gd name="T46" fmla="*/ 46 w 229"/>
                <a:gd name="T47" fmla="*/ 33 h 315"/>
                <a:gd name="T48" fmla="*/ 182 w 229"/>
                <a:gd name="T49" fmla="*/ 33 h 315"/>
                <a:gd name="T50" fmla="*/ 212 w 229"/>
                <a:gd name="T51" fmla="*/ 63 h 315"/>
                <a:gd name="T52" fmla="*/ 227 w 229"/>
                <a:gd name="T53" fmla="*/ 249 h 315"/>
                <a:gd name="T54" fmla="*/ 198 w 229"/>
                <a:gd name="T55" fmla="*/ 278 h 315"/>
                <a:gd name="T56" fmla="*/ 30 w 229"/>
                <a:gd name="T57" fmla="*/ 278 h 315"/>
                <a:gd name="T58" fmla="*/ 1 w 229"/>
                <a:gd name="T59" fmla="*/ 249 h 315"/>
                <a:gd name="T60" fmla="*/ 16 w 229"/>
                <a:gd name="T61" fmla="*/ 63 h 315"/>
                <a:gd name="T62" fmla="*/ 46 w 229"/>
                <a:gd name="T63" fmla="*/ 33 h 315"/>
                <a:gd name="T64" fmla="*/ 185 w 229"/>
                <a:gd name="T65" fmla="*/ 216 h 315"/>
                <a:gd name="T66" fmla="*/ 201 w 229"/>
                <a:gd name="T67" fmla="*/ 233 h 315"/>
                <a:gd name="T68" fmla="*/ 185 w 229"/>
                <a:gd name="T69" fmla="*/ 249 h 315"/>
                <a:gd name="T70" fmla="*/ 168 w 229"/>
                <a:gd name="T71" fmla="*/ 233 h 315"/>
                <a:gd name="T72" fmla="*/ 185 w 229"/>
                <a:gd name="T73" fmla="*/ 216 h 315"/>
                <a:gd name="T74" fmla="*/ 44 w 229"/>
                <a:gd name="T75" fmla="*/ 216 h 315"/>
                <a:gd name="T76" fmla="*/ 60 w 229"/>
                <a:gd name="T77" fmla="*/ 233 h 315"/>
                <a:gd name="T78" fmla="*/ 44 w 229"/>
                <a:gd name="T79" fmla="*/ 249 h 315"/>
                <a:gd name="T80" fmla="*/ 27 w 229"/>
                <a:gd name="T81" fmla="*/ 233 h 315"/>
                <a:gd name="T82" fmla="*/ 44 w 229"/>
                <a:gd name="T83" fmla="*/ 216 h 315"/>
                <a:gd name="T84" fmla="*/ 80 w 229"/>
                <a:gd name="T85" fmla="*/ 0 h 315"/>
                <a:gd name="T86" fmla="*/ 93 w 229"/>
                <a:gd name="T87" fmla="*/ 0 h 315"/>
                <a:gd name="T88" fmla="*/ 93 w 229"/>
                <a:gd name="T89" fmla="*/ 26 h 315"/>
                <a:gd name="T90" fmla="*/ 80 w 229"/>
                <a:gd name="T91" fmla="*/ 26 h 315"/>
                <a:gd name="T92" fmla="*/ 80 w 229"/>
                <a:gd name="T93" fmla="*/ 0 h 315"/>
                <a:gd name="T94" fmla="*/ 135 w 229"/>
                <a:gd name="T95" fmla="*/ 0 h 315"/>
                <a:gd name="T96" fmla="*/ 148 w 229"/>
                <a:gd name="T97" fmla="*/ 0 h 315"/>
                <a:gd name="T98" fmla="*/ 148 w 229"/>
                <a:gd name="T99" fmla="*/ 26 h 315"/>
                <a:gd name="T100" fmla="*/ 135 w 229"/>
                <a:gd name="T101" fmla="*/ 26 h 315"/>
                <a:gd name="T102" fmla="*/ 135 w 229"/>
                <a:gd name="T103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29" h="315">
                  <a:moveTo>
                    <a:pt x="33" y="286"/>
                  </a:moveTo>
                  <a:cubicBezTo>
                    <a:pt x="195" y="286"/>
                    <a:pt x="195" y="286"/>
                    <a:pt x="195" y="286"/>
                  </a:cubicBezTo>
                  <a:cubicBezTo>
                    <a:pt x="209" y="315"/>
                    <a:pt x="209" y="315"/>
                    <a:pt x="209" y="315"/>
                  </a:cubicBezTo>
                  <a:cubicBezTo>
                    <a:pt x="19" y="315"/>
                    <a:pt x="19" y="315"/>
                    <a:pt x="19" y="315"/>
                  </a:cubicBezTo>
                  <a:cubicBezTo>
                    <a:pt x="33" y="286"/>
                    <a:pt x="33" y="286"/>
                    <a:pt x="33" y="286"/>
                  </a:cubicBezTo>
                  <a:close/>
                  <a:moveTo>
                    <a:pt x="52" y="75"/>
                  </a:moveTo>
                  <a:cubicBezTo>
                    <a:pt x="176" y="75"/>
                    <a:pt x="176" y="75"/>
                    <a:pt x="176" y="75"/>
                  </a:cubicBezTo>
                  <a:cubicBezTo>
                    <a:pt x="184" y="75"/>
                    <a:pt x="190" y="81"/>
                    <a:pt x="190" y="89"/>
                  </a:cubicBezTo>
                  <a:cubicBezTo>
                    <a:pt x="194" y="137"/>
                    <a:pt x="194" y="137"/>
                    <a:pt x="194" y="137"/>
                  </a:cubicBezTo>
                  <a:cubicBezTo>
                    <a:pt x="195" y="145"/>
                    <a:pt x="188" y="151"/>
                    <a:pt x="180" y="151"/>
                  </a:cubicBezTo>
                  <a:cubicBezTo>
                    <a:pt x="48" y="151"/>
                    <a:pt x="48" y="151"/>
                    <a:pt x="48" y="151"/>
                  </a:cubicBezTo>
                  <a:cubicBezTo>
                    <a:pt x="40" y="151"/>
                    <a:pt x="33" y="145"/>
                    <a:pt x="34" y="137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39" y="81"/>
                    <a:pt x="44" y="75"/>
                    <a:pt x="52" y="75"/>
                  </a:cubicBezTo>
                  <a:close/>
                  <a:moveTo>
                    <a:pt x="83" y="43"/>
                  </a:moveTo>
                  <a:cubicBezTo>
                    <a:pt x="145" y="43"/>
                    <a:pt x="145" y="43"/>
                    <a:pt x="145" y="43"/>
                  </a:cubicBezTo>
                  <a:cubicBezTo>
                    <a:pt x="149" y="43"/>
                    <a:pt x="151" y="46"/>
                    <a:pt x="151" y="49"/>
                  </a:cubicBezTo>
                  <a:cubicBezTo>
                    <a:pt x="151" y="59"/>
                    <a:pt x="151" y="59"/>
                    <a:pt x="151" y="59"/>
                  </a:cubicBezTo>
                  <a:cubicBezTo>
                    <a:pt x="151" y="63"/>
                    <a:pt x="149" y="65"/>
                    <a:pt x="145" y="65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80" y="65"/>
                    <a:pt x="77" y="63"/>
                    <a:pt x="77" y="59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6"/>
                    <a:pt x="80" y="43"/>
                    <a:pt x="83" y="43"/>
                  </a:cubicBezTo>
                  <a:close/>
                  <a:moveTo>
                    <a:pt x="46" y="33"/>
                  </a:moveTo>
                  <a:cubicBezTo>
                    <a:pt x="182" y="33"/>
                    <a:pt x="182" y="33"/>
                    <a:pt x="182" y="33"/>
                  </a:cubicBezTo>
                  <a:cubicBezTo>
                    <a:pt x="199" y="33"/>
                    <a:pt x="211" y="47"/>
                    <a:pt x="212" y="63"/>
                  </a:cubicBezTo>
                  <a:cubicBezTo>
                    <a:pt x="227" y="249"/>
                    <a:pt x="227" y="249"/>
                    <a:pt x="227" y="249"/>
                  </a:cubicBezTo>
                  <a:cubicBezTo>
                    <a:pt x="229" y="265"/>
                    <a:pt x="214" y="278"/>
                    <a:pt x="198" y="278"/>
                  </a:cubicBezTo>
                  <a:cubicBezTo>
                    <a:pt x="30" y="278"/>
                    <a:pt x="30" y="278"/>
                    <a:pt x="30" y="278"/>
                  </a:cubicBezTo>
                  <a:cubicBezTo>
                    <a:pt x="14" y="278"/>
                    <a:pt x="0" y="265"/>
                    <a:pt x="1" y="249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8" y="47"/>
                    <a:pt x="30" y="33"/>
                    <a:pt x="46" y="33"/>
                  </a:cubicBezTo>
                  <a:close/>
                  <a:moveTo>
                    <a:pt x="185" y="216"/>
                  </a:moveTo>
                  <a:cubicBezTo>
                    <a:pt x="194" y="216"/>
                    <a:pt x="201" y="223"/>
                    <a:pt x="201" y="233"/>
                  </a:cubicBezTo>
                  <a:cubicBezTo>
                    <a:pt x="201" y="242"/>
                    <a:pt x="194" y="249"/>
                    <a:pt x="185" y="249"/>
                  </a:cubicBezTo>
                  <a:cubicBezTo>
                    <a:pt x="176" y="249"/>
                    <a:pt x="168" y="242"/>
                    <a:pt x="168" y="233"/>
                  </a:cubicBezTo>
                  <a:cubicBezTo>
                    <a:pt x="168" y="223"/>
                    <a:pt x="176" y="216"/>
                    <a:pt x="185" y="216"/>
                  </a:cubicBezTo>
                  <a:close/>
                  <a:moveTo>
                    <a:pt x="44" y="216"/>
                  </a:moveTo>
                  <a:cubicBezTo>
                    <a:pt x="53" y="216"/>
                    <a:pt x="60" y="223"/>
                    <a:pt x="60" y="233"/>
                  </a:cubicBezTo>
                  <a:cubicBezTo>
                    <a:pt x="60" y="242"/>
                    <a:pt x="53" y="249"/>
                    <a:pt x="44" y="249"/>
                  </a:cubicBezTo>
                  <a:cubicBezTo>
                    <a:pt x="35" y="249"/>
                    <a:pt x="27" y="242"/>
                    <a:pt x="27" y="233"/>
                  </a:cubicBezTo>
                  <a:cubicBezTo>
                    <a:pt x="27" y="223"/>
                    <a:pt x="35" y="216"/>
                    <a:pt x="44" y="216"/>
                  </a:cubicBezTo>
                  <a:close/>
                  <a:moveTo>
                    <a:pt x="80" y="0"/>
                  </a:moveTo>
                  <a:cubicBezTo>
                    <a:pt x="93" y="0"/>
                    <a:pt x="93" y="0"/>
                    <a:pt x="93" y="0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0"/>
                    <a:pt x="80" y="0"/>
                    <a:pt x="80" y="0"/>
                  </a:cubicBezTo>
                  <a:close/>
                  <a:moveTo>
                    <a:pt x="135" y="0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148" y="26"/>
                    <a:pt x="148" y="26"/>
                    <a:pt x="148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0"/>
                    <a:pt x="135" y="0"/>
                    <a:pt x="135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92" name="Freeform 10"/>
            <p:cNvSpPr>
              <a:spLocks noEditPoints="1"/>
            </p:cNvSpPr>
            <p:nvPr/>
          </p:nvSpPr>
          <p:spPr bwMode="auto">
            <a:xfrm>
              <a:off x="-2284413" y="1468438"/>
              <a:ext cx="1185862" cy="420688"/>
            </a:xfrm>
            <a:custGeom>
              <a:avLst/>
              <a:gdLst>
                <a:gd name="T0" fmla="*/ 144 w 747"/>
                <a:gd name="T1" fmla="*/ 0 h 265"/>
                <a:gd name="T2" fmla="*/ 198 w 747"/>
                <a:gd name="T3" fmla="*/ 0 h 265"/>
                <a:gd name="T4" fmla="*/ 85 w 747"/>
                <a:gd name="T5" fmla="*/ 265 h 265"/>
                <a:gd name="T6" fmla="*/ 0 w 747"/>
                <a:gd name="T7" fmla="*/ 265 h 265"/>
                <a:gd name="T8" fmla="*/ 144 w 747"/>
                <a:gd name="T9" fmla="*/ 0 h 265"/>
                <a:gd name="T10" fmla="*/ 144 w 747"/>
                <a:gd name="T11" fmla="*/ 0 h 265"/>
                <a:gd name="T12" fmla="*/ 605 w 747"/>
                <a:gd name="T13" fmla="*/ 0 h 265"/>
                <a:gd name="T14" fmla="*/ 550 w 747"/>
                <a:gd name="T15" fmla="*/ 0 h 265"/>
                <a:gd name="T16" fmla="*/ 661 w 747"/>
                <a:gd name="T17" fmla="*/ 265 h 265"/>
                <a:gd name="T18" fmla="*/ 747 w 747"/>
                <a:gd name="T19" fmla="*/ 265 h 265"/>
                <a:gd name="T20" fmla="*/ 605 w 747"/>
                <a:gd name="T21" fmla="*/ 0 h 265"/>
                <a:gd name="T22" fmla="*/ 605 w 747"/>
                <a:gd name="T23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7" h="265">
                  <a:moveTo>
                    <a:pt x="144" y="0"/>
                  </a:moveTo>
                  <a:lnTo>
                    <a:pt x="198" y="0"/>
                  </a:lnTo>
                  <a:lnTo>
                    <a:pt x="85" y="265"/>
                  </a:lnTo>
                  <a:lnTo>
                    <a:pt x="0" y="265"/>
                  </a:lnTo>
                  <a:lnTo>
                    <a:pt x="144" y="0"/>
                  </a:lnTo>
                  <a:lnTo>
                    <a:pt x="144" y="0"/>
                  </a:lnTo>
                  <a:close/>
                  <a:moveTo>
                    <a:pt x="605" y="0"/>
                  </a:moveTo>
                  <a:lnTo>
                    <a:pt x="550" y="0"/>
                  </a:lnTo>
                  <a:lnTo>
                    <a:pt x="661" y="265"/>
                  </a:lnTo>
                  <a:lnTo>
                    <a:pt x="747" y="265"/>
                  </a:lnTo>
                  <a:lnTo>
                    <a:pt x="605" y="0"/>
                  </a:lnTo>
                  <a:lnTo>
                    <a:pt x="60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93" name="Freeform 60"/>
          <p:cNvSpPr>
            <a:spLocks noEditPoints="1"/>
          </p:cNvSpPr>
          <p:nvPr>
            <p:custDataLst>
              <p:tags r:id="rId49"/>
            </p:custDataLst>
          </p:nvPr>
        </p:nvSpPr>
        <p:spPr bwMode="auto">
          <a:xfrm>
            <a:off x="41275" y="2622550"/>
            <a:ext cx="338138" cy="333375"/>
          </a:xfrm>
          <a:custGeom>
            <a:avLst/>
            <a:gdLst>
              <a:gd name="T0" fmla="*/ 246 w 249"/>
              <a:gd name="T1" fmla="*/ 145 h 245"/>
              <a:gd name="T2" fmla="*/ 214 w 249"/>
              <a:gd name="T3" fmla="*/ 89 h 245"/>
              <a:gd name="T4" fmla="*/ 214 w 249"/>
              <a:gd name="T5" fmla="*/ 89 h 245"/>
              <a:gd name="T6" fmla="*/ 211 w 249"/>
              <a:gd name="T7" fmla="*/ 84 h 245"/>
              <a:gd name="T8" fmla="*/ 211 w 249"/>
              <a:gd name="T9" fmla="*/ 84 h 245"/>
              <a:gd name="T10" fmla="*/ 165 w 249"/>
              <a:gd name="T11" fmla="*/ 39 h 245"/>
              <a:gd name="T12" fmla="*/ 164 w 249"/>
              <a:gd name="T13" fmla="*/ 39 h 245"/>
              <a:gd name="T14" fmla="*/ 164 w 249"/>
              <a:gd name="T15" fmla="*/ 15 h 245"/>
              <a:gd name="T16" fmla="*/ 149 w 249"/>
              <a:gd name="T17" fmla="*/ 0 h 245"/>
              <a:gd name="T18" fmla="*/ 16 w 249"/>
              <a:gd name="T19" fmla="*/ 0 h 245"/>
              <a:gd name="T20" fmla="*/ 0 w 249"/>
              <a:gd name="T21" fmla="*/ 15 h 245"/>
              <a:gd name="T22" fmla="*/ 0 w 249"/>
              <a:gd name="T23" fmla="*/ 229 h 245"/>
              <a:gd name="T24" fmla="*/ 16 w 249"/>
              <a:gd name="T25" fmla="*/ 245 h 245"/>
              <a:gd name="T26" fmla="*/ 149 w 249"/>
              <a:gd name="T27" fmla="*/ 245 h 245"/>
              <a:gd name="T28" fmla="*/ 164 w 249"/>
              <a:gd name="T29" fmla="*/ 229 h 245"/>
              <a:gd name="T30" fmla="*/ 164 w 249"/>
              <a:gd name="T31" fmla="*/ 143 h 245"/>
              <a:gd name="T32" fmla="*/ 168 w 249"/>
              <a:gd name="T33" fmla="*/ 148 h 245"/>
              <a:gd name="T34" fmla="*/ 175 w 249"/>
              <a:gd name="T35" fmla="*/ 187 h 245"/>
              <a:gd name="T36" fmla="*/ 191 w 249"/>
              <a:gd name="T37" fmla="*/ 227 h 245"/>
              <a:gd name="T38" fmla="*/ 216 w 249"/>
              <a:gd name="T39" fmla="*/ 238 h 245"/>
              <a:gd name="T40" fmla="*/ 216 w 249"/>
              <a:gd name="T41" fmla="*/ 238 h 245"/>
              <a:gd name="T42" fmla="*/ 233 w 249"/>
              <a:gd name="T43" fmla="*/ 230 h 245"/>
              <a:gd name="T44" fmla="*/ 249 w 249"/>
              <a:gd name="T45" fmla="*/ 172 h 245"/>
              <a:gd name="T46" fmla="*/ 246 w 249"/>
              <a:gd name="T47" fmla="*/ 145 h 245"/>
              <a:gd name="T48" fmla="*/ 140 w 249"/>
              <a:gd name="T49" fmla="*/ 93 h 245"/>
              <a:gd name="T50" fmla="*/ 124 w 249"/>
              <a:gd name="T51" fmla="*/ 108 h 245"/>
              <a:gd name="T52" fmla="*/ 41 w 249"/>
              <a:gd name="T53" fmla="*/ 108 h 245"/>
              <a:gd name="T54" fmla="*/ 25 w 249"/>
              <a:gd name="T55" fmla="*/ 93 h 245"/>
              <a:gd name="T56" fmla="*/ 25 w 249"/>
              <a:gd name="T57" fmla="*/ 40 h 245"/>
              <a:gd name="T58" fmla="*/ 41 w 249"/>
              <a:gd name="T59" fmla="*/ 25 h 245"/>
              <a:gd name="T60" fmla="*/ 124 w 249"/>
              <a:gd name="T61" fmla="*/ 25 h 245"/>
              <a:gd name="T62" fmla="*/ 140 w 249"/>
              <a:gd name="T63" fmla="*/ 40 h 245"/>
              <a:gd name="T64" fmla="*/ 140 w 249"/>
              <a:gd name="T65" fmla="*/ 93 h 245"/>
              <a:gd name="T66" fmla="*/ 204 w 249"/>
              <a:gd name="T67" fmla="*/ 90 h 245"/>
              <a:gd name="T68" fmla="*/ 204 w 249"/>
              <a:gd name="T69" fmla="*/ 90 h 245"/>
              <a:gd name="T70" fmla="*/ 205 w 249"/>
              <a:gd name="T71" fmla="*/ 92 h 245"/>
              <a:gd name="T72" fmla="*/ 203 w 249"/>
              <a:gd name="T73" fmla="*/ 97 h 245"/>
              <a:gd name="T74" fmla="*/ 201 w 249"/>
              <a:gd name="T75" fmla="*/ 98 h 245"/>
              <a:gd name="T76" fmla="*/ 189 w 249"/>
              <a:gd name="T77" fmla="*/ 91 h 245"/>
              <a:gd name="T78" fmla="*/ 183 w 249"/>
              <a:gd name="T79" fmla="*/ 76 h 245"/>
              <a:gd name="T80" fmla="*/ 182 w 249"/>
              <a:gd name="T81" fmla="*/ 69 h 245"/>
              <a:gd name="T82" fmla="*/ 204 w 249"/>
              <a:gd name="T83" fmla="*/ 90 h 245"/>
              <a:gd name="T84" fmla="*/ 231 w 249"/>
              <a:gd name="T85" fmla="*/ 210 h 245"/>
              <a:gd name="T86" fmla="*/ 224 w 249"/>
              <a:gd name="T87" fmla="*/ 222 h 245"/>
              <a:gd name="T88" fmla="*/ 216 w 249"/>
              <a:gd name="T89" fmla="*/ 225 h 245"/>
              <a:gd name="T90" fmla="*/ 199 w 249"/>
              <a:gd name="T91" fmla="*/ 217 h 245"/>
              <a:gd name="T92" fmla="*/ 189 w 249"/>
              <a:gd name="T93" fmla="*/ 199 h 245"/>
              <a:gd name="T94" fmla="*/ 183 w 249"/>
              <a:gd name="T95" fmla="*/ 156 h 245"/>
              <a:gd name="T96" fmla="*/ 175 w 249"/>
              <a:gd name="T97" fmla="*/ 137 h 245"/>
              <a:gd name="T98" fmla="*/ 164 w 249"/>
              <a:gd name="T99" fmla="*/ 129 h 245"/>
              <a:gd name="T100" fmla="*/ 164 w 249"/>
              <a:gd name="T101" fmla="*/ 52 h 245"/>
              <a:gd name="T102" fmla="*/ 173 w 249"/>
              <a:gd name="T103" fmla="*/ 60 h 245"/>
              <a:gd name="T104" fmla="*/ 172 w 249"/>
              <a:gd name="T105" fmla="*/ 66 h 245"/>
              <a:gd name="T106" fmla="*/ 173 w 249"/>
              <a:gd name="T107" fmla="*/ 68 h 245"/>
              <a:gd name="T108" fmla="*/ 174 w 249"/>
              <a:gd name="T109" fmla="*/ 78 h 245"/>
              <a:gd name="T110" fmla="*/ 182 w 249"/>
              <a:gd name="T111" fmla="*/ 98 h 245"/>
              <a:gd name="T112" fmla="*/ 201 w 249"/>
              <a:gd name="T113" fmla="*/ 108 h 245"/>
              <a:gd name="T114" fmla="*/ 201 w 249"/>
              <a:gd name="T115" fmla="*/ 108 h 245"/>
              <a:gd name="T116" fmla="*/ 210 w 249"/>
              <a:gd name="T117" fmla="*/ 104 h 245"/>
              <a:gd name="T118" fmla="*/ 210 w 249"/>
              <a:gd name="T119" fmla="*/ 104 h 245"/>
              <a:gd name="T120" fmla="*/ 234 w 249"/>
              <a:gd name="T121" fmla="*/ 148 h 245"/>
              <a:gd name="T122" fmla="*/ 236 w 249"/>
              <a:gd name="T123" fmla="*/ 172 h 245"/>
              <a:gd name="T124" fmla="*/ 231 w 249"/>
              <a:gd name="T125" fmla="*/ 21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49" h="245">
                <a:moveTo>
                  <a:pt x="246" y="145"/>
                </a:moveTo>
                <a:cubicBezTo>
                  <a:pt x="239" y="124"/>
                  <a:pt x="227" y="105"/>
                  <a:pt x="214" y="89"/>
                </a:cubicBezTo>
                <a:cubicBezTo>
                  <a:pt x="214" y="89"/>
                  <a:pt x="214" y="89"/>
                  <a:pt x="214" y="89"/>
                </a:cubicBezTo>
                <a:cubicBezTo>
                  <a:pt x="214" y="87"/>
                  <a:pt x="213" y="85"/>
                  <a:pt x="211" y="84"/>
                </a:cubicBezTo>
                <a:cubicBezTo>
                  <a:pt x="211" y="84"/>
                  <a:pt x="211" y="84"/>
                  <a:pt x="211" y="84"/>
                </a:cubicBezTo>
                <a:cubicBezTo>
                  <a:pt x="165" y="39"/>
                  <a:pt x="165" y="39"/>
                  <a:pt x="165" y="39"/>
                </a:cubicBezTo>
                <a:cubicBezTo>
                  <a:pt x="165" y="39"/>
                  <a:pt x="164" y="39"/>
                  <a:pt x="164" y="39"/>
                </a:cubicBezTo>
                <a:cubicBezTo>
                  <a:pt x="164" y="15"/>
                  <a:pt x="164" y="15"/>
                  <a:pt x="164" y="15"/>
                </a:cubicBezTo>
                <a:cubicBezTo>
                  <a:pt x="164" y="7"/>
                  <a:pt x="158" y="0"/>
                  <a:pt x="14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5"/>
                </a:cubicBezTo>
                <a:cubicBezTo>
                  <a:pt x="0" y="229"/>
                  <a:pt x="0" y="229"/>
                  <a:pt x="0" y="229"/>
                </a:cubicBezTo>
                <a:cubicBezTo>
                  <a:pt x="0" y="238"/>
                  <a:pt x="7" y="245"/>
                  <a:pt x="16" y="245"/>
                </a:cubicBezTo>
                <a:cubicBezTo>
                  <a:pt x="149" y="245"/>
                  <a:pt x="149" y="245"/>
                  <a:pt x="149" y="245"/>
                </a:cubicBezTo>
                <a:cubicBezTo>
                  <a:pt x="158" y="245"/>
                  <a:pt x="164" y="238"/>
                  <a:pt x="164" y="229"/>
                </a:cubicBezTo>
                <a:cubicBezTo>
                  <a:pt x="164" y="143"/>
                  <a:pt x="164" y="143"/>
                  <a:pt x="164" y="143"/>
                </a:cubicBezTo>
                <a:cubicBezTo>
                  <a:pt x="166" y="144"/>
                  <a:pt x="167" y="146"/>
                  <a:pt x="168" y="148"/>
                </a:cubicBezTo>
                <a:cubicBezTo>
                  <a:pt x="172" y="157"/>
                  <a:pt x="173" y="172"/>
                  <a:pt x="175" y="187"/>
                </a:cubicBezTo>
                <a:cubicBezTo>
                  <a:pt x="177" y="201"/>
                  <a:pt x="179" y="217"/>
                  <a:pt x="191" y="227"/>
                </a:cubicBezTo>
                <a:cubicBezTo>
                  <a:pt x="200" y="234"/>
                  <a:pt x="208" y="238"/>
                  <a:pt x="216" y="238"/>
                </a:cubicBezTo>
                <a:cubicBezTo>
                  <a:pt x="216" y="238"/>
                  <a:pt x="216" y="238"/>
                  <a:pt x="216" y="238"/>
                </a:cubicBezTo>
                <a:cubicBezTo>
                  <a:pt x="222" y="238"/>
                  <a:pt x="228" y="235"/>
                  <a:pt x="233" y="230"/>
                </a:cubicBezTo>
                <a:cubicBezTo>
                  <a:pt x="245" y="217"/>
                  <a:pt x="248" y="193"/>
                  <a:pt x="249" y="172"/>
                </a:cubicBezTo>
                <a:cubicBezTo>
                  <a:pt x="249" y="161"/>
                  <a:pt x="248" y="152"/>
                  <a:pt x="246" y="145"/>
                </a:cubicBezTo>
                <a:close/>
                <a:moveTo>
                  <a:pt x="140" y="93"/>
                </a:moveTo>
                <a:cubicBezTo>
                  <a:pt x="140" y="101"/>
                  <a:pt x="133" y="108"/>
                  <a:pt x="124" y="108"/>
                </a:cubicBezTo>
                <a:cubicBezTo>
                  <a:pt x="41" y="108"/>
                  <a:pt x="41" y="108"/>
                  <a:pt x="41" y="108"/>
                </a:cubicBezTo>
                <a:cubicBezTo>
                  <a:pt x="32" y="108"/>
                  <a:pt x="25" y="101"/>
                  <a:pt x="25" y="93"/>
                </a:cubicBezTo>
                <a:cubicBezTo>
                  <a:pt x="25" y="40"/>
                  <a:pt x="25" y="40"/>
                  <a:pt x="25" y="40"/>
                </a:cubicBezTo>
                <a:cubicBezTo>
                  <a:pt x="25" y="32"/>
                  <a:pt x="32" y="25"/>
                  <a:pt x="41" y="25"/>
                </a:cubicBezTo>
                <a:cubicBezTo>
                  <a:pt x="124" y="25"/>
                  <a:pt x="124" y="25"/>
                  <a:pt x="124" y="25"/>
                </a:cubicBezTo>
                <a:cubicBezTo>
                  <a:pt x="133" y="25"/>
                  <a:pt x="140" y="32"/>
                  <a:pt x="140" y="40"/>
                </a:cubicBezTo>
                <a:lnTo>
                  <a:pt x="140" y="93"/>
                </a:lnTo>
                <a:close/>
                <a:moveTo>
                  <a:pt x="204" y="90"/>
                </a:moveTo>
                <a:cubicBezTo>
                  <a:pt x="204" y="90"/>
                  <a:pt x="204" y="90"/>
                  <a:pt x="204" y="90"/>
                </a:cubicBezTo>
                <a:cubicBezTo>
                  <a:pt x="205" y="91"/>
                  <a:pt x="205" y="91"/>
                  <a:pt x="205" y="92"/>
                </a:cubicBezTo>
                <a:cubicBezTo>
                  <a:pt x="205" y="94"/>
                  <a:pt x="204" y="97"/>
                  <a:pt x="203" y="97"/>
                </a:cubicBezTo>
                <a:cubicBezTo>
                  <a:pt x="203" y="98"/>
                  <a:pt x="202" y="98"/>
                  <a:pt x="201" y="98"/>
                </a:cubicBezTo>
                <a:cubicBezTo>
                  <a:pt x="198" y="99"/>
                  <a:pt x="192" y="94"/>
                  <a:pt x="189" y="91"/>
                </a:cubicBezTo>
                <a:cubicBezTo>
                  <a:pt x="186" y="88"/>
                  <a:pt x="184" y="82"/>
                  <a:pt x="183" y="76"/>
                </a:cubicBezTo>
                <a:cubicBezTo>
                  <a:pt x="183" y="74"/>
                  <a:pt x="182" y="71"/>
                  <a:pt x="182" y="69"/>
                </a:cubicBezTo>
                <a:lnTo>
                  <a:pt x="204" y="90"/>
                </a:lnTo>
                <a:close/>
                <a:moveTo>
                  <a:pt x="231" y="210"/>
                </a:moveTo>
                <a:cubicBezTo>
                  <a:pt x="229" y="215"/>
                  <a:pt x="226" y="219"/>
                  <a:pt x="224" y="222"/>
                </a:cubicBezTo>
                <a:cubicBezTo>
                  <a:pt x="221" y="224"/>
                  <a:pt x="219" y="225"/>
                  <a:pt x="216" y="225"/>
                </a:cubicBezTo>
                <a:cubicBezTo>
                  <a:pt x="212" y="225"/>
                  <a:pt x="206" y="223"/>
                  <a:pt x="199" y="217"/>
                </a:cubicBezTo>
                <a:cubicBezTo>
                  <a:pt x="194" y="214"/>
                  <a:pt x="191" y="207"/>
                  <a:pt x="189" y="199"/>
                </a:cubicBezTo>
                <a:cubicBezTo>
                  <a:pt x="186" y="186"/>
                  <a:pt x="186" y="170"/>
                  <a:pt x="183" y="156"/>
                </a:cubicBezTo>
                <a:cubicBezTo>
                  <a:pt x="182" y="149"/>
                  <a:pt x="179" y="143"/>
                  <a:pt x="175" y="137"/>
                </a:cubicBezTo>
                <a:cubicBezTo>
                  <a:pt x="173" y="133"/>
                  <a:pt x="169" y="130"/>
                  <a:pt x="164" y="129"/>
                </a:cubicBezTo>
                <a:cubicBezTo>
                  <a:pt x="164" y="52"/>
                  <a:pt x="164" y="52"/>
                  <a:pt x="164" y="52"/>
                </a:cubicBezTo>
                <a:cubicBezTo>
                  <a:pt x="173" y="60"/>
                  <a:pt x="173" y="60"/>
                  <a:pt x="173" y="60"/>
                </a:cubicBezTo>
                <a:cubicBezTo>
                  <a:pt x="173" y="62"/>
                  <a:pt x="172" y="63"/>
                  <a:pt x="172" y="66"/>
                </a:cubicBezTo>
                <a:cubicBezTo>
                  <a:pt x="172" y="67"/>
                  <a:pt x="172" y="67"/>
                  <a:pt x="173" y="68"/>
                </a:cubicBezTo>
                <a:cubicBezTo>
                  <a:pt x="173" y="72"/>
                  <a:pt x="173" y="75"/>
                  <a:pt x="174" y="78"/>
                </a:cubicBezTo>
                <a:cubicBezTo>
                  <a:pt x="175" y="85"/>
                  <a:pt x="177" y="92"/>
                  <a:pt x="182" y="98"/>
                </a:cubicBezTo>
                <a:cubicBezTo>
                  <a:pt x="186" y="102"/>
                  <a:pt x="193" y="107"/>
                  <a:pt x="201" y="108"/>
                </a:cubicBezTo>
                <a:cubicBezTo>
                  <a:pt x="201" y="108"/>
                  <a:pt x="201" y="108"/>
                  <a:pt x="201" y="108"/>
                </a:cubicBezTo>
                <a:cubicBezTo>
                  <a:pt x="204" y="108"/>
                  <a:pt x="207" y="106"/>
                  <a:pt x="210" y="104"/>
                </a:cubicBezTo>
                <a:cubicBezTo>
                  <a:pt x="210" y="104"/>
                  <a:pt x="210" y="104"/>
                  <a:pt x="210" y="104"/>
                </a:cubicBezTo>
                <a:cubicBezTo>
                  <a:pt x="220" y="117"/>
                  <a:pt x="229" y="133"/>
                  <a:pt x="234" y="148"/>
                </a:cubicBezTo>
                <a:cubicBezTo>
                  <a:pt x="235" y="153"/>
                  <a:pt x="236" y="162"/>
                  <a:pt x="236" y="172"/>
                </a:cubicBezTo>
                <a:cubicBezTo>
                  <a:pt x="236" y="185"/>
                  <a:pt x="234" y="199"/>
                  <a:pt x="231" y="21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30" name="Group 193"/>
          <p:cNvGrpSpPr/>
          <p:nvPr>
            <p:custDataLst>
              <p:tags r:id="rId50"/>
            </p:custDataLst>
          </p:nvPr>
        </p:nvGrpSpPr>
        <p:grpSpPr>
          <a:xfrm>
            <a:off x="407988" y="2213302"/>
            <a:ext cx="199885" cy="185747"/>
            <a:chOff x="3791090" y="2972422"/>
            <a:chExt cx="428485" cy="3981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95" name="Freeform 18"/>
            <p:cNvSpPr>
              <a:spLocks noEditPoints="1"/>
            </p:cNvSpPr>
            <p:nvPr/>
          </p:nvSpPr>
          <p:spPr bwMode="auto">
            <a:xfrm>
              <a:off x="3791090" y="2972422"/>
              <a:ext cx="428485" cy="398177"/>
            </a:xfrm>
            <a:custGeom>
              <a:avLst/>
              <a:gdLst>
                <a:gd name="T0" fmla="*/ 240 w 479"/>
                <a:gd name="T1" fmla="*/ 0 h 445"/>
                <a:gd name="T2" fmla="*/ 0 w 479"/>
                <a:gd name="T3" fmla="*/ 222 h 445"/>
                <a:gd name="T4" fmla="*/ 240 w 479"/>
                <a:gd name="T5" fmla="*/ 445 h 445"/>
                <a:gd name="T6" fmla="*/ 479 w 479"/>
                <a:gd name="T7" fmla="*/ 222 h 445"/>
                <a:gd name="T8" fmla="*/ 240 w 479"/>
                <a:gd name="T9" fmla="*/ 0 h 445"/>
                <a:gd name="T10" fmla="*/ 240 w 479"/>
                <a:gd name="T11" fmla="*/ 377 h 445"/>
                <a:gd name="T12" fmla="*/ 70 w 479"/>
                <a:gd name="T13" fmla="*/ 222 h 445"/>
                <a:gd name="T14" fmla="*/ 240 w 479"/>
                <a:gd name="T15" fmla="*/ 67 h 445"/>
                <a:gd name="T16" fmla="*/ 410 w 479"/>
                <a:gd name="T17" fmla="*/ 222 h 445"/>
                <a:gd name="T18" fmla="*/ 240 w 479"/>
                <a:gd name="T19" fmla="*/ 377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9" h="445">
                  <a:moveTo>
                    <a:pt x="240" y="0"/>
                  </a:moveTo>
                  <a:cubicBezTo>
                    <a:pt x="108" y="0"/>
                    <a:pt x="0" y="99"/>
                    <a:pt x="0" y="222"/>
                  </a:cubicBezTo>
                  <a:cubicBezTo>
                    <a:pt x="0" y="345"/>
                    <a:pt x="108" y="445"/>
                    <a:pt x="240" y="445"/>
                  </a:cubicBezTo>
                  <a:cubicBezTo>
                    <a:pt x="372" y="445"/>
                    <a:pt x="479" y="345"/>
                    <a:pt x="479" y="222"/>
                  </a:cubicBezTo>
                  <a:cubicBezTo>
                    <a:pt x="479" y="99"/>
                    <a:pt x="372" y="0"/>
                    <a:pt x="240" y="0"/>
                  </a:cubicBezTo>
                  <a:close/>
                  <a:moveTo>
                    <a:pt x="240" y="377"/>
                  </a:moveTo>
                  <a:cubicBezTo>
                    <a:pt x="146" y="377"/>
                    <a:pt x="70" y="308"/>
                    <a:pt x="70" y="222"/>
                  </a:cubicBezTo>
                  <a:cubicBezTo>
                    <a:pt x="70" y="137"/>
                    <a:pt x="146" y="67"/>
                    <a:pt x="240" y="67"/>
                  </a:cubicBezTo>
                  <a:cubicBezTo>
                    <a:pt x="333" y="67"/>
                    <a:pt x="410" y="137"/>
                    <a:pt x="410" y="222"/>
                  </a:cubicBezTo>
                  <a:cubicBezTo>
                    <a:pt x="410" y="308"/>
                    <a:pt x="333" y="377"/>
                    <a:pt x="240" y="37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96" name="Freeform 19"/>
            <p:cNvSpPr>
              <a:spLocks/>
            </p:cNvSpPr>
            <p:nvPr/>
          </p:nvSpPr>
          <p:spPr bwMode="auto">
            <a:xfrm>
              <a:off x="3872544" y="3062590"/>
              <a:ext cx="266714" cy="96608"/>
            </a:xfrm>
            <a:custGeom>
              <a:avLst/>
              <a:gdLst>
                <a:gd name="T0" fmla="*/ 298 w 298"/>
                <a:gd name="T1" fmla="*/ 77 h 108"/>
                <a:gd name="T2" fmla="*/ 293 w 298"/>
                <a:gd name="T3" fmla="*/ 71 h 108"/>
                <a:gd name="T4" fmla="*/ 261 w 298"/>
                <a:gd name="T5" fmla="*/ 92 h 108"/>
                <a:gd name="T6" fmla="*/ 230 w 298"/>
                <a:gd name="T7" fmla="*/ 58 h 108"/>
                <a:gd name="T8" fmla="*/ 248 w 298"/>
                <a:gd name="T9" fmla="*/ 24 h 108"/>
                <a:gd name="T10" fmla="*/ 239 w 298"/>
                <a:gd name="T11" fmla="*/ 21 h 108"/>
                <a:gd name="T12" fmla="*/ 223 w 298"/>
                <a:gd name="T13" fmla="*/ 52 h 108"/>
                <a:gd name="T14" fmla="*/ 222 w 298"/>
                <a:gd name="T15" fmla="*/ 53 h 108"/>
                <a:gd name="T16" fmla="*/ 156 w 298"/>
                <a:gd name="T17" fmla="*/ 36 h 108"/>
                <a:gd name="T18" fmla="*/ 156 w 298"/>
                <a:gd name="T19" fmla="*/ 0 h 108"/>
                <a:gd name="T20" fmla="*/ 146 w 298"/>
                <a:gd name="T21" fmla="*/ 0 h 108"/>
                <a:gd name="T22" fmla="*/ 146 w 298"/>
                <a:gd name="T23" fmla="*/ 36 h 108"/>
                <a:gd name="T24" fmla="*/ 89 w 298"/>
                <a:gd name="T25" fmla="*/ 49 h 108"/>
                <a:gd name="T26" fmla="*/ 71 w 298"/>
                <a:gd name="T27" fmla="*/ 15 h 108"/>
                <a:gd name="T28" fmla="*/ 62 w 298"/>
                <a:gd name="T29" fmla="*/ 18 h 108"/>
                <a:gd name="T30" fmla="*/ 69 w 298"/>
                <a:gd name="T31" fmla="*/ 31 h 108"/>
                <a:gd name="T32" fmla="*/ 18 w 298"/>
                <a:gd name="T33" fmla="*/ 79 h 108"/>
                <a:gd name="T34" fmla="*/ 6 w 298"/>
                <a:gd name="T35" fmla="*/ 71 h 108"/>
                <a:gd name="T36" fmla="*/ 0 w 298"/>
                <a:gd name="T37" fmla="*/ 77 h 108"/>
                <a:gd name="T38" fmla="*/ 34 w 298"/>
                <a:gd name="T39" fmla="*/ 100 h 108"/>
                <a:gd name="T40" fmla="*/ 33 w 298"/>
                <a:gd name="T41" fmla="*/ 103 h 108"/>
                <a:gd name="T42" fmla="*/ 44 w 298"/>
                <a:gd name="T43" fmla="*/ 108 h 108"/>
                <a:gd name="T44" fmla="*/ 150 w 298"/>
                <a:gd name="T45" fmla="*/ 47 h 108"/>
                <a:gd name="T46" fmla="*/ 257 w 298"/>
                <a:gd name="T47" fmla="*/ 108 h 108"/>
                <a:gd name="T48" fmla="*/ 268 w 298"/>
                <a:gd name="T49" fmla="*/ 103 h 108"/>
                <a:gd name="T50" fmla="*/ 266 w 298"/>
                <a:gd name="T51" fmla="*/ 99 h 108"/>
                <a:gd name="T52" fmla="*/ 298 w 298"/>
                <a:gd name="T53" fmla="*/ 7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8" h="108">
                  <a:moveTo>
                    <a:pt x="298" y="77"/>
                  </a:moveTo>
                  <a:cubicBezTo>
                    <a:pt x="293" y="71"/>
                    <a:pt x="293" y="71"/>
                    <a:pt x="293" y="71"/>
                  </a:cubicBezTo>
                  <a:cubicBezTo>
                    <a:pt x="261" y="92"/>
                    <a:pt x="261" y="92"/>
                    <a:pt x="261" y="92"/>
                  </a:cubicBezTo>
                  <a:cubicBezTo>
                    <a:pt x="252" y="77"/>
                    <a:pt x="242" y="66"/>
                    <a:pt x="230" y="58"/>
                  </a:cubicBezTo>
                  <a:cubicBezTo>
                    <a:pt x="248" y="24"/>
                    <a:pt x="248" y="24"/>
                    <a:pt x="248" y="24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23" y="52"/>
                    <a:pt x="223" y="52"/>
                    <a:pt x="223" y="52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04" y="42"/>
                    <a:pt x="183" y="37"/>
                    <a:pt x="156" y="36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25" y="37"/>
                    <a:pt x="106" y="41"/>
                    <a:pt x="89" y="49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44" y="43"/>
                    <a:pt x="28" y="61"/>
                    <a:pt x="18" y="79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34" y="101"/>
                    <a:pt x="33" y="102"/>
                    <a:pt x="33" y="103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51" y="94"/>
                    <a:pt x="79" y="47"/>
                    <a:pt x="150" y="47"/>
                  </a:cubicBezTo>
                  <a:cubicBezTo>
                    <a:pt x="215" y="47"/>
                    <a:pt x="240" y="77"/>
                    <a:pt x="257" y="108"/>
                  </a:cubicBezTo>
                  <a:cubicBezTo>
                    <a:pt x="268" y="103"/>
                    <a:pt x="268" y="103"/>
                    <a:pt x="268" y="103"/>
                  </a:cubicBezTo>
                  <a:cubicBezTo>
                    <a:pt x="267" y="102"/>
                    <a:pt x="266" y="100"/>
                    <a:pt x="266" y="99"/>
                  </a:cubicBezTo>
                  <a:lnTo>
                    <a:pt x="298" y="7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97" name="Freeform 20"/>
            <p:cNvSpPr>
              <a:spLocks/>
            </p:cNvSpPr>
            <p:nvPr/>
          </p:nvSpPr>
          <p:spPr bwMode="auto">
            <a:xfrm>
              <a:off x="3893002" y="3166396"/>
              <a:ext cx="27656" cy="38643"/>
            </a:xfrm>
            <a:custGeom>
              <a:avLst/>
              <a:gdLst>
                <a:gd name="T0" fmla="*/ 66 w 73"/>
                <a:gd name="T1" fmla="*/ 57 h 102"/>
                <a:gd name="T2" fmla="*/ 21 w 73"/>
                <a:gd name="T3" fmla="*/ 57 h 102"/>
                <a:gd name="T4" fmla="*/ 21 w 73"/>
                <a:gd name="T5" fmla="*/ 85 h 102"/>
                <a:gd name="T6" fmla="*/ 73 w 73"/>
                <a:gd name="T7" fmla="*/ 85 h 102"/>
                <a:gd name="T8" fmla="*/ 73 w 73"/>
                <a:gd name="T9" fmla="*/ 102 h 102"/>
                <a:gd name="T10" fmla="*/ 0 w 73"/>
                <a:gd name="T11" fmla="*/ 102 h 102"/>
                <a:gd name="T12" fmla="*/ 0 w 73"/>
                <a:gd name="T13" fmla="*/ 0 h 102"/>
                <a:gd name="T14" fmla="*/ 69 w 73"/>
                <a:gd name="T15" fmla="*/ 0 h 102"/>
                <a:gd name="T16" fmla="*/ 69 w 73"/>
                <a:gd name="T17" fmla="*/ 14 h 102"/>
                <a:gd name="T18" fmla="*/ 21 w 73"/>
                <a:gd name="T19" fmla="*/ 14 h 102"/>
                <a:gd name="T20" fmla="*/ 21 w 73"/>
                <a:gd name="T21" fmla="*/ 40 h 102"/>
                <a:gd name="T22" fmla="*/ 66 w 73"/>
                <a:gd name="T23" fmla="*/ 40 h 102"/>
                <a:gd name="T24" fmla="*/ 66 w 73"/>
                <a:gd name="T25" fmla="*/ 57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102">
                  <a:moveTo>
                    <a:pt x="66" y="57"/>
                  </a:moveTo>
                  <a:lnTo>
                    <a:pt x="21" y="57"/>
                  </a:lnTo>
                  <a:lnTo>
                    <a:pt x="21" y="85"/>
                  </a:lnTo>
                  <a:lnTo>
                    <a:pt x="73" y="85"/>
                  </a:lnTo>
                  <a:lnTo>
                    <a:pt x="73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4"/>
                  </a:lnTo>
                  <a:lnTo>
                    <a:pt x="21" y="14"/>
                  </a:lnTo>
                  <a:lnTo>
                    <a:pt x="21" y="40"/>
                  </a:lnTo>
                  <a:lnTo>
                    <a:pt x="66" y="40"/>
                  </a:lnTo>
                  <a:lnTo>
                    <a:pt x="66" y="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98" name="Freeform 21"/>
            <p:cNvSpPr>
              <a:spLocks/>
            </p:cNvSpPr>
            <p:nvPr/>
          </p:nvSpPr>
          <p:spPr bwMode="auto">
            <a:xfrm>
              <a:off x="4100614" y="3168290"/>
              <a:ext cx="26899" cy="38643"/>
            </a:xfrm>
            <a:custGeom>
              <a:avLst/>
              <a:gdLst>
                <a:gd name="T0" fmla="*/ 0 w 71"/>
                <a:gd name="T1" fmla="*/ 0 h 102"/>
                <a:gd name="T2" fmla="*/ 71 w 71"/>
                <a:gd name="T3" fmla="*/ 0 h 102"/>
                <a:gd name="T4" fmla="*/ 71 w 71"/>
                <a:gd name="T5" fmla="*/ 17 h 102"/>
                <a:gd name="T6" fmla="*/ 24 w 71"/>
                <a:gd name="T7" fmla="*/ 17 h 102"/>
                <a:gd name="T8" fmla="*/ 24 w 71"/>
                <a:gd name="T9" fmla="*/ 43 h 102"/>
                <a:gd name="T10" fmla="*/ 66 w 71"/>
                <a:gd name="T11" fmla="*/ 43 h 102"/>
                <a:gd name="T12" fmla="*/ 66 w 71"/>
                <a:gd name="T13" fmla="*/ 59 h 102"/>
                <a:gd name="T14" fmla="*/ 24 w 71"/>
                <a:gd name="T15" fmla="*/ 59 h 102"/>
                <a:gd name="T16" fmla="*/ 24 w 71"/>
                <a:gd name="T17" fmla="*/ 102 h 102"/>
                <a:gd name="T18" fmla="*/ 0 w 71"/>
                <a:gd name="T19" fmla="*/ 102 h 102"/>
                <a:gd name="T20" fmla="*/ 0 w 71"/>
                <a:gd name="T2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102">
                  <a:moveTo>
                    <a:pt x="0" y="0"/>
                  </a:moveTo>
                  <a:lnTo>
                    <a:pt x="71" y="0"/>
                  </a:lnTo>
                  <a:lnTo>
                    <a:pt x="71" y="17"/>
                  </a:lnTo>
                  <a:lnTo>
                    <a:pt x="24" y="17"/>
                  </a:lnTo>
                  <a:lnTo>
                    <a:pt x="24" y="43"/>
                  </a:lnTo>
                  <a:lnTo>
                    <a:pt x="66" y="43"/>
                  </a:lnTo>
                  <a:lnTo>
                    <a:pt x="66" y="59"/>
                  </a:lnTo>
                  <a:lnTo>
                    <a:pt x="24" y="59"/>
                  </a:lnTo>
                  <a:lnTo>
                    <a:pt x="24" y="102"/>
                  </a:lnTo>
                  <a:lnTo>
                    <a:pt x="0" y="10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99" name="Freeform 22"/>
            <p:cNvSpPr>
              <a:spLocks/>
            </p:cNvSpPr>
            <p:nvPr/>
          </p:nvSpPr>
          <p:spPr bwMode="auto">
            <a:xfrm>
              <a:off x="3986958" y="3110325"/>
              <a:ext cx="132599" cy="131463"/>
            </a:xfrm>
            <a:custGeom>
              <a:avLst/>
              <a:gdLst>
                <a:gd name="T0" fmla="*/ 148 w 148"/>
                <a:gd name="T1" fmla="*/ 0 h 147"/>
                <a:gd name="T2" fmla="*/ 148 w 148"/>
                <a:gd name="T3" fmla="*/ 0 h 147"/>
                <a:gd name="T4" fmla="*/ 148 w 148"/>
                <a:gd name="T5" fmla="*/ 0 h 147"/>
                <a:gd name="T6" fmla="*/ 116 w 148"/>
                <a:gd name="T7" fmla="*/ 16 h 147"/>
                <a:gd name="T8" fmla="*/ 22 w 148"/>
                <a:gd name="T9" fmla="*/ 115 h 147"/>
                <a:gd name="T10" fmla="*/ 6 w 148"/>
                <a:gd name="T11" fmla="*/ 120 h 147"/>
                <a:gd name="T12" fmla="*/ 8 w 148"/>
                <a:gd name="T13" fmla="*/ 142 h 147"/>
                <a:gd name="T14" fmla="*/ 30 w 148"/>
                <a:gd name="T15" fmla="*/ 140 h 147"/>
                <a:gd name="T16" fmla="*/ 31 w 148"/>
                <a:gd name="T17" fmla="*/ 122 h 147"/>
                <a:gd name="T18" fmla="*/ 129 w 148"/>
                <a:gd name="T19" fmla="*/ 34 h 147"/>
                <a:gd name="T20" fmla="*/ 148 w 148"/>
                <a:gd name="T21" fmla="*/ 0 h 147"/>
                <a:gd name="T22" fmla="*/ 148 w 148"/>
                <a:gd name="T23" fmla="*/ 0 h 147"/>
                <a:gd name="T24" fmla="*/ 148 w 148"/>
                <a:gd name="T25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" h="147">
                  <a:moveTo>
                    <a:pt x="148" y="0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39" y="5"/>
                    <a:pt x="125" y="12"/>
                    <a:pt x="116" y="16"/>
                  </a:cubicBezTo>
                  <a:cubicBezTo>
                    <a:pt x="104" y="29"/>
                    <a:pt x="51" y="85"/>
                    <a:pt x="22" y="115"/>
                  </a:cubicBezTo>
                  <a:cubicBezTo>
                    <a:pt x="16" y="114"/>
                    <a:pt x="10" y="115"/>
                    <a:pt x="6" y="120"/>
                  </a:cubicBezTo>
                  <a:cubicBezTo>
                    <a:pt x="0" y="126"/>
                    <a:pt x="1" y="136"/>
                    <a:pt x="8" y="142"/>
                  </a:cubicBezTo>
                  <a:cubicBezTo>
                    <a:pt x="14" y="147"/>
                    <a:pt x="24" y="147"/>
                    <a:pt x="30" y="140"/>
                  </a:cubicBezTo>
                  <a:cubicBezTo>
                    <a:pt x="34" y="135"/>
                    <a:pt x="35" y="128"/>
                    <a:pt x="31" y="122"/>
                  </a:cubicBezTo>
                  <a:cubicBezTo>
                    <a:pt x="62" y="93"/>
                    <a:pt x="116" y="45"/>
                    <a:pt x="129" y="34"/>
                  </a:cubicBezTo>
                  <a:cubicBezTo>
                    <a:pt x="134" y="24"/>
                    <a:pt x="142" y="10"/>
                    <a:pt x="148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48" y="0"/>
                    <a:pt x="148" y="0"/>
                    <a:pt x="148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31" name="Group 199"/>
          <p:cNvGrpSpPr/>
          <p:nvPr>
            <p:custDataLst>
              <p:tags r:id="rId51"/>
            </p:custDataLst>
          </p:nvPr>
        </p:nvGrpSpPr>
        <p:grpSpPr>
          <a:xfrm>
            <a:off x="1226875" y="40700"/>
            <a:ext cx="442181" cy="464700"/>
            <a:chOff x="-4997450" y="4354513"/>
            <a:chExt cx="685800" cy="720725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01" name="Freeform 30"/>
            <p:cNvSpPr>
              <a:spLocks noEditPoints="1"/>
            </p:cNvSpPr>
            <p:nvPr/>
          </p:nvSpPr>
          <p:spPr bwMode="auto">
            <a:xfrm>
              <a:off x="-4997450" y="4475163"/>
              <a:ext cx="685800" cy="231775"/>
            </a:xfrm>
            <a:custGeom>
              <a:avLst/>
              <a:gdLst>
                <a:gd name="T0" fmla="*/ 126 w 183"/>
                <a:gd name="T1" fmla="*/ 27 h 62"/>
                <a:gd name="T2" fmla="*/ 95 w 183"/>
                <a:gd name="T3" fmla="*/ 1 h 62"/>
                <a:gd name="T4" fmla="*/ 92 w 183"/>
                <a:gd name="T5" fmla="*/ 0 h 62"/>
                <a:gd name="T6" fmla="*/ 91 w 183"/>
                <a:gd name="T7" fmla="*/ 0 h 62"/>
                <a:gd name="T8" fmla="*/ 91 w 183"/>
                <a:gd name="T9" fmla="*/ 0 h 62"/>
                <a:gd name="T10" fmla="*/ 88 w 183"/>
                <a:gd name="T11" fmla="*/ 1 h 62"/>
                <a:gd name="T12" fmla="*/ 57 w 183"/>
                <a:gd name="T13" fmla="*/ 27 h 62"/>
                <a:gd name="T14" fmla="*/ 0 w 183"/>
                <a:gd name="T15" fmla="*/ 58 h 62"/>
                <a:gd name="T16" fmla="*/ 0 w 183"/>
                <a:gd name="T17" fmla="*/ 62 h 62"/>
                <a:gd name="T18" fmla="*/ 183 w 183"/>
                <a:gd name="T19" fmla="*/ 62 h 62"/>
                <a:gd name="T20" fmla="*/ 183 w 183"/>
                <a:gd name="T21" fmla="*/ 58 h 62"/>
                <a:gd name="T22" fmla="*/ 126 w 183"/>
                <a:gd name="T23" fmla="*/ 27 h 62"/>
                <a:gd name="T24" fmla="*/ 9 w 183"/>
                <a:gd name="T25" fmla="*/ 58 h 62"/>
                <a:gd name="T26" fmla="*/ 91 w 183"/>
                <a:gd name="T27" fmla="*/ 17 h 62"/>
                <a:gd name="T28" fmla="*/ 91 w 183"/>
                <a:gd name="T29" fmla="*/ 17 h 62"/>
                <a:gd name="T30" fmla="*/ 92 w 183"/>
                <a:gd name="T31" fmla="*/ 17 h 62"/>
                <a:gd name="T32" fmla="*/ 174 w 183"/>
                <a:gd name="T33" fmla="*/ 58 h 62"/>
                <a:gd name="T34" fmla="*/ 9 w 183"/>
                <a:gd name="T35" fmla="*/ 5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3" h="62">
                  <a:moveTo>
                    <a:pt x="126" y="27"/>
                  </a:moveTo>
                  <a:cubicBezTo>
                    <a:pt x="116" y="19"/>
                    <a:pt x="105" y="5"/>
                    <a:pt x="95" y="1"/>
                  </a:cubicBezTo>
                  <a:cubicBezTo>
                    <a:pt x="94" y="1"/>
                    <a:pt x="93" y="0"/>
                    <a:pt x="92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0" y="0"/>
                    <a:pt x="89" y="1"/>
                    <a:pt x="88" y="1"/>
                  </a:cubicBezTo>
                  <a:cubicBezTo>
                    <a:pt x="78" y="5"/>
                    <a:pt x="67" y="19"/>
                    <a:pt x="57" y="27"/>
                  </a:cubicBezTo>
                  <a:cubicBezTo>
                    <a:pt x="31" y="39"/>
                    <a:pt x="0" y="51"/>
                    <a:pt x="0" y="58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183" y="62"/>
                    <a:pt x="183" y="62"/>
                    <a:pt x="183" y="62"/>
                  </a:cubicBezTo>
                  <a:cubicBezTo>
                    <a:pt x="183" y="62"/>
                    <a:pt x="183" y="62"/>
                    <a:pt x="183" y="58"/>
                  </a:cubicBezTo>
                  <a:cubicBezTo>
                    <a:pt x="183" y="51"/>
                    <a:pt x="151" y="39"/>
                    <a:pt x="126" y="27"/>
                  </a:cubicBezTo>
                  <a:close/>
                  <a:moveTo>
                    <a:pt x="9" y="58"/>
                  </a:moveTo>
                  <a:cubicBezTo>
                    <a:pt x="91" y="17"/>
                    <a:pt x="91" y="17"/>
                    <a:pt x="91" y="17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174" y="58"/>
                    <a:pt x="174" y="58"/>
                    <a:pt x="174" y="58"/>
                  </a:cubicBezTo>
                  <a:lnTo>
                    <a:pt x="9" y="5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02" name="Oval 31"/>
            <p:cNvSpPr>
              <a:spLocks noChangeArrowheads="1"/>
            </p:cNvSpPr>
            <p:nvPr/>
          </p:nvSpPr>
          <p:spPr bwMode="auto">
            <a:xfrm>
              <a:off x="-4672013" y="4494213"/>
              <a:ext cx="30163" cy="30163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03" name="Freeform 32"/>
            <p:cNvSpPr>
              <a:spLocks/>
            </p:cNvSpPr>
            <p:nvPr/>
          </p:nvSpPr>
          <p:spPr bwMode="auto">
            <a:xfrm>
              <a:off x="-4705350" y="4354513"/>
              <a:ext cx="109538" cy="112713"/>
            </a:xfrm>
            <a:custGeom>
              <a:avLst/>
              <a:gdLst>
                <a:gd name="T0" fmla="*/ 14 w 29"/>
                <a:gd name="T1" fmla="*/ 30 h 30"/>
                <a:gd name="T2" fmla="*/ 11 w 29"/>
                <a:gd name="T3" fmla="*/ 30 h 30"/>
                <a:gd name="T4" fmla="*/ 11 w 29"/>
                <a:gd name="T5" fmla="*/ 18 h 30"/>
                <a:gd name="T6" fmla="*/ 14 w 29"/>
                <a:gd name="T7" fmla="*/ 18 h 30"/>
                <a:gd name="T8" fmla="*/ 18 w 29"/>
                <a:gd name="T9" fmla="*/ 17 h 30"/>
                <a:gd name="T10" fmla="*/ 20 w 29"/>
                <a:gd name="T11" fmla="*/ 12 h 30"/>
                <a:gd name="T12" fmla="*/ 18 w 29"/>
                <a:gd name="T13" fmla="*/ 8 h 30"/>
                <a:gd name="T14" fmla="*/ 14 w 29"/>
                <a:gd name="T15" fmla="*/ 7 h 30"/>
                <a:gd name="T16" fmla="*/ 11 w 29"/>
                <a:gd name="T17" fmla="*/ 8 h 30"/>
                <a:gd name="T18" fmla="*/ 9 w 29"/>
                <a:gd name="T19" fmla="*/ 12 h 30"/>
                <a:gd name="T20" fmla="*/ 9 w 29"/>
                <a:gd name="T21" fmla="*/ 13 h 30"/>
                <a:gd name="T22" fmla="*/ 0 w 29"/>
                <a:gd name="T23" fmla="*/ 13 h 30"/>
                <a:gd name="T24" fmla="*/ 2 w 29"/>
                <a:gd name="T25" fmla="*/ 7 h 30"/>
                <a:gd name="T26" fmla="*/ 6 w 29"/>
                <a:gd name="T27" fmla="*/ 2 h 30"/>
                <a:gd name="T28" fmla="*/ 15 w 29"/>
                <a:gd name="T29" fmla="*/ 0 h 30"/>
                <a:gd name="T30" fmla="*/ 26 w 29"/>
                <a:gd name="T31" fmla="*/ 4 h 30"/>
                <a:gd name="T32" fmla="*/ 29 w 29"/>
                <a:gd name="T33" fmla="*/ 13 h 30"/>
                <a:gd name="T34" fmla="*/ 26 w 29"/>
                <a:gd name="T35" fmla="*/ 21 h 30"/>
                <a:gd name="T36" fmla="*/ 18 w 29"/>
                <a:gd name="T37" fmla="*/ 24 h 30"/>
                <a:gd name="T38" fmla="*/ 17 w 29"/>
                <a:gd name="T39" fmla="*/ 24 h 30"/>
                <a:gd name="T40" fmla="*/ 14 w 29"/>
                <a:gd name="T4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" h="30">
                  <a:moveTo>
                    <a:pt x="14" y="30"/>
                  </a:moveTo>
                  <a:cubicBezTo>
                    <a:pt x="11" y="30"/>
                    <a:pt x="11" y="30"/>
                    <a:pt x="11" y="30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2" y="18"/>
                    <a:pt x="13" y="18"/>
                    <a:pt x="14" y="18"/>
                  </a:cubicBezTo>
                  <a:cubicBezTo>
                    <a:pt x="15" y="18"/>
                    <a:pt x="17" y="18"/>
                    <a:pt x="18" y="17"/>
                  </a:cubicBezTo>
                  <a:cubicBezTo>
                    <a:pt x="19" y="16"/>
                    <a:pt x="20" y="14"/>
                    <a:pt x="20" y="12"/>
                  </a:cubicBezTo>
                  <a:cubicBezTo>
                    <a:pt x="20" y="11"/>
                    <a:pt x="19" y="9"/>
                    <a:pt x="18" y="8"/>
                  </a:cubicBezTo>
                  <a:cubicBezTo>
                    <a:pt x="17" y="7"/>
                    <a:pt x="16" y="7"/>
                    <a:pt x="14" y="7"/>
                  </a:cubicBezTo>
                  <a:cubicBezTo>
                    <a:pt x="13" y="7"/>
                    <a:pt x="11" y="7"/>
                    <a:pt x="11" y="8"/>
                  </a:cubicBezTo>
                  <a:cubicBezTo>
                    <a:pt x="10" y="9"/>
                    <a:pt x="9" y="11"/>
                    <a:pt x="9" y="12"/>
                  </a:cubicBezTo>
                  <a:cubicBezTo>
                    <a:pt x="9" y="12"/>
                    <a:pt x="9" y="13"/>
                    <a:pt x="9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1"/>
                    <a:pt x="1" y="9"/>
                    <a:pt x="2" y="7"/>
                  </a:cubicBezTo>
                  <a:cubicBezTo>
                    <a:pt x="2" y="5"/>
                    <a:pt x="4" y="4"/>
                    <a:pt x="6" y="2"/>
                  </a:cubicBezTo>
                  <a:cubicBezTo>
                    <a:pt x="9" y="1"/>
                    <a:pt x="12" y="0"/>
                    <a:pt x="15" y="0"/>
                  </a:cubicBezTo>
                  <a:cubicBezTo>
                    <a:pt x="20" y="0"/>
                    <a:pt x="23" y="2"/>
                    <a:pt x="26" y="4"/>
                  </a:cubicBezTo>
                  <a:cubicBezTo>
                    <a:pt x="28" y="6"/>
                    <a:pt x="29" y="9"/>
                    <a:pt x="29" y="13"/>
                  </a:cubicBezTo>
                  <a:cubicBezTo>
                    <a:pt x="29" y="16"/>
                    <a:pt x="28" y="19"/>
                    <a:pt x="26" y="21"/>
                  </a:cubicBezTo>
                  <a:cubicBezTo>
                    <a:pt x="24" y="23"/>
                    <a:pt x="21" y="24"/>
                    <a:pt x="18" y="24"/>
                  </a:cubicBezTo>
                  <a:cubicBezTo>
                    <a:pt x="18" y="24"/>
                    <a:pt x="17" y="24"/>
                    <a:pt x="17" y="24"/>
                  </a:cubicBezTo>
                  <a:lnTo>
                    <a:pt x="14" y="3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04" name="Freeform 33"/>
            <p:cNvSpPr>
              <a:spLocks/>
            </p:cNvSpPr>
            <p:nvPr/>
          </p:nvSpPr>
          <p:spPr bwMode="auto">
            <a:xfrm>
              <a:off x="-4821238" y="4637088"/>
              <a:ext cx="330200" cy="438150"/>
            </a:xfrm>
            <a:custGeom>
              <a:avLst/>
              <a:gdLst>
                <a:gd name="T0" fmla="*/ 88 w 88"/>
                <a:gd name="T1" fmla="*/ 107 h 117"/>
                <a:gd name="T2" fmla="*/ 78 w 88"/>
                <a:gd name="T3" fmla="*/ 117 h 117"/>
                <a:gd name="T4" fmla="*/ 10 w 88"/>
                <a:gd name="T5" fmla="*/ 117 h 117"/>
                <a:gd name="T6" fmla="*/ 0 w 88"/>
                <a:gd name="T7" fmla="*/ 107 h 117"/>
                <a:gd name="T8" fmla="*/ 0 w 88"/>
                <a:gd name="T9" fmla="*/ 11 h 117"/>
                <a:gd name="T10" fmla="*/ 10 w 88"/>
                <a:gd name="T11" fmla="*/ 0 h 117"/>
                <a:gd name="T12" fmla="*/ 78 w 88"/>
                <a:gd name="T13" fmla="*/ 0 h 117"/>
                <a:gd name="T14" fmla="*/ 88 w 88"/>
                <a:gd name="T15" fmla="*/ 11 h 117"/>
                <a:gd name="T16" fmla="*/ 88 w 88"/>
                <a:gd name="T17" fmla="*/ 10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117">
                  <a:moveTo>
                    <a:pt x="88" y="107"/>
                  </a:moveTo>
                  <a:cubicBezTo>
                    <a:pt x="88" y="112"/>
                    <a:pt x="84" y="117"/>
                    <a:pt x="78" y="117"/>
                  </a:cubicBezTo>
                  <a:cubicBezTo>
                    <a:pt x="10" y="117"/>
                    <a:pt x="10" y="117"/>
                    <a:pt x="10" y="117"/>
                  </a:cubicBezTo>
                  <a:cubicBezTo>
                    <a:pt x="4" y="117"/>
                    <a:pt x="0" y="112"/>
                    <a:pt x="0" y="10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4" y="0"/>
                    <a:pt x="88" y="5"/>
                    <a:pt x="88" y="11"/>
                  </a:cubicBezTo>
                  <a:lnTo>
                    <a:pt x="88" y="10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224" name="Group 204"/>
          <p:cNvGrpSpPr/>
          <p:nvPr>
            <p:custDataLst>
              <p:tags r:id="rId52"/>
            </p:custDataLst>
          </p:nvPr>
        </p:nvGrpSpPr>
        <p:grpSpPr>
          <a:xfrm>
            <a:off x="2192656" y="137074"/>
            <a:ext cx="408167" cy="228051"/>
            <a:chOff x="-3778250" y="3316288"/>
            <a:chExt cx="892175" cy="498475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206" name="Freeform 34"/>
            <p:cNvSpPr>
              <a:spLocks noEditPoints="1"/>
            </p:cNvSpPr>
            <p:nvPr/>
          </p:nvSpPr>
          <p:spPr bwMode="auto">
            <a:xfrm>
              <a:off x="-3554413" y="3319463"/>
              <a:ext cx="487363" cy="492125"/>
            </a:xfrm>
            <a:custGeom>
              <a:avLst/>
              <a:gdLst>
                <a:gd name="T0" fmla="*/ 65 w 130"/>
                <a:gd name="T1" fmla="*/ 0 h 131"/>
                <a:gd name="T2" fmla="*/ 0 w 130"/>
                <a:gd name="T3" fmla="*/ 66 h 131"/>
                <a:gd name="T4" fmla="*/ 65 w 130"/>
                <a:gd name="T5" fmla="*/ 131 h 131"/>
                <a:gd name="T6" fmla="*/ 130 w 130"/>
                <a:gd name="T7" fmla="*/ 66 h 131"/>
                <a:gd name="T8" fmla="*/ 65 w 130"/>
                <a:gd name="T9" fmla="*/ 0 h 131"/>
                <a:gd name="T10" fmla="*/ 65 w 130"/>
                <a:gd name="T11" fmla="*/ 117 h 131"/>
                <a:gd name="T12" fmla="*/ 13 w 130"/>
                <a:gd name="T13" fmla="*/ 66 h 131"/>
                <a:gd name="T14" fmla="*/ 65 w 130"/>
                <a:gd name="T15" fmla="*/ 14 h 131"/>
                <a:gd name="T16" fmla="*/ 116 w 130"/>
                <a:gd name="T17" fmla="*/ 66 h 131"/>
                <a:gd name="T18" fmla="*/ 65 w 130"/>
                <a:gd name="T19" fmla="*/ 11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31">
                  <a:moveTo>
                    <a:pt x="65" y="0"/>
                  </a:moveTo>
                  <a:cubicBezTo>
                    <a:pt x="29" y="0"/>
                    <a:pt x="0" y="30"/>
                    <a:pt x="0" y="66"/>
                  </a:cubicBezTo>
                  <a:cubicBezTo>
                    <a:pt x="0" y="101"/>
                    <a:pt x="29" y="131"/>
                    <a:pt x="65" y="131"/>
                  </a:cubicBezTo>
                  <a:cubicBezTo>
                    <a:pt x="101" y="131"/>
                    <a:pt x="130" y="101"/>
                    <a:pt x="130" y="66"/>
                  </a:cubicBezTo>
                  <a:cubicBezTo>
                    <a:pt x="130" y="30"/>
                    <a:pt x="101" y="0"/>
                    <a:pt x="65" y="0"/>
                  </a:cubicBezTo>
                  <a:close/>
                  <a:moveTo>
                    <a:pt x="65" y="117"/>
                  </a:moveTo>
                  <a:cubicBezTo>
                    <a:pt x="36" y="117"/>
                    <a:pt x="13" y="94"/>
                    <a:pt x="13" y="66"/>
                  </a:cubicBezTo>
                  <a:cubicBezTo>
                    <a:pt x="13" y="37"/>
                    <a:pt x="36" y="14"/>
                    <a:pt x="65" y="14"/>
                  </a:cubicBezTo>
                  <a:cubicBezTo>
                    <a:pt x="93" y="14"/>
                    <a:pt x="116" y="37"/>
                    <a:pt x="116" y="66"/>
                  </a:cubicBezTo>
                  <a:cubicBezTo>
                    <a:pt x="116" y="94"/>
                    <a:pt x="93" y="117"/>
                    <a:pt x="65" y="11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07" name="Oval 35"/>
            <p:cNvSpPr>
              <a:spLocks noChangeArrowheads="1"/>
            </p:cNvSpPr>
            <p:nvPr/>
          </p:nvSpPr>
          <p:spPr bwMode="auto">
            <a:xfrm>
              <a:off x="-3467100" y="3409950"/>
              <a:ext cx="311150" cy="311150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08" name="Freeform 36"/>
            <p:cNvSpPr>
              <a:spLocks/>
            </p:cNvSpPr>
            <p:nvPr/>
          </p:nvSpPr>
          <p:spPr bwMode="auto">
            <a:xfrm>
              <a:off x="-3778250" y="3316288"/>
              <a:ext cx="168275" cy="498475"/>
            </a:xfrm>
            <a:custGeom>
              <a:avLst/>
              <a:gdLst>
                <a:gd name="T0" fmla="*/ 45 w 45"/>
                <a:gd name="T1" fmla="*/ 33 h 133"/>
                <a:gd name="T2" fmla="*/ 22 w 45"/>
                <a:gd name="T3" fmla="*/ 0 h 133"/>
                <a:gd name="T4" fmla="*/ 0 w 45"/>
                <a:gd name="T5" fmla="*/ 33 h 133"/>
                <a:gd name="T6" fmla="*/ 16 w 45"/>
                <a:gd name="T7" fmla="*/ 57 h 133"/>
                <a:gd name="T8" fmla="*/ 14 w 45"/>
                <a:gd name="T9" fmla="*/ 133 h 133"/>
                <a:gd name="T10" fmla="*/ 31 w 45"/>
                <a:gd name="T11" fmla="*/ 133 h 133"/>
                <a:gd name="T12" fmla="*/ 28 w 45"/>
                <a:gd name="T13" fmla="*/ 57 h 133"/>
                <a:gd name="T14" fmla="*/ 45 w 45"/>
                <a:gd name="T15" fmla="*/ 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133">
                  <a:moveTo>
                    <a:pt x="45" y="33"/>
                  </a:moveTo>
                  <a:cubicBezTo>
                    <a:pt x="45" y="17"/>
                    <a:pt x="35" y="0"/>
                    <a:pt x="22" y="0"/>
                  </a:cubicBezTo>
                  <a:cubicBezTo>
                    <a:pt x="10" y="0"/>
                    <a:pt x="0" y="17"/>
                    <a:pt x="0" y="33"/>
                  </a:cubicBezTo>
                  <a:cubicBezTo>
                    <a:pt x="0" y="46"/>
                    <a:pt x="7" y="55"/>
                    <a:pt x="16" y="57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38" y="55"/>
                    <a:pt x="45" y="46"/>
                    <a:pt x="45" y="3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09" name="Freeform 37"/>
            <p:cNvSpPr>
              <a:spLocks/>
            </p:cNvSpPr>
            <p:nvPr/>
          </p:nvSpPr>
          <p:spPr bwMode="auto">
            <a:xfrm>
              <a:off x="-3036888" y="3319463"/>
              <a:ext cx="150813" cy="492125"/>
            </a:xfrm>
            <a:custGeom>
              <a:avLst/>
              <a:gdLst>
                <a:gd name="T0" fmla="*/ 40 w 40"/>
                <a:gd name="T1" fmla="*/ 39 h 131"/>
                <a:gd name="T2" fmla="*/ 37 w 40"/>
                <a:gd name="T3" fmla="*/ 15 h 131"/>
                <a:gd name="T4" fmla="*/ 31 w 40"/>
                <a:gd name="T5" fmla="*/ 1 h 131"/>
                <a:gd name="T6" fmla="*/ 31 w 40"/>
                <a:gd name="T7" fmla="*/ 31 h 131"/>
                <a:gd name="T8" fmla="*/ 27 w 40"/>
                <a:gd name="T9" fmla="*/ 31 h 131"/>
                <a:gd name="T10" fmla="*/ 27 w 40"/>
                <a:gd name="T11" fmla="*/ 0 h 131"/>
                <a:gd name="T12" fmla="*/ 22 w 40"/>
                <a:gd name="T13" fmla="*/ 0 h 131"/>
                <a:gd name="T14" fmla="*/ 22 w 40"/>
                <a:gd name="T15" fmla="*/ 31 h 131"/>
                <a:gd name="T16" fmla="*/ 21 w 40"/>
                <a:gd name="T17" fmla="*/ 31 h 131"/>
                <a:gd name="T18" fmla="*/ 21 w 40"/>
                <a:gd name="T19" fmla="*/ 31 h 131"/>
                <a:gd name="T20" fmla="*/ 17 w 40"/>
                <a:gd name="T21" fmla="*/ 31 h 131"/>
                <a:gd name="T22" fmla="*/ 17 w 40"/>
                <a:gd name="T23" fmla="*/ 0 h 131"/>
                <a:gd name="T24" fmla="*/ 13 w 40"/>
                <a:gd name="T25" fmla="*/ 0 h 131"/>
                <a:gd name="T26" fmla="*/ 13 w 40"/>
                <a:gd name="T27" fmla="*/ 31 h 131"/>
                <a:gd name="T28" fmla="*/ 8 w 40"/>
                <a:gd name="T29" fmla="*/ 31 h 131"/>
                <a:gd name="T30" fmla="*/ 8 w 40"/>
                <a:gd name="T31" fmla="*/ 1 h 131"/>
                <a:gd name="T32" fmla="*/ 2 w 40"/>
                <a:gd name="T33" fmla="*/ 15 h 131"/>
                <a:gd name="T34" fmla="*/ 0 w 40"/>
                <a:gd name="T35" fmla="*/ 39 h 131"/>
                <a:gd name="T36" fmla="*/ 14 w 40"/>
                <a:gd name="T37" fmla="*/ 56 h 131"/>
                <a:gd name="T38" fmla="*/ 11 w 40"/>
                <a:gd name="T39" fmla="*/ 131 h 131"/>
                <a:gd name="T40" fmla="*/ 28 w 40"/>
                <a:gd name="T41" fmla="*/ 131 h 131"/>
                <a:gd name="T42" fmla="*/ 26 w 40"/>
                <a:gd name="T43" fmla="*/ 56 h 131"/>
                <a:gd name="T44" fmla="*/ 40 w 40"/>
                <a:gd name="T45" fmla="*/ 3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131">
                  <a:moveTo>
                    <a:pt x="40" y="39"/>
                  </a:moveTo>
                  <a:cubicBezTo>
                    <a:pt x="37" y="15"/>
                    <a:pt x="37" y="15"/>
                    <a:pt x="37" y="15"/>
                  </a:cubicBezTo>
                  <a:cubicBezTo>
                    <a:pt x="37" y="10"/>
                    <a:pt x="35" y="4"/>
                    <a:pt x="31" y="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4" y="0"/>
                    <a:pt x="22" y="0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0"/>
                    <a:pt x="13" y="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4"/>
                    <a:pt x="2" y="10"/>
                    <a:pt x="2" y="1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7"/>
                    <a:pt x="5" y="54"/>
                    <a:pt x="14" y="56"/>
                  </a:cubicBezTo>
                  <a:cubicBezTo>
                    <a:pt x="11" y="131"/>
                    <a:pt x="11" y="131"/>
                    <a:pt x="11" y="131"/>
                  </a:cubicBezTo>
                  <a:cubicBezTo>
                    <a:pt x="28" y="131"/>
                    <a:pt x="28" y="131"/>
                    <a:pt x="28" y="131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34" y="54"/>
                    <a:pt x="40" y="47"/>
                    <a:pt x="40" y="3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225" name="Group 209"/>
          <p:cNvGrpSpPr/>
          <p:nvPr>
            <p:custDataLst>
              <p:tags r:id="rId53"/>
            </p:custDataLst>
          </p:nvPr>
        </p:nvGrpSpPr>
        <p:grpSpPr>
          <a:xfrm>
            <a:off x="2884224" y="962814"/>
            <a:ext cx="306651" cy="284961"/>
            <a:chOff x="3791090" y="2972422"/>
            <a:chExt cx="428485" cy="3981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211" name="Freeform 18"/>
            <p:cNvSpPr>
              <a:spLocks noEditPoints="1"/>
            </p:cNvSpPr>
            <p:nvPr/>
          </p:nvSpPr>
          <p:spPr bwMode="auto">
            <a:xfrm>
              <a:off x="3791090" y="2972422"/>
              <a:ext cx="428485" cy="398177"/>
            </a:xfrm>
            <a:custGeom>
              <a:avLst/>
              <a:gdLst>
                <a:gd name="T0" fmla="*/ 240 w 479"/>
                <a:gd name="T1" fmla="*/ 0 h 445"/>
                <a:gd name="T2" fmla="*/ 0 w 479"/>
                <a:gd name="T3" fmla="*/ 222 h 445"/>
                <a:gd name="T4" fmla="*/ 240 w 479"/>
                <a:gd name="T5" fmla="*/ 445 h 445"/>
                <a:gd name="T6" fmla="*/ 479 w 479"/>
                <a:gd name="T7" fmla="*/ 222 h 445"/>
                <a:gd name="T8" fmla="*/ 240 w 479"/>
                <a:gd name="T9" fmla="*/ 0 h 445"/>
                <a:gd name="T10" fmla="*/ 240 w 479"/>
                <a:gd name="T11" fmla="*/ 377 h 445"/>
                <a:gd name="T12" fmla="*/ 70 w 479"/>
                <a:gd name="T13" fmla="*/ 222 h 445"/>
                <a:gd name="T14" fmla="*/ 240 w 479"/>
                <a:gd name="T15" fmla="*/ 67 h 445"/>
                <a:gd name="T16" fmla="*/ 410 w 479"/>
                <a:gd name="T17" fmla="*/ 222 h 445"/>
                <a:gd name="T18" fmla="*/ 240 w 479"/>
                <a:gd name="T19" fmla="*/ 377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9" h="445">
                  <a:moveTo>
                    <a:pt x="240" y="0"/>
                  </a:moveTo>
                  <a:cubicBezTo>
                    <a:pt x="108" y="0"/>
                    <a:pt x="0" y="99"/>
                    <a:pt x="0" y="222"/>
                  </a:cubicBezTo>
                  <a:cubicBezTo>
                    <a:pt x="0" y="345"/>
                    <a:pt x="108" y="445"/>
                    <a:pt x="240" y="445"/>
                  </a:cubicBezTo>
                  <a:cubicBezTo>
                    <a:pt x="372" y="445"/>
                    <a:pt x="479" y="345"/>
                    <a:pt x="479" y="222"/>
                  </a:cubicBezTo>
                  <a:cubicBezTo>
                    <a:pt x="479" y="99"/>
                    <a:pt x="372" y="0"/>
                    <a:pt x="240" y="0"/>
                  </a:cubicBezTo>
                  <a:close/>
                  <a:moveTo>
                    <a:pt x="240" y="377"/>
                  </a:moveTo>
                  <a:cubicBezTo>
                    <a:pt x="146" y="377"/>
                    <a:pt x="70" y="308"/>
                    <a:pt x="70" y="222"/>
                  </a:cubicBezTo>
                  <a:cubicBezTo>
                    <a:pt x="70" y="137"/>
                    <a:pt x="146" y="67"/>
                    <a:pt x="240" y="67"/>
                  </a:cubicBezTo>
                  <a:cubicBezTo>
                    <a:pt x="333" y="67"/>
                    <a:pt x="410" y="137"/>
                    <a:pt x="410" y="222"/>
                  </a:cubicBezTo>
                  <a:cubicBezTo>
                    <a:pt x="410" y="308"/>
                    <a:pt x="333" y="377"/>
                    <a:pt x="240" y="37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12" name="Freeform 19"/>
            <p:cNvSpPr>
              <a:spLocks/>
            </p:cNvSpPr>
            <p:nvPr/>
          </p:nvSpPr>
          <p:spPr bwMode="auto">
            <a:xfrm>
              <a:off x="3872544" y="3062590"/>
              <a:ext cx="266714" cy="96608"/>
            </a:xfrm>
            <a:custGeom>
              <a:avLst/>
              <a:gdLst>
                <a:gd name="T0" fmla="*/ 298 w 298"/>
                <a:gd name="T1" fmla="*/ 77 h 108"/>
                <a:gd name="T2" fmla="*/ 293 w 298"/>
                <a:gd name="T3" fmla="*/ 71 h 108"/>
                <a:gd name="T4" fmla="*/ 261 w 298"/>
                <a:gd name="T5" fmla="*/ 92 h 108"/>
                <a:gd name="T6" fmla="*/ 230 w 298"/>
                <a:gd name="T7" fmla="*/ 58 h 108"/>
                <a:gd name="T8" fmla="*/ 248 w 298"/>
                <a:gd name="T9" fmla="*/ 24 h 108"/>
                <a:gd name="T10" fmla="*/ 239 w 298"/>
                <a:gd name="T11" fmla="*/ 21 h 108"/>
                <a:gd name="T12" fmla="*/ 223 w 298"/>
                <a:gd name="T13" fmla="*/ 52 h 108"/>
                <a:gd name="T14" fmla="*/ 222 w 298"/>
                <a:gd name="T15" fmla="*/ 53 h 108"/>
                <a:gd name="T16" fmla="*/ 156 w 298"/>
                <a:gd name="T17" fmla="*/ 36 h 108"/>
                <a:gd name="T18" fmla="*/ 156 w 298"/>
                <a:gd name="T19" fmla="*/ 0 h 108"/>
                <a:gd name="T20" fmla="*/ 146 w 298"/>
                <a:gd name="T21" fmla="*/ 0 h 108"/>
                <a:gd name="T22" fmla="*/ 146 w 298"/>
                <a:gd name="T23" fmla="*/ 36 h 108"/>
                <a:gd name="T24" fmla="*/ 89 w 298"/>
                <a:gd name="T25" fmla="*/ 49 h 108"/>
                <a:gd name="T26" fmla="*/ 71 w 298"/>
                <a:gd name="T27" fmla="*/ 15 h 108"/>
                <a:gd name="T28" fmla="*/ 62 w 298"/>
                <a:gd name="T29" fmla="*/ 18 h 108"/>
                <a:gd name="T30" fmla="*/ 69 w 298"/>
                <a:gd name="T31" fmla="*/ 31 h 108"/>
                <a:gd name="T32" fmla="*/ 18 w 298"/>
                <a:gd name="T33" fmla="*/ 79 h 108"/>
                <a:gd name="T34" fmla="*/ 6 w 298"/>
                <a:gd name="T35" fmla="*/ 71 h 108"/>
                <a:gd name="T36" fmla="*/ 0 w 298"/>
                <a:gd name="T37" fmla="*/ 77 h 108"/>
                <a:gd name="T38" fmla="*/ 34 w 298"/>
                <a:gd name="T39" fmla="*/ 100 h 108"/>
                <a:gd name="T40" fmla="*/ 33 w 298"/>
                <a:gd name="T41" fmla="*/ 103 h 108"/>
                <a:gd name="T42" fmla="*/ 44 w 298"/>
                <a:gd name="T43" fmla="*/ 108 h 108"/>
                <a:gd name="T44" fmla="*/ 150 w 298"/>
                <a:gd name="T45" fmla="*/ 47 h 108"/>
                <a:gd name="T46" fmla="*/ 257 w 298"/>
                <a:gd name="T47" fmla="*/ 108 h 108"/>
                <a:gd name="T48" fmla="*/ 268 w 298"/>
                <a:gd name="T49" fmla="*/ 103 h 108"/>
                <a:gd name="T50" fmla="*/ 266 w 298"/>
                <a:gd name="T51" fmla="*/ 99 h 108"/>
                <a:gd name="T52" fmla="*/ 298 w 298"/>
                <a:gd name="T53" fmla="*/ 7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8" h="108">
                  <a:moveTo>
                    <a:pt x="298" y="77"/>
                  </a:moveTo>
                  <a:cubicBezTo>
                    <a:pt x="293" y="71"/>
                    <a:pt x="293" y="71"/>
                    <a:pt x="293" y="71"/>
                  </a:cubicBezTo>
                  <a:cubicBezTo>
                    <a:pt x="261" y="92"/>
                    <a:pt x="261" y="92"/>
                    <a:pt x="261" y="92"/>
                  </a:cubicBezTo>
                  <a:cubicBezTo>
                    <a:pt x="252" y="77"/>
                    <a:pt x="242" y="66"/>
                    <a:pt x="230" y="58"/>
                  </a:cubicBezTo>
                  <a:cubicBezTo>
                    <a:pt x="248" y="24"/>
                    <a:pt x="248" y="24"/>
                    <a:pt x="248" y="24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23" y="52"/>
                    <a:pt x="223" y="52"/>
                    <a:pt x="223" y="52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04" y="42"/>
                    <a:pt x="183" y="37"/>
                    <a:pt x="156" y="36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25" y="37"/>
                    <a:pt x="106" y="41"/>
                    <a:pt x="89" y="49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44" y="43"/>
                    <a:pt x="28" y="61"/>
                    <a:pt x="18" y="79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34" y="101"/>
                    <a:pt x="33" y="102"/>
                    <a:pt x="33" y="103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51" y="94"/>
                    <a:pt x="79" y="47"/>
                    <a:pt x="150" y="47"/>
                  </a:cubicBezTo>
                  <a:cubicBezTo>
                    <a:pt x="215" y="47"/>
                    <a:pt x="240" y="77"/>
                    <a:pt x="257" y="108"/>
                  </a:cubicBezTo>
                  <a:cubicBezTo>
                    <a:pt x="268" y="103"/>
                    <a:pt x="268" y="103"/>
                    <a:pt x="268" y="103"/>
                  </a:cubicBezTo>
                  <a:cubicBezTo>
                    <a:pt x="267" y="102"/>
                    <a:pt x="266" y="100"/>
                    <a:pt x="266" y="99"/>
                  </a:cubicBezTo>
                  <a:lnTo>
                    <a:pt x="298" y="7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13" name="Freeform 20"/>
            <p:cNvSpPr>
              <a:spLocks/>
            </p:cNvSpPr>
            <p:nvPr/>
          </p:nvSpPr>
          <p:spPr bwMode="auto">
            <a:xfrm>
              <a:off x="3893002" y="3166396"/>
              <a:ext cx="27656" cy="38643"/>
            </a:xfrm>
            <a:custGeom>
              <a:avLst/>
              <a:gdLst>
                <a:gd name="T0" fmla="*/ 66 w 73"/>
                <a:gd name="T1" fmla="*/ 57 h 102"/>
                <a:gd name="T2" fmla="*/ 21 w 73"/>
                <a:gd name="T3" fmla="*/ 57 h 102"/>
                <a:gd name="T4" fmla="*/ 21 w 73"/>
                <a:gd name="T5" fmla="*/ 85 h 102"/>
                <a:gd name="T6" fmla="*/ 73 w 73"/>
                <a:gd name="T7" fmla="*/ 85 h 102"/>
                <a:gd name="T8" fmla="*/ 73 w 73"/>
                <a:gd name="T9" fmla="*/ 102 h 102"/>
                <a:gd name="T10" fmla="*/ 0 w 73"/>
                <a:gd name="T11" fmla="*/ 102 h 102"/>
                <a:gd name="T12" fmla="*/ 0 w 73"/>
                <a:gd name="T13" fmla="*/ 0 h 102"/>
                <a:gd name="T14" fmla="*/ 69 w 73"/>
                <a:gd name="T15" fmla="*/ 0 h 102"/>
                <a:gd name="T16" fmla="*/ 69 w 73"/>
                <a:gd name="T17" fmla="*/ 14 h 102"/>
                <a:gd name="T18" fmla="*/ 21 w 73"/>
                <a:gd name="T19" fmla="*/ 14 h 102"/>
                <a:gd name="T20" fmla="*/ 21 w 73"/>
                <a:gd name="T21" fmla="*/ 40 h 102"/>
                <a:gd name="T22" fmla="*/ 66 w 73"/>
                <a:gd name="T23" fmla="*/ 40 h 102"/>
                <a:gd name="T24" fmla="*/ 66 w 73"/>
                <a:gd name="T25" fmla="*/ 57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102">
                  <a:moveTo>
                    <a:pt x="66" y="57"/>
                  </a:moveTo>
                  <a:lnTo>
                    <a:pt x="21" y="57"/>
                  </a:lnTo>
                  <a:lnTo>
                    <a:pt x="21" y="85"/>
                  </a:lnTo>
                  <a:lnTo>
                    <a:pt x="73" y="85"/>
                  </a:lnTo>
                  <a:lnTo>
                    <a:pt x="73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4"/>
                  </a:lnTo>
                  <a:lnTo>
                    <a:pt x="21" y="14"/>
                  </a:lnTo>
                  <a:lnTo>
                    <a:pt x="21" y="40"/>
                  </a:lnTo>
                  <a:lnTo>
                    <a:pt x="66" y="40"/>
                  </a:lnTo>
                  <a:lnTo>
                    <a:pt x="66" y="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14" name="Freeform 21"/>
            <p:cNvSpPr>
              <a:spLocks/>
            </p:cNvSpPr>
            <p:nvPr/>
          </p:nvSpPr>
          <p:spPr bwMode="auto">
            <a:xfrm>
              <a:off x="4100614" y="3168290"/>
              <a:ext cx="26899" cy="38643"/>
            </a:xfrm>
            <a:custGeom>
              <a:avLst/>
              <a:gdLst>
                <a:gd name="T0" fmla="*/ 0 w 71"/>
                <a:gd name="T1" fmla="*/ 0 h 102"/>
                <a:gd name="T2" fmla="*/ 71 w 71"/>
                <a:gd name="T3" fmla="*/ 0 h 102"/>
                <a:gd name="T4" fmla="*/ 71 w 71"/>
                <a:gd name="T5" fmla="*/ 17 h 102"/>
                <a:gd name="T6" fmla="*/ 24 w 71"/>
                <a:gd name="T7" fmla="*/ 17 h 102"/>
                <a:gd name="T8" fmla="*/ 24 w 71"/>
                <a:gd name="T9" fmla="*/ 43 h 102"/>
                <a:gd name="T10" fmla="*/ 66 w 71"/>
                <a:gd name="T11" fmla="*/ 43 h 102"/>
                <a:gd name="T12" fmla="*/ 66 w 71"/>
                <a:gd name="T13" fmla="*/ 59 h 102"/>
                <a:gd name="T14" fmla="*/ 24 w 71"/>
                <a:gd name="T15" fmla="*/ 59 h 102"/>
                <a:gd name="T16" fmla="*/ 24 w 71"/>
                <a:gd name="T17" fmla="*/ 102 h 102"/>
                <a:gd name="T18" fmla="*/ 0 w 71"/>
                <a:gd name="T19" fmla="*/ 102 h 102"/>
                <a:gd name="T20" fmla="*/ 0 w 71"/>
                <a:gd name="T2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102">
                  <a:moveTo>
                    <a:pt x="0" y="0"/>
                  </a:moveTo>
                  <a:lnTo>
                    <a:pt x="71" y="0"/>
                  </a:lnTo>
                  <a:lnTo>
                    <a:pt x="71" y="17"/>
                  </a:lnTo>
                  <a:lnTo>
                    <a:pt x="24" y="17"/>
                  </a:lnTo>
                  <a:lnTo>
                    <a:pt x="24" y="43"/>
                  </a:lnTo>
                  <a:lnTo>
                    <a:pt x="66" y="43"/>
                  </a:lnTo>
                  <a:lnTo>
                    <a:pt x="66" y="59"/>
                  </a:lnTo>
                  <a:lnTo>
                    <a:pt x="24" y="59"/>
                  </a:lnTo>
                  <a:lnTo>
                    <a:pt x="24" y="102"/>
                  </a:lnTo>
                  <a:lnTo>
                    <a:pt x="0" y="10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15" name="Freeform 22"/>
            <p:cNvSpPr>
              <a:spLocks/>
            </p:cNvSpPr>
            <p:nvPr/>
          </p:nvSpPr>
          <p:spPr bwMode="auto">
            <a:xfrm>
              <a:off x="3986958" y="3110325"/>
              <a:ext cx="132599" cy="131463"/>
            </a:xfrm>
            <a:custGeom>
              <a:avLst/>
              <a:gdLst>
                <a:gd name="T0" fmla="*/ 148 w 148"/>
                <a:gd name="T1" fmla="*/ 0 h 147"/>
                <a:gd name="T2" fmla="*/ 148 w 148"/>
                <a:gd name="T3" fmla="*/ 0 h 147"/>
                <a:gd name="T4" fmla="*/ 148 w 148"/>
                <a:gd name="T5" fmla="*/ 0 h 147"/>
                <a:gd name="T6" fmla="*/ 116 w 148"/>
                <a:gd name="T7" fmla="*/ 16 h 147"/>
                <a:gd name="T8" fmla="*/ 22 w 148"/>
                <a:gd name="T9" fmla="*/ 115 h 147"/>
                <a:gd name="T10" fmla="*/ 6 w 148"/>
                <a:gd name="T11" fmla="*/ 120 h 147"/>
                <a:gd name="T12" fmla="*/ 8 w 148"/>
                <a:gd name="T13" fmla="*/ 142 h 147"/>
                <a:gd name="T14" fmla="*/ 30 w 148"/>
                <a:gd name="T15" fmla="*/ 140 h 147"/>
                <a:gd name="T16" fmla="*/ 31 w 148"/>
                <a:gd name="T17" fmla="*/ 122 h 147"/>
                <a:gd name="T18" fmla="*/ 129 w 148"/>
                <a:gd name="T19" fmla="*/ 34 h 147"/>
                <a:gd name="T20" fmla="*/ 148 w 148"/>
                <a:gd name="T21" fmla="*/ 0 h 147"/>
                <a:gd name="T22" fmla="*/ 148 w 148"/>
                <a:gd name="T23" fmla="*/ 0 h 147"/>
                <a:gd name="T24" fmla="*/ 148 w 148"/>
                <a:gd name="T25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" h="147">
                  <a:moveTo>
                    <a:pt x="148" y="0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39" y="5"/>
                    <a:pt x="125" y="12"/>
                    <a:pt x="116" y="16"/>
                  </a:cubicBezTo>
                  <a:cubicBezTo>
                    <a:pt x="104" y="29"/>
                    <a:pt x="51" y="85"/>
                    <a:pt x="22" y="115"/>
                  </a:cubicBezTo>
                  <a:cubicBezTo>
                    <a:pt x="16" y="114"/>
                    <a:pt x="10" y="115"/>
                    <a:pt x="6" y="120"/>
                  </a:cubicBezTo>
                  <a:cubicBezTo>
                    <a:pt x="0" y="126"/>
                    <a:pt x="1" y="136"/>
                    <a:pt x="8" y="142"/>
                  </a:cubicBezTo>
                  <a:cubicBezTo>
                    <a:pt x="14" y="147"/>
                    <a:pt x="24" y="147"/>
                    <a:pt x="30" y="140"/>
                  </a:cubicBezTo>
                  <a:cubicBezTo>
                    <a:pt x="34" y="135"/>
                    <a:pt x="35" y="128"/>
                    <a:pt x="31" y="122"/>
                  </a:cubicBezTo>
                  <a:cubicBezTo>
                    <a:pt x="62" y="93"/>
                    <a:pt x="116" y="45"/>
                    <a:pt x="129" y="34"/>
                  </a:cubicBezTo>
                  <a:cubicBezTo>
                    <a:pt x="134" y="24"/>
                    <a:pt x="142" y="10"/>
                    <a:pt x="148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48" y="0"/>
                    <a:pt x="148" y="0"/>
                    <a:pt x="148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227" name="Group 215"/>
          <p:cNvGrpSpPr/>
          <p:nvPr>
            <p:custDataLst>
              <p:tags r:id="rId54"/>
            </p:custDataLst>
          </p:nvPr>
        </p:nvGrpSpPr>
        <p:grpSpPr>
          <a:xfrm flipH="1">
            <a:off x="1527706" y="481675"/>
            <a:ext cx="286880" cy="182826"/>
            <a:chOff x="-5124450" y="3267075"/>
            <a:chExt cx="936625" cy="596901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217" name="Oval 27"/>
            <p:cNvSpPr>
              <a:spLocks noChangeArrowheads="1"/>
            </p:cNvSpPr>
            <p:nvPr/>
          </p:nvSpPr>
          <p:spPr bwMode="auto">
            <a:xfrm>
              <a:off x="-4978400" y="3671888"/>
              <a:ext cx="187325" cy="192088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18" name="Oval 28"/>
            <p:cNvSpPr>
              <a:spLocks noChangeArrowheads="1"/>
            </p:cNvSpPr>
            <p:nvPr/>
          </p:nvSpPr>
          <p:spPr bwMode="auto">
            <a:xfrm>
              <a:off x="-4494213" y="3671888"/>
              <a:ext cx="187325" cy="192088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19" name="Freeform 29"/>
            <p:cNvSpPr>
              <a:spLocks noEditPoints="1"/>
            </p:cNvSpPr>
            <p:nvPr/>
          </p:nvSpPr>
          <p:spPr bwMode="auto">
            <a:xfrm>
              <a:off x="-5124450" y="3267075"/>
              <a:ext cx="936625" cy="533400"/>
            </a:xfrm>
            <a:custGeom>
              <a:avLst/>
              <a:gdLst>
                <a:gd name="T0" fmla="*/ 203 w 250"/>
                <a:gd name="T1" fmla="*/ 69 h 142"/>
                <a:gd name="T2" fmla="*/ 203 w 250"/>
                <a:gd name="T3" fmla="*/ 66 h 142"/>
                <a:gd name="T4" fmla="*/ 130 w 250"/>
                <a:gd name="T5" fmla="*/ 0 h 142"/>
                <a:gd name="T6" fmla="*/ 96 w 250"/>
                <a:gd name="T7" fmla="*/ 0 h 142"/>
                <a:gd name="T8" fmla="*/ 34 w 250"/>
                <a:gd name="T9" fmla="*/ 39 h 142"/>
                <a:gd name="T10" fmla="*/ 32 w 250"/>
                <a:gd name="T11" fmla="*/ 53 h 142"/>
                <a:gd name="T12" fmla="*/ 0 w 250"/>
                <a:gd name="T13" fmla="*/ 105 h 142"/>
                <a:gd name="T14" fmla="*/ 0 w 250"/>
                <a:gd name="T15" fmla="*/ 105 h 142"/>
                <a:gd name="T16" fmla="*/ 33 w 250"/>
                <a:gd name="T17" fmla="*/ 140 h 142"/>
                <a:gd name="T18" fmla="*/ 32 w 250"/>
                <a:gd name="T19" fmla="*/ 133 h 142"/>
                <a:gd name="T20" fmla="*/ 64 w 250"/>
                <a:gd name="T21" fmla="*/ 100 h 142"/>
                <a:gd name="T22" fmla="*/ 96 w 250"/>
                <a:gd name="T23" fmla="*/ 133 h 142"/>
                <a:gd name="T24" fmla="*/ 95 w 250"/>
                <a:gd name="T25" fmla="*/ 142 h 142"/>
                <a:gd name="T26" fmla="*/ 162 w 250"/>
                <a:gd name="T27" fmla="*/ 142 h 142"/>
                <a:gd name="T28" fmla="*/ 160 w 250"/>
                <a:gd name="T29" fmla="*/ 133 h 142"/>
                <a:gd name="T30" fmla="*/ 193 w 250"/>
                <a:gd name="T31" fmla="*/ 100 h 142"/>
                <a:gd name="T32" fmla="*/ 225 w 250"/>
                <a:gd name="T33" fmla="*/ 133 h 142"/>
                <a:gd name="T34" fmla="*/ 224 w 250"/>
                <a:gd name="T35" fmla="*/ 137 h 142"/>
                <a:gd name="T36" fmla="*/ 250 w 250"/>
                <a:gd name="T37" fmla="*/ 105 h 142"/>
                <a:gd name="T38" fmla="*/ 250 w 250"/>
                <a:gd name="T39" fmla="*/ 105 h 142"/>
                <a:gd name="T40" fmla="*/ 203 w 250"/>
                <a:gd name="T41" fmla="*/ 69 h 142"/>
                <a:gd name="T42" fmla="*/ 182 w 250"/>
                <a:gd name="T43" fmla="*/ 68 h 142"/>
                <a:gd name="T44" fmla="*/ 69 w 250"/>
                <a:gd name="T45" fmla="*/ 68 h 142"/>
                <a:gd name="T46" fmla="*/ 69 w 250"/>
                <a:gd name="T47" fmla="*/ 48 h 142"/>
                <a:gd name="T48" fmla="*/ 106 w 250"/>
                <a:gd name="T49" fmla="*/ 11 h 142"/>
                <a:gd name="T50" fmla="*/ 129 w 250"/>
                <a:gd name="T51" fmla="*/ 11 h 142"/>
                <a:gd name="T52" fmla="*/ 182 w 250"/>
                <a:gd name="T53" fmla="*/ 58 h 142"/>
                <a:gd name="T54" fmla="*/ 182 w 250"/>
                <a:gd name="T55" fmla="*/ 6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0" h="142">
                  <a:moveTo>
                    <a:pt x="203" y="69"/>
                  </a:moveTo>
                  <a:cubicBezTo>
                    <a:pt x="203" y="66"/>
                    <a:pt x="203" y="66"/>
                    <a:pt x="203" y="66"/>
                  </a:cubicBezTo>
                  <a:cubicBezTo>
                    <a:pt x="203" y="37"/>
                    <a:pt x="158" y="0"/>
                    <a:pt x="13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67" y="0"/>
                    <a:pt x="34" y="11"/>
                    <a:pt x="34" y="39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6" y="54"/>
                    <a:pt x="0" y="85"/>
                    <a:pt x="0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121"/>
                    <a:pt x="14" y="135"/>
                    <a:pt x="33" y="140"/>
                  </a:cubicBezTo>
                  <a:cubicBezTo>
                    <a:pt x="32" y="137"/>
                    <a:pt x="32" y="135"/>
                    <a:pt x="32" y="133"/>
                  </a:cubicBezTo>
                  <a:cubicBezTo>
                    <a:pt x="32" y="115"/>
                    <a:pt x="46" y="100"/>
                    <a:pt x="64" y="100"/>
                  </a:cubicBezTo>
                  <a:cubicBezTo>
                    <a:pt x="82" y="100"/>
                    <a:pt x="96" y="115"/>
                    <a:pt x="96" y="133"/>
                  </a:cubicBezTo>
                  <a:cubicBezTo>
                    <a:pt x="96" y="136"/>
                    <a:pt x="96" y="139"/>
                    <a:pt x="95" y="142"/>
                  </a:cubicBezTo>
                  <a:cubicBezTo>
                    <a:pt x="162" y="142"/>
                    <a:pt x="162" y="142"/>
                    <a:pt x="162" y="142"/>
                  </a:cubicBezTo>
                  <a:cubicBezTo>
                    <a:pt x="161" y="139"/>
                    <a:pt x="160" y="136"/>
                    <a:pt x="160" y="133"/>
                  </a:cubicBezTo>
                  <a:cubicBezTo>
                    <a:pt x="160" y="115"/>
                    <a:pt x="175" y="100"/>
                    <a:pt x="193" y="100"/>
                  </a:cubicBezTo>
                  <a:cubicBezTo>
                    <a:pt x="210" y="100"/>
                    <a:pt x="225" y="115"/>
                    <a:pt x="225" y="133"/>
                  </a:cubicBezTo>
                  <a:cubicBezTo>
                    <a:pt x="225" y="134"/>
                    <a:pt x="225" y="136"/>
                    <a:pt x="224" y="137"/>
                  </a:cubicBezTo>
                  <a:cubicBezTo>
                    <a:pt x="240" y="131"/>
                    <a:pt x="250" y="119"/>
                    <a:pt x="250" y="105"/>
                  </a:cubicBezTo>
                  <a:cubicBezTo>
                    <a:pt x="250" y="105"/>
                    <a:pt x="250" y="105"/>
                    <a:pt x="250" y="105"/>
                  </a:cubicBezTo>
                  <a:cubicBezTo>
                    <a:pt x="250" y="85"/>
                    <a:pt x="229" y="69"/>
                    <a:pt x="203" y="69"/>
                  </a:cubicBezTo>
                  <a:close/>
                  <a:moveTo>
                    <a:pt x="182" y="68"/>
                  </a:moveTo>
                  <a:cubicBezTo>
                    <a:pt x="69" y="68"/>
                    <a:pt x="69" y="68"/>
                    <a:pt x="69" y="6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28"/>
                    <a:pt x="86" y="11"/>
                    <a:pt x="106" y="11"/>
                  </a:cubicBezTo>
                  <a:cubicBezTo>
                    <a:pt x="129" y="11"/>
                    <a:pt x="129" y="11"/>
                    <a:pt x="129" y="11"/>
                  </a:cubicBezTo>
                  <a:cubicBezTo>
                    <a:pt x="149" y="11"/>
                    <a:pt x="182" y="37"/>
                    <a:pt x="182" y="58"/>
                  </a:cubicBezTo>
                  <a:lnTo>
                    <a:pt x="182" y="6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226" name="Freeform 50"/>
          <p:cNvSpPr>
            <a:spLocks noEditPoints="1"/>
          </p:cNvSpPr>
          <p:nvPr>
            <p:custDataLst>
              <p:tags r:id="rId55"/>
            </p:custDataLst>
          </p:nvPr>
        </p:nvSpPr>
        <p:spPr bwMode="auto">
          <a:xfrm>
            <a:off x="31750" y="3035300"/>
            <a:ext cx="203200" cy="203200"/>
          </a:xfrm>
          <a:custGeom>
            <a:avLst/>
            <a:gdLst>
              <a:gd name="T0" fmla="*/ 162 w 324"/>
              <a:gd name="T1" fmla="*/ 0 h 324"/>
              <a:gd name="T2" fmla="*/ 0 w 324"/>
              <a:gd name="T3" fmla="*/ 162 h 324"/>
              <a:gd name="T4" fmla="*/ 162 w 324"/>
              <a:gd name="T5" fmla="*/ 324 h 324"/>
              <a:gd name="T6" fmla="*/ 324 w 324"/>
              <a:gd name="T7" fmla="*/ 162 h 324"/>
              <a:gd name="T8" fmla="*/ 162 w 324"/>
              <a:gd name="T9" fmla="*/ 0 h 324"/>
              <a:gd name="T10" fmla="*/ 162 w 324"/>
              <a:gd name="T11" fmla="*/ 299 h 324"/>
              <a:gd name="T12" fmla="*/ 25 w 324"/>
              <a:gd name="T13" fmla="*/ 162 h 324"/>
              <a:gd name="T14" fmla="*/ 162 w 324"/>
              <a:gd name="T15" fmla="*/ 25 h 324"/>
              <a:gd name="T16" fmla="*/ 299 w 324"/>
              <a:gd name="T17" fmla="*/ 162 h 324"/>
              <a:gd name="T18" fmla="*/ 162 w 324"/>
              <a:gd name="T19" fmla="*/ 299 h 324"/>
              <a:gd name="T20" fmla="*/ 162 w 324"/>
              <a:gd name="T21" fmla="*/ 37 h 324"/>
              <a:gd name="T22" fmla="*/ 38 w 324"/>
              <a:gd name="T23" fmla="*/ 162 h 324"/>
              <a:gd name="T24" fmla="*/ 162 w 324"/>
              <a:gd name="T25" fmla="*/ 287 h 324"/>
              <a:gd name="T26" fmla="*/ 287 w 324"/>
              <a:gd name="T27" fmla="*/ 162 h 324"/>
              <a:gd name="T28" fmla="*/ 162 w 324"/>
              <a:gd name="T29" fmla="*/ 37 h 324"/>
              <a:gd name="T30" fmla="*/ 162 w 324"/>
              <a:gd name="T31" fmla="*/ 278 h 324"/>
              <a:gd name="T32" fmla="*/ 46 w 324"/>
              <a:gd name="T33" fmla="*/ 162 h 324"/>
              <a:gd name="T34" fmla="*/ 162 w 324"/>
              <a:gd name="T35" fmla="*/ 45 h 324"/>
              <a:gd name="T36" fmla="*/ 279 w 324"/>
              <a:gd name="T37" fmla="*/ 162 h 324"/>
              <a:gd name="T38" fmla="*/ 162 w 324"/>
              <a:gd name="T39" fmla="*/ 278 h 324"/>
              <a:gd name="T40" fmla="*/ 182 w 324"/>
              <a:gd name="T41" fmla="*/ 151 h 324"/>
              <a:gd name="T42" fmla="*/ 111 w 324"/>
              <a:gd name="T43" fmla="*/ 68 h 324"/>
              <a:gd name="T44" fmla="*/ 108 w 324"/>
              <a:gd name="T45" fmla="*/ 69 h 324"/>
              <a:gd name="T46" fmla="*/ 142 w 324"/>
              <a:gd name="T47" fmla="*/ 173 h 324"/>
              <a:gd name="T48" fmla="*/ 142 w 324"/>
              <a:gd name="T49" fmla="*/ 173 h 324"/>
              <a:gd name="T50" fmla="*/ 214 w 324"/>
              <a:gd name="T51" fmla="*/ 256 h 324"/>
              <a:gd name="T52" fmla="*/ 217 w 324"/>
              <a:gd name="T53" fmla="*/ 254 h 324"/>
              <a:gd name="T54" fmla="*/ 181 w 324"/>
              <a:gd name="T55" fmla="*/ 151 h 324"/>
              <a:gd name="T56" fmla="*/ 182 w 324"/>
              <a:gd name="T57" fmla="*/ 151 h 324"/>
              <a:gd name="T58" fmla="*/ 175 w 324"/>
              <a:gd name="T59" fmla="*/ 163 h 324"/>
              <a:gd name="T60" fmla="*/ 161 w 324"/>
              <a:gd name="T61" fmla="*/ 174 h 324"/>
              <a:gd name="T62" fmla="*/ 150 w 324"/>
              <a:gd name="T63" fmla="*/ 160 h 324"/>
              <a:gd name="T64" fmla="*/ 164 w 324"/>
              <a:gd name="T65" fmla="*/ 149 h 324"/>
              <a:gd name="T66" fmla="*/ 175 w 324"/>
              <a:gd name="T67" fmla="*/ 163 h 324"/>
              <a:gd name="T68" fmla="*/ 91 w 324"/>
              <a:gd name="T69" fmla="*/ 156 h 324"/>
              <a:gd name="T70" fmla="*/ 61 w 324"/>
              <a:gd name="T71" fmla="*/ 156 h 324"/>
              <a:gd name="T72" fmla="*/ 55 w 324"/>
              <a:gd name="T73" fmla="*/ 162 h 324"/>
              <a:gd name="T74" fmla="*/ 61 w 324"/>
              <a:gd name="T75" fmla="*/ 168 h 324"/>
              <a:gd name="T76" fmla="*/ 91 w 324"/>
              <a:gd name="T77" fmla="*/ 168 h 324"/>
              <a:gd name="T78" fmla="*/ 97 w 324"/>
              <a:gd name="T79" fmla="*/ 162 h 324"/>
              <a:gd name="T80" fmla="*/ 91 w 324"/>
              <a:gd name="T81" fmla="*/ 156 h 324"/>
              <a:gd name="T82" fmla="*/ 264 w 324"/>
              <a:gd name="T83" fmla="*/ 156 h 324"/>
              <a:gd name="T84" fmla="*/ 234 w 324"/>
              <a:gd name="T85" fmla="*/ 156 h 324"/>
              <a:gd name="T86" fmla="*/ 228 w 324"/>
              <a:gd name="T87" fmla="*/ 162 h 324"/>
              <a:gd name="T88" fmla="*/ 234 w 324"/>
              <a:gd name="T89" fmla="*/ 168 h 324"/>
              <a:gd name="T90" fmla="*/ 264 w 324"/>
              <a:gd name="T91" fmla="*/ 168 h 324"/>
              <a:gd name="T92" fmla="*/ 270 w 324"/>
              <a:gd name="T93" fmla="*/ 162 h 324"/>
              <a:gd name="T94" fmla="*/ 264 w 324"/>
              <a:gd name="T95" fmla="*/ 156 h 324"/>
              <a:gd name="T96" fmla="*/ 162 w 324"/>
              <a:gd name="T97" fmla="*/ 96 h 324"/>
              <a:gd name="T98" fmla="*/ 168 w 324"/>
              <a:gd name="T99" fmla="*/ 90 h 324"/>
              <a:gd name="T100" fmla="*/ 168 w 324"/>
              <a:gd name="T101" fmla="*/ 60 h 324"/>
              <a:gd name="T102" fmla="*/ 162 w 324"/>
              <a:gd name="T103" fmla="*/ 54 h 324"/>
              <a:gd name="T104" fmla="*/ 157 w 324"/>
              <a:gd name="T105" fmla="*/ 60 h 324"/>
              <a:gd name="T106" fmla="*/ 157 w 324"/>
              <a:gd name="T107" fmla="*/ 90 h 324"/>
              <a:gd name="T108" fmla="*/ 162 w 324"/>
              <a:gd name="T109" fmla="*/ 96 h 324"/>
              <a:gd name="T110" fmla="*/ 162 w 324"/>
              <a:gd name="T111" fmla="*/ 227 h 324"/>
              <a:gd name="T112" fmla="*/ 157 w 324"/>
              <a:gd name="T113" fmla="*/ 233 h 324"/>
              <a:gd name="T114" fmla="*/ 157 w 324"/>
              <a:gd name="T115" fmla="*/ 263 h 324"/>
              <a:gd name="T116" fmla="*/ 162 w 324"/>
              <a:gd name="T117" fmla="*/ 269 h 324"/>
              <a:gd name="T118" fmla="*/ 168 w 324"/>
              <a:gd name="T119" fmla="*/ 263 h 324"/>
              <a:gd name="T120" fmla="*/ 168 w 324"/>
              <a:gd name="T121" fmla="*/ 233 h 324"/>
              <a:gd name="T122" fmla="*/ 162 w 324"/>
              <a:gd name="T123" fmla="*/ 227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24" h="324">
                <a:moveTo>
                  <a:pt x="162" y="0"/>
                </a:moveTo>
                <a:cubicBezTo>
                  <a:pt x="73" y="0"/>
                  <a:pt x="0" y="72"/>
                  <a:pt x="0" y="162"/>
                </a:cubicBezTo>
                <a:cubicBezTo>
                  <a:pt x="0" y="251"/>
                  <a:pt x="73" y="324"/>
                  <a:pt x="162" y="324"/>
                </a:cubicBezTo>
                <a:cubicBezTo>
                  <a:pt x="252" y="324"/>
                  <a:pt x="324" y="251"/>
                  <a:pt x="324" y="162"/>
                </a:cubicBezTo>
                <a:cubicBezTo>
                  <a:pt x="324" y="72"/>
                  <a:pt x="252" y="0"/>
                  <a:pt x="162" y="0"/>
                </a:cubicBezTo>
                <a:close/>
                <a:moveTo>
                  <a:pt x="162" y="299"/>
                </a:moveTo>
                <a:cubicBezTo>
                  <a:pt x="87" y="299"/>
                  <a:pt x="25" y="237"/>
                  <a:pt x="25" y="162"/>
                </a:cubicBezTo>
                <a:cubicBezTo>
                  <a:pt x="25" y="86"/>
                  <a:pt x="87" y="25"/>
                  <a:pt x="162" y="25"/>
                </a:cubicBezTo>
                <a:cubicBezTo>
                  <a:pt x="238" y="25"/>
                  <a:pt x="299" y="86"/>
                  <a:pt x="299" y="162"/>
                </a:cubicBezTo>
                <a:cubicBezTo>
                  <a:pt x="299" y="237"/>
                  <a:pt x="238" y="299"/>
                  <a:pt x="162" y="299"/>
                </a:cubicBezTo>
                <a:close/>
                <a:moveTo>
                  <a:pt x="162" y="37"/>
                </a:moveTo>
                <a:cubicBezTo>
                  <a:pt x="93" y="37"/>
                  <a:pt x="38" y="93"/>
                  <a:pt x="38" y="162"/>
                </a:cubicBezTo>
                <a:cubicBezTo>
                  <a:pt x="38" y="231"/>
                  <a:pt x="93" y="287"/>
                  <a:pt x="162" y="287"/>
                </a:cubicBezTo>
                <a:cubicBezTo>
                  <a:pt x="231" y="287"/>
                  <a:pt x="287" y="231"/>
                  <a:pt x="287" y="162"/>
                </a:cubicBezTo>
                <a:cubicBezTo>
                  <a:pt x="287" y="93"/>
                  <a:pt x="231" y="37"/>
                  <a:pt x="162" y="37"/>
                </a:cubicBezTo>
                <a:close/>
                <a:moveTo>
                  <a:pt x="162" y="278"/>
                </a:moveTo>
                <a:cubicBezTo>
                  <a:pt x="98" y="278"/>
                  <a:pt x="46" y="226"/>
                  <a:pt x="46" y="162"/>
                </a:cubicBezTo>
                <a:cubicBezTo>
                  <a:pt x="46" y="97"/>
                  <a:pt x="98" y="45"/>
                  <a:pt x="162" y="45"/>
                </a:cubicBezTo>
                <a:cubicBezTo>
                  <a:pt x="227" y="45"/>
                  <a:pt x="279" y="97"/>
                  <a:pt x="279" y="162"/>
                </a:cubicBezTo>
                <a:cubicBezTo>
                  <a:pt x="279" y="226"/>
                  <a:pt x="227" y="278"/>
                  <a:pt x="162" y="278"/>
                </a:cubicBezTo>
                <a:close/>
                <a:moveTo>
                  <a:pt x="182" y="151"/>
                </a:moveTo>
                <a:cubicBezTo>
                  <a:pt x="111" y="68"/>
                  <a:pt x="111" y="68"/>
                  <a:pt x="111" y="68"/>
                </a:cubicBezTo>
                <a:cubicBezTo>
                  <a:pt x="108" y="69"/>
                  <a:pt x="108" y="69"/>
                  <a:pt x="108" y="69"/>
                </a:cubicBezTo>
                <a:cubicBezTo>
                  <a:pt x="142" y="173"/>
                  <a:pt x="142" y="173"/>
                  <a:pt x="142" y="173"/>
                </a:cubicBezTo>
                <a:cubicBezTo>
                  <a:pt x="142" y="173"/>
                  <a:pt x="142" y="173"/>
                  <a:pt x="142" y="173"/>
                </a:cubicBezTo>
                <a:cubicBezTo>
                  <a:pt x="214" y="256"/>
                  <a:pt x="214" y="256"/>
                  <a:pt x="214" y="256"/>
                </a:cubicBezTo>
                <a:cubicBezTo>
                  <a:pt x="217" y="254"/>
                  <a:pt x="217" y="254"/>
                  <a:pt x="217" y="254"/>
                </a:cubicBezTo>
                <a:cubicBezTo>
                  <a:pt x="181" y="151"/>
                  <a:pt x="181" y="151"/>
                  <a:pt x="181" y="151"/>
                </a:cubicBezTo>
                <a:lnTo>
                  <a:pt x="182" y="151"/>
                </a:lnTo>
                <a:close/>
                <a:moveTo>
                  <a:pt x="175" y="163"/>
                </a:moveTo>
                <a:cubicBezTo>
                  <a:pt x="174" y="170"/>
                  <a:pt x="168" y="175"/>
                  <a:pt x="161" y="174"/>
                </a:cubicBezTo>
                <a:cubicBezTo>
                  <a:pt x="154" y="173"/>
                  <a:pt x="149" y="167"/>
                  <a:pt x="150" y="160"/>
                </a:cubicBezTo>
                <a:cubicBezTo>
                  <a:pt x="151" y="153"/>
                  <a:pt x="157" y="148"/>
                  <a:pt x="164" y="149"/>
                </a:cubicBezTo>
                <a:cubicBezTo>
                  <a:pt x="171" y="150"/>
                  <a:pt x="176" y="156"/>
                  <a:pt x="175" y="163"/>
                </a:cubicBezTo>
                <a:close/>
                <a:moveTo>
                  <a:pt x="91" y="156"/>
                </a:moveTo>
                <a:cubicBezTo>
                  <a:pt x="61" y="156"/>
                  <a:pt x="61" y="156"/>
                  <a:pt x="61" y="156"/>
                </a:cubicBezTo>
                <a:cubicBezTo>
                  <a:pt x="58" y="156"/>
                  <a:pt x="55" y="158"/>
                  <a:pt x="55" y="162"/>
                </a:cubicBezTo>
                <a:cubicBezTo>
                  <a:pt x="55" y="165"/>
                  <a:pt x="58" y="168"/>
                  <a:pt x="61" y="168"/>
                </a:cubicBezTo>
                <a:cubicBezTo>
                  <a:pt x="91" y="168"/>
                  <a:pt x="91" y="168"/>
                  <a:pt x="91" y="168"/>
                </a:cubicBezTo>
                <a:cubicBezTo>
                  <a:pt x="94" y="168"/>
                  <a:pt x="97" y="165"/>
                  <a:pt x="97" y="162"/>
                </a:cubicBezTo>
                <a:cubicBezTo>
                  <a:pt x="97" y="158"/>
                  <a:pt x="94" y="156"/>
                  <a:pt x="91" y="156"/>
                </a:cubicBezTo>
                <a:close/>
                <a:moveTo>
                  <a:pt x="264" y="156"/>
                </a:moveTo>
                <a:cubicBezTo>
                  <a:pt x="234" y="156"/>
                  <a:pt x="234" y="156"/>
                  <a:pt x="234" y="156"/>
                </a:cubicBezTo>
                <a:cubicBezTo>
                  <a:pt x="231" y="156"/>
                  <a:pt x="228" y="158"/>
                  <a:pt x="228" y="162"/>
                </a:cubicBezTo>
                <a:cubicBezTo>
                  <a:pt x="228" y="165"/>
                  <a:pt x="231" y="168"/>
                  <a:pt x="234" y="168"/>
                </a:cubicBezTo>
                <a:cubicBezTo>
                  <a:pt x="264" y="168"/>
                  <a:pt x="264" y="168"/>
                  <a:pt x="264" y="168"/>
                </a:cubicBezTo>
                <a:cubicBezTo>
                  <a:pt x="267" y="168"/>
                  <a:pt x="270" y="165"/>
                  <a:pt x="270" y="162"/>
                </a:cubicBezTo>
                <a:cubicBezTo>
                  <a:pt x="270" y="158"/>
                  <a:pt x="267" y="156"/>
                  <a:pt x="264" y="156"/>
                </a:cubicBezTo>
                <a:close/>
                <a:moveTo>
                  <a:pt x="162" y="96"/>
                </a:moveTo>
                <a:cubicBezTo>
                  <a:pt x="166" y="96"/>
                  <a:pt x="168" y="93"/>
                  <a:pt x="168" y="90"/>
                </a:cubicBezTo>
                <a:cubicBezTo>
                  <a:pt x="168" y="60"/>
                  <a:pt x="168" y="60"/>
                  <a:pt x="168" y="60"/>
                </a:cubicBezTo>
                <a:cubicBezTo>
                  <a:pt x="168" y="57"/>
                  <a:pt x="166" y="54"/>
                  <a:pt x="162" y="54"/>
                </a:cubicBezTo>
                <a:cubicBezTo>
                  <a:pt x="159" y="54"/>
                  <a:pt x="157" y="57"/>
                  <a:pt x="157" y="60"/>
                </a:cubicBezTo>
                <a:cubicBezTo>
                  <a:pt x="157" y="90"/>
                  <a:pt x="157" y="90"/>
                  <a:pt x="157" y="90"/>
                </a:cubicBezTo>
                <a:cubicBezTo>
                  <a:pt x="157" y="93"/>
                  <a:pt x="159" y="96"/>
                  <a:pt x="162" y="96"/>
                </a:cubicBezTo>
                <a:close/>
                <a:moveTo>
                  <a:pt x="162" y="227"/>
                </a:moveTo>
                <a:cubicBezTo>
                  <a:pt x="159" y="227"/>
                  <a:pt x="157" y="230"/>
                  <a:pt x="157" y="233"/>
                </a:cubicBezTo>
                <a:cubicBezTo>
                  <a:pt x="157" y="263"/>
                  <a:pt x="157" y="263"/>
                  <a:pt x="157" y="263"/>
                </a:cubicBezTo>
                <a:cubicBezTo>
                  <a:pt x="157" y="267"/>
                  <a:pt x="159" y="269"/>
                  <a:pt x="162" y="269"/>
                </a:cubicBezTo>
                <a:cubicBezTo>
                  <a:pt x="166" y="269"/>
                  <a:pt x="168" y="267"/>
                  <a:pt x="168" y="263"/>
                </a:cubicBezTo>
                <a:cubicBezTo>
                  <a:pt x="168" y="233"/>
                  <a:pt x="168" y="233"/>
                  <a:pt x="168" y="233"/>
                </a:cubicBezTo>
                <a:cubicBezTo>
                  <a:pt x="168" y="230"/>
                  <a:pt x="166" y="227"/>
                  <a:pt x="162" y="227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47" name="Group 164"/>
          <p:cNvGrpSpPr/>
          <p:nvPr>
            <p:custDataLst>
              <p:tags r:id="rId56"/>
            </p:custDataLst>
          </p:nvPr>
        </p:nvGrpSpPr>
        <p:grpSpPr>
          <a:xfrm>
            <a:off x="3232728" y="3692502"/>
            <a:ext cx="229122" cy="155492"/>
            <a:chOff x="-1341438" y="968375"/>
            <a:chExt cx="795338" cy="539751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50" name="Freeform 38"/>
            <p:cNvSpPr>
              <a:spLocks/>
            </p:cNvSpPr>
            <p:nvPr/>
          </p:nvSpPr>
          <p:spPr bwMode="auto">
            <a:xfrm>
              <a:off x="-1341438" y="1392238"/>
              <a:ext cx="795338" cy="115888"/>
            </a:xfrm>
            <a:custGeom>
              <a:avLst/>
              <a:gdLst>
                <a:gd name="T0" fmla="*/ 0 w 212"/>
                <a:gd name="T1" fmla="*/ 17 h 31"/>
                <a:gd name="T2" fmla="*/ 14 w 212"/>
                <a:gd name="T3" fmla="*/ 31 h 31"/>
                <a:gd name="T4" fmla="*/ 197 w 212"/>
                <a:gd name="T5" fmla="*/ 31 h 31"/>
                <a:gd name="T6" fmla="*/ 212 w 212"/>
                <a:gd name="T7" fmla="*/ 17 h 31"/>
                <a:gd name="T8" fmla="*/ 212 w 212"/>
                <a:gd name="T9" fmla="*/ 0 h 31"/>
                <a:gd name="T10" fmla="*/ 0 w 212"/>
                <a:gd name="T11" fmla="*/ 0 h 31"/>
                <a:gd name="T12" fmla="*/ 0 w 212"/>
                <a:gd name="T13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2" h="31">
                  <a:moveTo>
                    <a:pt x="0" y="17"/>
                  </a:moveTo>
                  <a:cubicBezTo>
                    <a:pt x="0" y="25"/>
                    <a:pt x="6" y="31"/>
                    <a:pt x="14" y="31"/>
                  </a:cubicBezTo>
                  <a:cubicBezTo>
                    <a:pt x="197" y="31"/>
                    <a:pt x="197" y="31"/>
                    <a:pt x="197" y="31"/>
                  </a:cubicBezTo>
                  <a:cubicBezTo>
                    <a:pt x="205" y="31"/>
                    <a:pt x="212" y="25"/>
                    <a:pt x="212" y="17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58" name="Rectangle 39"/>
            <p:cNvSpPr>
              <a:spLocks noChangeArrowheads="1"/>
            </p:cNvSpPr>
            <p:nvPr/>
          </p:nvSpPr>
          <p:spPr bwMode="auto">
            <a:xfrm>
              <a:off x="-1341438" y="1235075"/>
              <a:ext cx="795338" cy="12700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2" name="Freeform 40"/>
            <p:cNvSpPr>
              <a:spLocks noEditPoints="1"/>
            </p:cNvSpPr>
            <p:nvPr/>
          </p:nvSpPr>
          <p:spPr bwMode="auto">
            <a:xfrm>
              <a:off x="-1341438" y="968375"/>
              <a:ext cx="795338" cy="236538"/>
            </a:xfrm>
            <a:custGeom>
              <a:avLst/>
              <a:gdLst>
                <a:gd name="T0" fmla="*/ 197 w 212"/>
                <a:gd name="T1" fmla="*/ 0 h 63"/>
                <a:gd name="T2" fmla="*/ 14 w 212"/>
                <a:gd name="T3" fmla="*/ 0 h 63"/>
                <a:gd name="T4" fmla="*/ 0 w 212"/>
                <a:gd name="T5" fmla="*/ 14 h 63"/>
                <a:gd name="T6" fmla="*/ 0 w 212"/>
                <a:gd name="T7" fmla="*/ 63 h 63"/>
                <a:gd name="T8" fmla="*/ 212 w 212"/>
                <a:gd name="T9" fmla="*/ 63 h 63"/>
                <a:gd name="T10" fmla="*/ 212 w 212"/>
                <a:gd name="T11" fmla="*/ 14 h 63"/>
                <a:gd name="T12" fmla="*/ 197 w 212"/>
                <a:gd name="T13" fmla="*/ 0 h 63"/>
                <a:gd name="T14" fmla="*/ 26 w 212"/>
                <a:gd name="T15" fmla="*/ 14 h 63"/>
                <a:gd name="T16" fmla="*/ 87 w 212"/>
                <a:gd name="T17" fmla="*/ 14 h 63"/>
                <a:gd name="T18" fmla="*/ 87 w 212"/>
                <a:gd name="T19" fmla="*/ 25 h 63"/>
                <a:gd name="T20" fmla="*/ 26 w 212"/>
                <a:gd name="T21" fmla="*/ 25 h 63"/>
                <a:gd name="T22" fmla="*/ 26 w 212"/>
                <a:gd name="T23" fmla="*/ 14 h 63"/>
                <a:gd name="T24" fmla="*/ 26 w 212"/>
                <a:gd name="T25" fmla="*/ 28 h 63"/>
                <a:gd name="T26" fmla="*/ 97 w 212"/>
                <a:gd name="T27" fmla="*/ 28 h 63"/>
                <a:gd name="T28" fmla="*/ 97 w 212"/>
                <a:gd name="T29" fmla="*/ 39 h 63"/>
                <a:gd name="T30" fmla="*/ 26 w 212"/>
                <a:gd name="T31" fmla="*/ 39 h 63"/>
                <a:gd name="T32" fmla="*/ 26 w 212"/>
                <a:gd name="T33" fmla="*/ 28 h 63"/>
                <a:gd name="T34" fmla="*/ 102 w 212"/>
                <a:gd name="T35" fmla="*/ 54 h 63"/>
                <a:gd name="T36" fmla="*/ 26 w 212"/>
                <a:gd name="T37" fmla="*/ 54 h 63"/>
                <a:gd name="T38" fmla="*/ 26 w 212"/>
                <a:gd name="T39" fmla="*/ 43 h 63"/>
                <a:gd name="T40" fmla="*/ 102 w 212"/>
                <a:gd name="T41" fmla="*/ 43 h 63"/>
                <a:gd name="T42" fmla="*/ 102 w 212"/>
                <a:gd name="T43" fmla="*/ 5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2" h="63">
                  <a:moveTo>
                    <a:pt x="197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212" y="63"/>
                    <a:pt x="212" y="63"/>
                    <a:pt x="212" y="63"/>
                  </a:cubicBezTo>
                  <a:cubicBezTo>
                    <a:pt x="212" y="14"/>
                    <a:pt x="212" y="14"/>
                    <a:pt x="212" y="14"/>
                  </a:cubicBezTo>
                  <a:cubicBezTo>
                    <a:pt x="212" y="6"/>
                    <a:pt x="205" y="0"/>
                    <a:pt x="197" y="0"/>
                  </a:cubicBezTo>
                  <a:close/>
                  <a:moveTo>
                    <a:pt x="26" y="14"/>
                  </a:moveTo>
                  <a:cubicBezTo>
                    <a:pt x="87" y="14"/>
                    <a:pt x="87" y="14"/>
                    <a:pt x="87" y="14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26" y="25"/>
                    <a:pt x="26" y="25"/>
                    <a:pt x="26" y="25"/>
                  </a:cubicBezTo>
                  <a:lnTo>
                    <a:pt x="26" y="14"/>
                  </a:lnTo>
                  <a:close/>
                  <a:moveTo>
                    <a:pt x="26" y="28"/>
                  </a:moveTo>
                  <a:cubicBezTo>
                    <a:pt x="97" y="28"/>
                    <a:pt x="97" y="28"/>
                    <a:pt x="97" y="28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26" y="39"/>
                    <a:pt x="26" y="39"/>
                    <a:pt x="26" y="39"/>
                  </a:cubicBezTo>
                  <a:lnTo>
                    <a:pt x="26" y="28"/>
                  </a:lnTo>
                  <a:close/>
                  <a:moveTo>
                    <a:pt x="102" y="54"/>
                  </a:moveTo>
                  <a:cubicBezTo>
                    <a:pt x="26" y="54"/>
                    <a:pt x="26" y="54"/>
                    <a:pt x="26" y="54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102" y="43"/>
                    <a:pt x="102" y="43"/>
                    <a:pt x="102" y="43"/>
                  </a:cubicBezTo>
                  <a:lnTo>
                    <a:pt x="102" y="5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69" name="Freeform 11"/>
          <p:cNvSpPr>
            <a:spLocks noEditPoints="1"/>
          </p:cNvSpPr>
          <p:nvPr>
            <p:custDataLst>
              <p:tags r:id="rId57"/>
            </p:custDataLst>
          </p:nvPr>
        </p:nvSpPr>
        <p:spPr bwMode="auto">
          <a:xfrm>
            <a:off x="1741488" y="825500"/>
            <a:ext cx="546100" cy="274638"/>
          </a:xfrm>
          <a:custGeom>
            <a:avLst/>
            <a:gdLst>
              <a:gd name="T0" fmla="*/ 14 w 479"/>
              <a:gd name="T1" fmla="*/ 2 h 241"/>
              <a:gd name="T2" fmla="*/ 109 w 479"/>
              <a:gd name="T3" fmla="*/ 21 h 241"/>
              <a:gd name="T4" fmla="*/ 210 w 479"/>
              <a:gd name="T5" fmla="*/ 79 h 241"/>
              <a:gd name="T6" fmla="*/ 175 w 479"/>
              <a:gd name="T7" fmla="*/ 86 h 241"/>
              <a:gd name="T8" fmla="*/ 170 w 479"/>
              <a:gd name="T9" fmla="*/ 104 h 241"/>
              <a:gd name="T10" fmla="*/ 210 w 479"/>
              <a:gd name="T11" fmla="*/ 125 h 241"/>
              <a:gd name="T12" fmla="*/ 255 w 479"/>
              <a:gd name="T13" fmla="*/ 143 h 241"/>
              <a:gd name="T14" fmla="*/ 289 w 479"/>
              <a:gd name="T15" fmla="*/ 125 h 241"/>
              <a:gd name="T16" fmla="*/ 332 w 479"/>
              <a:gd name="T17" fmla="*/ 147 h 241"/>
              <a:gd name="T18" fmla="*/ 394 w 479"/>
              <a:gd name="T19" fmla="*/ 115 h 241"/>
              <a:gd name="T20" fmla="*/ 409 w 479"/>
              <a:gd name="T21" fmla="*/ 113 h 241"/>
              <a:gd name="T22" fmla="*/ 419 w 479"/>
              <a:gd name="T23" fmla="*/ 115 h 241"/>
              <a:gd name="T24" fmla="*/ 396 w 479"/>
              <a:gd name="T25" fmla="*/ 164 h 241"/>
              <a:gd name="T26" fmla="*/ 360 w 479"/>
              <a:gd name="T27" fmla="*/ 166 h 241"/>
              <a:gd name="T28" fmla="*/ 379 w 479"/>
              <a:gd name="T29" fmla="*/ 194 h 241"/>
              <a:gd name="T30" fmla="*/ 408 w 479"/>
              <a:gd name="T31" fmla="*/ 207 h 241"/>
              <a:gd name="T32" fmla="*/ 402 w 479"/>
              <a:gd name="T33" fmla="*/ 220 h 241"/>
              <a:gd name="T34" fmla="*/ 379 w 479"/>
              <a:gd name="T35" fmla="*/ 218 h 241"/>
              <a:gd name="T36" fmla="*/ 359 w 479"/>
              <a:gd name="T37" fmla="*/ 241 h 241"/>
              <a:gd name="T38" fmla="*/ 349 w 479"/>
              <a:gd name="T39" fmla="*/ 237 h 241"/>
              <a:gd name="T40" fmla="*/ 342 w 479"/>
              <a:gd name="T41" fmla="*/ 229 h 241"/>
              <a:gd name="T42" fmla="*/ 339 w 479"/>
              <a:gd name="T43" fmla="*/ 210 h 241"/>
              <a:gd name="T44" fmla="*/ 197 w 479"/>
              <a:gd name="T45" fmla="*/ 155 h 241"/>
              <a:gd name="T46" fmla="*/ 109 w 479"/>
              <a:gd name="T47" fmla="*/ 226 h 241"/>
              <a:gd name="T48" fmla="*/ 89 w 479"/>
              <a:gd name="T49" fmla="*/ 226 h 241"/>
              <a:gd name="T50" fmla="*/ 85 w 479"/>
              <a:gd name="T51" fmla="*/ 211 h 241"/>
              <a:gd name="T52" fmla="*/ 123 w 479"/>
              <a:gd name="T53" fmla="*/ 109 h 241"/>
              <a:gd name="T54" fmla="*/ 29 w 479"/>
              <a:gd name="T55" fmla="*/ 50 h 241"/>
              <a:gd name="T56" fmla="*/ 4 w 479"/>
              <a:gd name="T57" fmla="*/ 16 h 241"/>
              <a:gd name="T58" fmla="*/ 14 w 479"/>
              <a:gd name="T59" fmla="*/ 2 h 241"/>
              <a:gd name="T60" fmla="*/ 456 w 479"/>
              <a:gd name="T61" fmla="*/ 166 h 241"/>
              <a:gd name="T62" fmla="*/ 467 w 479"/>
              <a:gd name="T63" fmla="*/ 167 h 241"/>
              <a:gd name="T64" fmla="*/ 479 w 479"/>
              <a:gd name="T65" fmla="*/ 172 h 241"/>
              <a:gd name="T66" fmla="*/ 414 w 479"/>
              <a:gd name="T67" fmla="*/ 201 h 241"/>
              <a:gd name="T68" fmla="*/ 383 w 479"/>
              <a:gd name="T69" fmla="*/ 189 h 241"/>
              <a:gd name="T70" fmla="*/ 368 w 479"/>
              <a:gd name="T71" fmla="*/ 172 h 241"/>
              <a:gd name="T72" fmla="*/ 456 w 479"/>
              <a:gd name="T73" fmla="*/ 166 h 241"/>
              <a:gd name="T74" fmla="*/ 414 w 479"/>
              <a:gd name="T75" fmla="*/ 42 h 241"/>
              <a:gd name="T76" fmla="*/ 430 w 479"/>
              <a:gd name="T77" fmla="*/ 45 h 241"/>
              <a:gd name="T78" fmla="*/ 431 w 479"/>
              <a:gd name="T79" fmla="*/ 55 h 241"/>
              <a:gd name="T80" fmla="*/ 281 w 479"/>
              <a:gd name="T81" fmla="*/ 121 h 241"/>
              <a:gd name="T82" fmla="*/ 281 w 479"/>
              <a:gd name="T83" fmla="*/ 121 h 241"/>
              <a:gd name="T84" fmla="*/ 254 w 479"/>
              <a:gd name="T85" fmla="*/ 135 h 241"/>
              <a:gd name="T86" fmla="*/ 214 w 479"/>
              <a:gd name="T87" fmla="*/ 118 h 241"/>
              <a:gd name="T88" fmla="*/ 175 w 479"/>
              <a:gd name="T89" fmla="*/ 98 h 241"/>
              <a:gd name="T90" fmla="*/ 177 w 479"/>
              <a:gd name="T91" fmla="*/ 93 h 241"/>
              <a:gd name="T92" fmla="*/ 414 w 479"/>
              <a:gd name="T93" fmla="*/ 42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79" h="241">
                <a:moveTo>
                  <a:pt x="14" y="2"/>
                </a:moveTo>
                <a:cubicBezTo>
                  <a:pt x="31" y="0"/>
                  <a:pt x="65" y="1"/>
                  <a:pt x="109" y="21"/>
                </a:cubicBezTo>
                <a:cubicBezTo>
                  <a:pt x="136" y="34"/>
                  <a:pt x="173" y="56"/>
                  <a:pt x="210" y="79"/>
                </a:cubicBezTo>
                <a:cubicBezTo>
                  <a:pt x="175" y="86"/>
                  <a:pt x="175" y="86"/>
                  <a:pt x="175" y="86"/>
                </a:cubicBezTo>
                <a:cubicBezTo>
                  <a:pt x="164" y="88"/>
                  <a:pt x="163" y="99"/>
                  <a:pt x="170" y="104"/>
                </a:cubicBezTo>
                <a:cubicBezTo>
                  <a:pt x="180" y="110"/>
                  <a:pt x="191" y="117"/>
                  <a:pt x="210" y="125"/>
                </a:cubicBezTo>
                <a:cubicBezTo>
                  <a:pt x="235" y="137"/>
                  <a:pt x="254" y="144"/>
                  <a:pt x="255" y="143"/>
                </a:cubicBezTo>
                <a:cubicBezTo>
                  <a:pt x="289" y="125"/>
                  <a:pt x="289" y="125"/>
                  <a:pt x="289" y="125"/>
                </a:cubicBezTo>
                <a:cubicBezTo>
                  <a:pt x="332" y="147"/>
                  <a:pt x="332" y="147"/>
                  <a:pt x="332" y="147"/>
                </a:cubicBezTo>
                <a:cubicBezTo>
                  <a:pt x="394" y="115"/>
                  <a:pt x="394" y="115"/>
                  <a:pt x="394" y="115"/>
                </a:cubicBezTo>
                <a:cubicBezTo>
                  <a:pt x="400" y="112"/>
                  <a:pt x="403" y="112"/>
                  <a:pt x="409" y="113"/>
                </a:cubicBezTo>
                <a:cubicBezTo>
                  <a:pt x="419" y="115"/>
                  <a:pt x="419" y="115"/>
                  <a:pt x="419" y="115"/>
                </a:cubicBezTo>
                <a:cubicBezTo>
                  <a:pt x="396" y="164"/>
                  <a:pt x="396" y="164"/>
                  <a:pt x="396" y="164"/>
                </a:cubicBezTo>
                <a:cubicBezTo>
                  <a:pt x="360" y="166"/>
                  <a:pt x="360" y="166"/>
                  <a:pt x="360" y="166"/>
                </a:cubicBezTo>
                <a:cubicBezTo>
                  <a:pt x="358" y="166"/>
                  <a:pt x="357" y="179"/>
                  <a:pt x="379" y="194"/>
                </a:cubicBezTo>
                <a:cubicBezTo>
                  <a:pt x="395" y="205"/>
                  <a:pt x="405" y="207"/>
                  <a:pt x="408" y="207"/>
                </a:cubicBezTo>
                <a:cubicBezTo>
                  <a:pt x="408" y="211"/>
                  <a:pt x="407" y="217"/>
                  <a:pt x="402" y="220"/>
                </a:cubicBezTo>
                <a:cubicBezTo>
                  <a:pt x="396" y="224"/>
                  <a:pt x="379" y="218"/>
                  <a:pt x="379" y="218"/>
                </a:cubicBezTo>
                <a:cubicBezTo>
                  <a:pt x="359" y="241"/>
                  <a:pt x="359" y="241"/>
                  <a:pt x="359" y="241"/>
                </a:cubicBezTo>
                <a:cubicBezTo>
                  <a:pt x="349" y="237"/>
                  <a:pt x="349" y="237"/>
                  <a:pt x="349" y="237"/>
                </a:cubicBezTo>
                <a:cubicBezTo>
                  <a:pt x="345" y="236"/>
                  <a:pt x="343" y="233"/>
                  <a:pt x="342" y="229"/>
                </a:cubicBezTo>
                <a:cubicBezTo>
                  <a:pt x="339" y="210"/>
                  <a:pt x="339" y="210"/>
                  <a:pt x="339" y="210"/>
                </a:cubicBezTo>
                <a:cubicBezTo>
                  <a:pt x="305" y="197"/>
                  <a:pt x="246" y="175"/>
                  <a:pt x="197" y="155"/>
                </a:cubicBezTo>
                <a:cubicBezTo>
                  <a:pt x="109" y="226"/>
                  <a:pt x="109" y="226"/>
                  <a:pt x="109" y="226"/>
                </a:cubicBezTo>
                <a:cubicBezTo>
                  <a:pt x="103" y="231"/>
                  <a:pt x="98" y="229"/>
                  <a:pt x="89" y="226"/>
                </a:cubicBezTo>
                <a:cubicBezTo>
                  <a:pt x="82" y="224"/>
                  <a:pt x="81" y="219"/>
                  <a:pt x="85" y="211"/>
                </a:cubicBezTo>
                <a:cubicBezTo>
                  <a:pt x="123" y="109"/>
                  <a:pt x="123" y="109"/>
                  <a:pt x="123" y="109"/>
                </a:cubicBezTo>
                <a:cubicBezTo>
                  <a:pt x="123" y="109"/>
                  <a:pt x="58" y="73"/>
                  <a:pt x="29" y="50"/>
                </a:cubicBezTo>
                <a:cubicBezTo>
                  <a:pt x="13" y="38"/>
                  <a:pt x="6" y="25"/>
                  <a:pt x="4" y="16"/>
                </a:cubicBezTo>
                <a:cubicBezTo>
                  <a:pt x="0" y="6"/>
                  <a:pt x="4" y="3"/>
                  <a:pt x="14" y="2"/>
                </a:cubicBezTo>
                <a:close/>
                <a:moveTo>
                  <a:pt x="456" y="166"/>
                </a:moveTo>
                <a:cubicBezTo>
                  <a:pt x="460" y="165"/>
                  <a:pt x="464" y="166"/>
                  <a:pt x="467" y="167"/>
                </a:cubicBezTo>
                <a:cubicBezTo>
                  <a:pt x="479" y="172"/>
                  <a:pt x="479" y="172"/>
                  <a:pt x="479" y="172"/>
                </a:cubicBezTo>
                <a:cubicBezTo>
                  <a:pt x="414" y="201"/>
                  <a:pt x="414" y="201"/>
                  <a:pt x="414" y="201"/>
                </a:cubicBezTo>
                <a:cubicBezTo>
                  <a:pt x="411" y="201"/>
                  <a:pt x="397" y="199"/>
                  <a:pt x="383" y="189"/>
                </a:cubicBezTo>
                <a:cubicBezTo>
                  <a:pt x="368" y="176"/>
                  <a:pt x="367" y="172"/>
                  <a:pt x="368" y="172"/>
                </a:cubicBezTo>
                <a:cubicBezTo>
                  <a:pt x="397" y="170"/>
                  <a:pt x="427" y="168"/>
                  <a:pt x="456" y="166"/>
                </a:cubicBezTo>
                <a:close/>
                <a:moveTo>
                  <a:pt x="414" y="42"/>
                </a:moveTo>
                <a:cubicBezTo>
                  <a:pt x="421" y="41"/>
                  <a:pt x="425" y="41"/>
                  <a:pt x="430" y="45"/>
                </a:cubicBezTo>
                <a:cubicBezTo>
                  <a:pt x="436" y="49"/>
                  <a:pt x="436" y="52"/>
                  <a:pt x="431" y="55"/>
                </a:cubicBezTo>
                <a:cubicBezTo>
                  <a:pt x="281" y="121"/>
                  <a:pt x="281" y="121"/>
                  <a:pt x="281" y="121"/>
                </a:cubicBezTo>
                <a:cubicBezTo>
                  <a:pt x="281" y="121"/>
                  <a:pt x="281" y="121"/>
                  <a:pt x="281" y="121"/>
                </a:cubicBezTo>
                <a:cubicBezTo>
                  <a:pt x="254" y="135"/>
                  <a:pt x="254" y="135"/>
                  <a:pt x="254" y="135"/>
                </a:cubicBezTo>
                <a:cubicBezTo>
                  <a:pt x="253" y="135"/>
                  <a:pt x="242" y="131"/>
                  <a:pt x="214" y="118"/>
                </a:cubicBezTo>
                <a:cubicBezTo>
                  <a:pt x="196" y="110"/>
                  <a:pt x="182" y="103"/>
                  <a:pt x="175" y="98"/>
                </a:cubicBezTo>
                <a:cubicBezTo>
                  <a:pt x="172" y="96"/>
                  <a:pt x="173" y="94"/>
                  <a:pt x="177" y="93"/>
                </a:cubicBezTo>
                <a:cubicBezTo>
                  <a:pt x="256" y="78"/>
                  <a:pt x="335" y="60"/>
                  <a:pt x="414" y="42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73" name="Group 86"/>
          <p:cNvGrpSpPr/>
          <p:nvPr>
            <p:custDataLst>
              <p:tags r:id="rId58"/>
            </p:custDataLst>
          </p:nvPr>
        </p:nvGrpSpPr>
        <p:grpSpPr>
          <a:xfrm>
            <a:off x="1241853" y="797258"/>
            <a:ext cx="428485" cy="398177"/>
            <a:chOff x="3791090" y="2972422"/>
            <a:chExt cx="428485" cy="3981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79" name="Freeform 18"/>
            <p:cNvSpPr>
              <a:spLocks noEditPoints="1"/>
            </p:cNvSpPr>
            <p:nvPr/>
          </p:nvSpPr>
          <p:spPr bwMode="auto">
            <a:xfrm>
              <a:off x="3791090" y="2972422"/>
              <a:ext cx="428485" cy="398177"/>
            </a:xfrm>
            <a:custGeom>
              <a:avLst/>
              <a:gdLst>
                <a:gd name="T0" fmla="*/ 240 w 479"/>
                <a:gd name="T1" fmla="*/ 0 h 445"/>
                <a:gd name="T2" fmla="*/ 0 w 479"/>
                <a:gd name="T3" fmla="*/ 222 h 445"/>
                <a:gd name="T4" fmla="*/ 240 w 479"/>
                <a:gd name="T5" fmla="*/ 445 h 445"/>
                <a:gd name="T6" fmla="*/ 479 w 479"/>
                <a:gd name="T7" fmla="*/ 222 h 445"/>
                <a:gd name="T8" fmla="*/ 240 w 479"/>
                <a:gd name="T9" fmla="*/ 0 h 445"/>
                <a:gd name="T10" fmla="*/ 240 w 479"/>
                <a:gd name="T11" fmla="*/ 377 h 445"/>
                <a:gd name="T12" fmla="*/ 70 w 479"/>
                <a:gd name="T13" fmla="*/ 222 h 445"/>
                <a:gd name="T14" fmla="*/ 240 w 479"/>
                <a:gd name="T15" fmla="*/ 67 h 445"/>
                <a:gd name="T16" fmla="*/ 410 w 479"/>
                <a:gd name="T17" fmla="*/ 222 h 445"/>
                <a:gd name="T18" fmla="*/ 240 w 479"/>
                <a:gd name="T19" fmla="*/ 377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9" h="445">
                  <a:moveTo>
                    <a:pt x="240" y="0"/>
                  </a:moveTo>
                  <a:cubicBezTo>
                    <a:pt x="108" y="0"/>
                    <a:pt x="0" y="99"/>
                    <a:pt x="0" y="222"/>
                  </a:cubicBezTo>
                  <a:cubicBezTo>
                    <a:pt x="0" y="345"/>
                    <a:pt x="108" y="445"/>
                    <a:pt x="240" y="445"/>
                  </a:cubicBezTo>
                  <a:cubicBezTo>
                    <a:pt x="372" y="445"/>
                    <a:pt x="479" y="345"/>
                    <a:pt x="479" y="222"/>
                  </a:cubicBezTo>
                  <a:cubicBezTo>
                    <a:pt x="479" y="99"/>
                    <a:pt x="372" y="0"/>
                    <a:pt x="240" y="0"/>
                  </a:cubicBezTo>
                  <a:close/>
                  <a:moveTo>
                    <a:pt x="240" y="377"/>
                  </a:moveTo>
                  <a:cubicBezTo>
                    <a:pt x="146" y="377"/>
                    <a:pt x="70" y="308"/>
                    <a:pt x="70" y="222"/>
                  </a:cubicBezTo>
                  <a:cubicBezTo>
                    <a:pt x="70" y="137"/>
                    <a:pt x="146" y="67"/>
                    <a:pt x="240" y="67"/>
                  </a:cubicBezTo>
                  <a:cubicBezTo>
                    <a:pt x="333" y="67"/>
                    <a:pt x="410" y="137"/>
                    <a:pt x="410" y="222"/>
                  </a:cubicBezTo>
                  <a:cubicBezTo>
                    <a:pt x="410" y="308"/>
                    <a:pt x="333" y="377"/>
                    <a:pt x="240" y="37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85" name="Freeform 19"/>
            <p:cNvSpPr>
              <a:spLocks/>
            </p:cNvSpPr>
            <p:nvPr/>
          </p:nvSpPr>
          <p:spPr bwMode="auto">
            <a:xfrm>
              <a:off x="3872544" y="3062590"/>
              <a:ext cx="266714" cy="96608"/>
            </a:xfrm>
            <a:custGeom>
              <a:avLst/>
              <a:gdLst>
                <a:gd name="T0" fmla="*/ 298 w 298"/>
                <a:gd name="T1" fmla="*/ 77 h 108"/>
                <a:gd name="T2" fmla="*/ 293 w 298"/>
                <a:gd name="T3" fmla="*/ 71 h 108"/>
                <a:gd name="T4" fmla="*/ 261 w 298"/>
                <a:gd name="T5" fmla="*/ 92 h 108"/>
                <a:gd name="T6" fmla="*/ 230 w 298"/>
                <a:gd name="T7" fmla="*/ 58 h 108"/>
                <a:gd name="T8" fmla="*/ 248 w 298"/>
                <a:gd name="T9" fmla="*/ 24 h 108"/>
                <a:gd name="T10" fmla="*/ 239 w 298"/>
                <a:gd name="T11" fmla="*/ 21 h 108"/>
                <a:gd name="T12" fmla="*/ 223 w 298"/>
                <a:gd name="T13" fmla="*/ 52 h 108"/>
                <a:gd name="T14" fmla="*/ 222 w 298"/>
                <a:gd name="T15" fmla="*/ 53 h 108"/>
                <a:gd name="T16" fmla="*/ 156 w 298"/>
                <a:gd name="T17" fmla="*/ 36 h 108"/>
                <a:gd name="T18" fmla="*/ 156 w 298"/>
                <a:gd name="T19" fmla="*/ 0 h 108"/>
                <a:gd name="T20" fmla="*/ 146 w 298"/>
                <a:gd name="T21" fmla="*/ 0 h 108"/>
                <a:gd name="T22" fmla="*/ 146 w 298"/>
                <a:gd name="T23" fmla="*/ 36 h 108"/>
                <a:gd name="T24" fmla="*/ 89 w 298"/>
                <a:gd name="T25" fmla="*/ 49 h 108"/>
                <a:gd name="T26" fmla="*/ 71 w 298"/>
                <a:gd name="T27" fmla="*/ 15 h 108"/>
                <a:gd name="T28" fmla="*/ 62 w 298"/>
                <a:gd name="T29" fmla="*/ 18 h 108"/>
                <a:gd name="T30" fmla="*/ 69 w 298"/>
                <a:gd name="T31" fmla="*/ 31 h 108"/>
                <a:gd name="T32" fmla="*/ 18 w 298"/>
                <a:gd name="T33" fmla="*/ 79 h 108"/>
                <a:gd name="T34" fmla="*/ 6 w 298"/>
                <a:gd name="T35" fmla="*/ 71 h 108"/>
                <a:gd name="T36" fmla="*/ 0 w 298"/>
                <a:gd name="T37" fmla="*/ 77 h 108"/>
                <a:gd name="T38" fmla="*/ 34 w 298"/>
                <a:gd name="T39" fmla="*/ 100 h 108"/>
                <a:gd name="T40" fmla="*/ 33 w 298"/>
                <a:gd name="T41" fmla="*/ 103 h 108"/>
                <a:gd name="T42" fmla="*/ 44 w 298"/>
                <a:gd name="T43" fmla="*/ 108 h 108"/>
                <a:gd name="T44" fmla="*/ 150 w 298"/>
                <a:gd name="T45" fmla="*/ 47 h 108"/>
                <a:gd name="T46" fmla="*/ 257 w 298"/>
                <a:gd name="T47" fmla="*/ 108 h 108"/>
                <a:gd name="T48" fmla="*/ 268 w 298"/>
                <a:gd name="T49" fmla="*/ 103 h 108"/>
                <a:gd name="T50" fmla="*/ 266 w 298"/>
                <a:gd name="T51" fmla="*/ 99 h 108"/>
                <a:gd name="T52" fmla="*/ 298 w 298"/>
                <a:gd name="T53" fmla="*/ 7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8" h="108">
                  <a:moveTo>
                    <a:pt x="298" y="77"/>
                  </a:moveTo>
                  <a:cubicBezTo>
                    <a:pt x="293" y="71"/>
                    <a:pt x="293" y="71"/>
                    <a:pt x="293" y="71"/>
                  </a:cubicBezTo>
                  <a:cubicBezTo>
                    <a:pt x="261" y="92"/>
                    <a:pt x="261" y="92"/>
                    <a:pt x="261" y="92"/>
                  </a:cubicBezTo>
                  <a:cubicBezTo>
                    <a:pt x="252" y="77"/>
                    <a:pt x="242" y="66"/>
                    <a:pt x="230" y="58"/>
                  </a:cubicBezTo>
                  <a:cubicBezTo>
                    <a:pt x="248" y="24"/>
                    <a:pt x="248" y="24"/>
                    <a:pt x="248" y="24"/>
                  </a:cubicBezTo>
                  <a:cubicBezTo>
                    <a:pt x="239" y="21"/>
                    <a:pt x="239" y="21"/>
                    <a:pt x="239" y="21"/>
                  </a:cubicBezTo>
                  <a:cubicBezTo>
                    <a:pt x="223" y="52"/>
                    <a:pt x="223" y="52"/>
                    <a:pt x="223" y="52"/>
                  </a:cubicBezTo>
                  <a:cubicBezTo>
                    <a:pt x="222" y="53"/>
                    <a:pt x="222" y="53"/>
                    <a:pt x="222" y="53"/>
                  </a:cubicBezTo>
                  <a:cubicBezTo>
                    <a:pt x="204" y="42"/>
                    <a:pt x="183" y="37"/>
                    <a:pt x="156" y="36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25" y="37"/>
                    <a:pt x="106" y="41"/>
                    <a:pt x="89" y="49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44" y="43"/>
                    <a:pt x="28" y="61"/>
                    <a:pt x="18" y="79"/>
                  </a:cubicBezTo>
                  <a:cubicBezTo>
                    <a:pt x="6" y="71"/>
                    <a:pt x="6" y="71"/>
                    <a:pt x="6" y="71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34" y="101"/>
                    <a:pt x="33" y="102"/>
                    <a:pt x="33" y="103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51" y="94"/>
                    <a:pt x="79" y="47"/>
                    <a:pt x="150" y="47"/>
                  </a:cubicBezTo>
                  <a:cubicBezTo>
                    <a:pt x="215" y="47"/>
                    <a:pt x="240" y="77"/>
                    <a:pt x="257" y="108"/>
                  </a:cubicBezTo>
                  <a:cubicBezTo>
                    <a:pt x="268" y="103"/>
                    <a:pt x="268" y="103"/>
                    <a:pt x="268" y="103"/>
                  </a:cubicBezTo>
                  <a:cubicBezTo>
                    <a:pt x="267" y="102"/>
                    <a:pt x="266" y="100"/>
                    <a:pt x="266" y="99"/>
                  </a:cubicBezTo>
                  <a:lnTo>
                    <a:pt x="298" y="7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86" name="Freeform 20"/>
            <p:cNvSpPr>
              <a:spLocks/>
            </p:cNvSpPr>
            <p:nvPr/>
          </p:nvSpPr>
          <p:spPr bwMode="auto">
            <a:xfrm>
              <a:off x="3893002" y="3166396"/>
              <a:ext cx="27656" cy="38643"/>
            </a:xfrm>
            <a:custGeom>
              <a:avLst/>
              <a:gdLst>
                <a:gd name="T0" fmla="*/ 66 w 73"/>
                <a:gd name="T1" fmla="*/ 57 h 102"/>
                <a:gd name="T2" fmla="*/ 21 w 73"/>
                <a:gd name="T3" fmla="*/ 57 h 102"/>
                <a:gd name="T4" fmla="*/ 21 w 73"/>
                <a:gd name="T5" fmla="*/ 85 h 102"/>
                <a:gd name="T6" fmla="*/ 73 w 73"/>
                <a:gd name="T7" fmla="*/ 85 h 102"/>
                <a:gd name="T8" fmla="*/ 73 w 73"/>
                <a:gd name="T9" fmla="*/ 102 h 102"/>
                <a:gd name="T10" fmla="*/ 0 w 73"/>
                <a:gd name="T11" fmla="*/ 102 h 102"/>
                <a:gd name="T12" fmla="*/ 0 w 73"/>
                <a:gd name="T13" fmla="*/ 0 h 102"/>
                <a:gd name="T14" fmla="*/ 69 w 73"/>
                <a:gd name="T15" fmla="*/ 0 h 102"/>
                <a:gd name="T16" fmla="*/ 69 w 73"/>
                <a:gd name="T17" fmla="*/ 14 h 102"/>
                <a:gd name="T18" fmla="*/ 21 w 73"/>
                <a:gd name="T19" fmla="*/ 14 h 102"/>
                <a:gd name="T20" fmla="*/ 21 w 73"/>
                <a:gd name="T21" fmla="*/ 40 h 102"/>
                <a:gd name="T22" fmla="*/ 66 w 73"/>
                <a:gd name="T23" fmla="*/ 40 h 102"/>
                <a:gd name="T24" fmla="*/ 66 w 73"/>
                <a:gd name="T25" fmla="*/ 57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" h="102">
                  <a:moveTo>
                    <a:pt x="66" y="57"/>
                  </a:moveTo>
                  <a:lnTo>
                    <a:pt x="21" y="57"/>
                  </a:lnTo>
                  <a:lnTo>
                    <a:pt x="21" y="85"/>
                  </a:lnTo>
                  <a:lnTo>
                    <a:pt x="73" y="85"/>
                  </a:lnTo>
                  <a:lnTo>
                    <a:pt x="73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14"/>
                  </a:lnTo>
                  <a:lnTo>
                    <a:pt x="21" y="14"/>
                  </a:lnTo>
                  <a:lnTo>
                    <a:pt x="21" y="40"/>
                  </a:lnTo>
                  <a:lnTo>
                    <a:pt x="66" y="40"/>
                  </a:lnTo>
                  <a:lnTo>
                    <a:pt x="66" y="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87" name="Freeform 21"/>
            <p:cNvSpPr>
              <a:spLocks/>
            </p:cNvSpPr>
            <p:nvPr/>
          </p:nvSpPr>
          <p:spPr bwMode="auto">
            <a:xfrm>
              <a:off x="4100614" y="3168290"/>
              <a:ext cx="26899" cy="38643"/>
            </a:xfrm>
            <a:custGeom>
              <a:avLst/>
              <a:gdLst>
                <a:gd name="T0" fmla="*/ 0 w 71"/>
                <a:gd name="T1" fmla="*/ 0 h 102"/>
                <a:gd name="T2" fmla="*/ 71 w 71"/>
                <a:gd name="T3" fmla="*/ 0 h 102"/>
                <a:gd name="T4" fmla="*/ 71 w 71"/>
                <a:gd name="T5" fmla="*/ 17 h 102"/>
                <a:gd name="T6" fmla="*/ 24 w 71"/>
                <a:gd name="T7" fmla="*/ 17 h 102"/>
                <a:gd name="T8" fmla="*/ 24 w 71"/>
                <a:gd name="T9" fmla="*/ 43 h 102"/>
                <a:gd name="T10" fmla="*/ 66 w 71"/>
                <a:gd name="T11" fmla="*/ 43 h 102"/>
                <a:gd name="T12" fmla="*/ 66 w 71"/>
                <a:gd name="T13" fmla="*/ 59 h 102"/>
                <a:gd name="T14" fmla="*/ 24 w 71"/>
                <a:gd name="T15" fmla="*/ 59 h 102"/>
                <a:gd name="T16" fmla="*/ 24 w 71"/>
                <a:gd name="T17" fmla="*/ 102 h 102"/>
                <a:gd name="T18" fmla="*/ 0 w 71"/>
                <a:gd name="T19" fmla="*/ 102 h 102"/>
                <a:gd name="T20" fmla="*/ 0 w 71"/>
                <a:gd name="T2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" h="102">
                  <a:moveTo>
                    <a:pt x="0" y="0"/>
                  </a:moveTo>
                  <a:lnTo>
                    <a:pt x="71" y="0"/>
                  </a:lnTo>
                  <a:lnTo>
                    <a:pt x="71" y="17"/>
                  </a:lnTo>
                  <a:lnTo>
                    <a:pt x="24" y="17"/>
                  </a:lnTo>
                  <a:lnTo>
                    <a:pt x="24" y="43"/>
                  </a:lnTo>
                  <a:lnTo>
                    <a:pt x="66" y="43"/>
                  </a:lnTo>
                  <a:lnTo>
                    <a:pt x="66" y="59"/>
                  </a:lnTo>
                  <a:lnTo>
                    <a:pt x="24" y="59"/>
                  </a:lnTo>
                  <a:lnTo>
                    <a:pt x="24" y="102"/>
                  </a:lnTo>
                  <a:lnTo>
                    <a:pt x="0" y="10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88" name="Freeform 22"/>
            <p:cNvSpPr>
              <a:spLocks/>
            </p:cNvSpPr>
            <p:nvPr/>
          </p:nvSpPr>
          <p:spPr bwMode="auto">
            <a:xfrm>
              <a:off x="3986958" y="3110325"/>
              <a:ext cx="132599" cy="131463"/>
            </a:xfrm>
            <a:custGeom>
              <a:avLst/>
              <a:gdLst>
                <a:gd name="T0" fmla="*/ 148 w 148"/>
                <a:gd name="T1" fmla="*/ 0 h 147"/>
                <a:gd name="T2" fmla="*/ 148 w 148"/>
                <a:gd name="T3" fmla="*/ 0 h 147"/>
                <a:gd name="T4" fmla="*/ 148 w 148"/>
                <a:gd name="T5" fmla="*/ 0 h 147"/>
                <a:gd name="T6" fmla="*/ 116 w 148"/>
                <a:gd name="T7" fmla="*/ 16 h 147"/>
                <a:gd name="T8" fmla="*/ 22 w 148"/>
                <a:gd name="T9" fmla="*/ 115 h 147"/>
                <a:gd name="T10" fmla="*/ 6 w 148"/>
                <a:gd name="T11" fmla="*/ 120 h 147"/>
                <a:gd name="T12" fmla="*/ 8 w 148"/>
                <a:gd name="T13" fmla="*/ 142 h 147"/>
                <a:gd name="T14" fmla="*/ 30 w 148"/>
                <a:gd name="T15" fmla="*/ 140 h 147"/>
                <a:gd name="T16" fmla="*/ 31 w 148"/>
                <a:gd name="T17" fmla="*/ 122 h 147"/>
                <a:gd name="T18" fmla="*/ 129 w 148"/>
                <a:gd name="T19" fmla="*/ 34 h 147"/>
                <a:gd name="T20" fmla="*/ 148 w 148"/>
                <a:gd name="T21" fmla="*/ 0 h 147"/>
                <a:gd name="T22" fmla="*/ 148 w 148"/>
                <a:gd name="T23" fmla="*/ 0 h 147"/>
                <a:gd name="T24" fmla="*/ 148 w 148"/>
                <a:gd name="T25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8" h="147">
                  <a:moveTo>
                    <a:pt x="148" y="0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39" y="5"/>
                    <a:pt x="125" y="12"/>
                    <a:pt x="116" y="16"/>
                  </a:cubicBezTo>
                  <a:cubicBezTo>
                    <a:pt x="104" y="29"/>
                    <a:pt x="51" y="85"/>
                    <a:pt x="22" y="115"/>
                  </a:cubicBezTo>
                  <a:cubicBezTo>
                    <a:pt x="16" y="114"/>
                    <a:pt x="10" y="115"/>
                    <a:pt x="6" y="120"/>
                  </a:cubicBezTo>
                  <a:cubicBezTo>
                    <a:pt x="0" y="126"/>
                    <a:pt x="1" y="136"/>
                    <a:pt x="8" y="142"/>
                  </a:cubicBezTo>
                  <a:cubicBezTo>
                    <a:pt x="14" y="147"/>
                    <a:pt x="24" y="147"/>
                    <a:pt x="30" y="140"/>
                  </a:cubicBezTo>
                  <a:cubicBezTo>
                    <a:pt x="34" y="135"/>
                    <a:pt x="35" y="128"/>
                    <a:pt x="31" y="122"/>
                  </a:cubicBezTo>
                  <a:cubicBezTo>
                    <a:pt x="62" y="93"/>
                    <a:pt x="116" y="45"/>
                    <a:pt x="129" y="34"/>
                  </a:cubicBezTo>
                  <a:cubicBezTo>
                    <a:pt x="134" y="24"/>
                    <a:pt x="142" y="10"/>
                    <a:pt x="148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48" y="0"/>
                    <a:pt x="148" y="0"/>
                    <a:pt x="148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90" name="Freeform 55"/>
          <p:cNvSpPr>
            <a:spLocks noEditPoints="1"/>
          </p:cNvSpPr>
          <p:nvPr>
            <p:custDataLst>
              <p:tags r:id="rId59"/>
            </p:custDataLst>
          </p:nvPr>
        </p:nvSpPr>
        <p:spPr bwMode="auto">
          <a:xfrm>
            <a:off x="833438" y="1049338"/>
            <a:ext cx="374650" cy="333375"/>
          </a:xfrm>
          <a:custGeom>
            <a:avLst/>
            <a:gdLst>
              <a:gd name="T0" fmla="*/ 80 w 100"/>
              <a:gd name="T1" fmla="*/ 89 h 89"/>
              <a:gd name="T2" fmla="*/ 94 w 100"/>
              <a:gd name="T3" fmla="*/ 86 h 89"/>
              <a:gd name="T4" fmla="*/ 77 w 100"/>
              <a:gd name="T5" fmla="*/ 78 h 89"/>
              <a:gd name="T6" fmla="*/ 7 w 100"/>
              <a:gd name="T7" fmla="*/ 86 h 89"/>
              <a:gd name="T8" fmla="*/ 21 w 100"/>
              <a:gd name="T9" fmla="*/ 89 h 89"/>
              <a:gd name="T10" fmla="*/ 24 w 100"/>
              <a:gd name="T11" fmla="*/ 78 h 89"/>
              <a:gd name="T12" fmla="*/ 7 w 100"/>
              <a:gd name="T13" fmla="*/ 86 h 89"/>
              <a:gd name="T14" fmla="*/ 59 w 100"/>
              <a:gd name="T15" fmla="*/ 52 h 89"/>
              <a:gd name="T16" fmla="*/ 40 w 100"/>
              <a:gd name="T17" fmla="*/ 48 h 89"/>
              <a:gd name="T18" fmla="*/ 95 w 100"/>
              <a:gd name="T19" fmla="*/ 35 h 89"/>
              <a:gd name="T20" fmla="*/ 70 w 100"/>
              <a:gd name="T21" fmla="*/ 0 h 89"/>
              <a:gd name="T22" fmla="*/ 31 w 100"/>
              <a:gd name="T23" fmla="*/ 0 h 89"/>
              <a:gd name="T24" fmla="*/ 0 w 100"/>
              <a:gd name="T25" fmla="*/ 52 h 89"/>
              <a:gd name="T26" fmla="*/ 3 w 100"/>
              <a:gd name="T27" fmla="*/ 72 h 89"/>
              <a:gd name="T28" fmla="*/ 50 w 100"/>
              <a:gd name="T29" fmla="*/ 74 h 89"/>
              <a:gd name="T30" fmla="*/ 50 w 100"/>
              <a:gd name="T31" fmla="*/ 74 h 89"/>
              <a:gd name="T32" fmla="*/ 97 w 100"/>
              <a:gd name="T33" fmla="*/ 72 h 89"/>
              <a:gd name="T34" fmla="*/ 95 w 100"/>
              <a:gd name="T35" fmla="*/ 35 h 89"/>
              <a:gd name="T36" fmla="*/ 31 w 100"/>
              <a:gd name="T37" fmla="*/ 7 h 89"/>
              <a:gd name="T38" fmla="*/ 70 w 100"/>
              <a:gd name="T39" fmla="*/ 7 h 89"/>
              <a:gd name="T40" fmla="*/ 13 w 100"/>
              <a:gd name="T41" fmla="*/ 28 h 89"/>
              <a:gd name="T42" fmla="*/ 15 w 100"/>
              <a:gd name="T43" fmla="*/ 71 h 89"/>
              <a:gd name="T44" fmla="*/ 15 w 100"/>
              <a:gd name="T45" fmla="*/ 63 h 89"/>
              <a:gd name="T46" fmla="*/ 15 w 100"/>
              <a:gd name="T47" fmla="*/ 71 h 89"/>
              <a:gd name="T48" fmla="*/ 26 w 100"/>
              <a:gd name="T49" fmla="*/ 47 h 89"/>
              <a:gd name="T50" fmla="*/ 7 w 100"/>
              <a:gd name="T51" fmla="*/ 47 h 89"/>
              <a:gd name="T52" fmla="*/ 7 w 100"/>
              <a:gd name="T53" fmla="*/ 46 h 89"/>
              <a:gd name="T54" fmla="*/ 7 w 100"/>
              <a:gd name="T55" fmla="*/ 46 h 89"/>
              <a:gd name="T56" fmla="*/ 7 w 100"/>
              <a:gd name="T57" fmla="*/ 46 h 89"/>
              <a:gd name="T58" fmla="*/ 11 w 100"/>
              <a:gd name="T59" fmla="*/ 37 h 89"/>
              <a:gd name="T60" fmla="*/ 12 w 100"/>
              <a:gd name="T61" fmla="*/ 37 h 89"/>
              <a:gd name="T62" fmla="*/ 27 w 100"/>
              <a:gd name="T63" fmla="*/ 46 h 89"/>
              <a:gd name="T64" fmla="*/ 27 w 100"/>
              <a:gd name="T65" fmla="*/ 46 h 89"/>
              <a:gd name="T66" fmla="*/ 60 w 100"/>
              <a:gd name="T67" fmla="*/ 56 h 89"/>
              <a:gd name="T68" fmla="*/ 60 w 100"/>
              <a:gd name="T69" fmla="*/ 56 h 89"/>
              <a:gd name="T70" fmla="*/ 41 w 100"/>
              <a:gd name="T71" fmla="*/ 56 h 89"/>
              <a:gd name="T72" fmla="*/ 35 w 100"/>
              <a:gd name="T73" fmla="*/ 45 h 89"/>
              <a:gd name="T74" fmla="*/ 35 w 100"/>
              <a:gd name="T75" fmla="*/ 45 h 89"/>
              <a:gd name="T76" fmla="*/ 35 w 100"/>
              <a:gd name="T77" fmla="*/ 45 h 89"/>
              <a:gd name="T78" fmla="*/ 64 w 100"/>
              <a:gd name="T79" fmla="*/ 43 h 89"/>
              <a:gd name="T80" fmla="*/ 65 w 100"/>
              <a:gd name="T81" fmla="*/ 45 h 89"/>
              <a:gd name="T82" fmla="*/ 65 w 100"/>
              <a:gd name="T83" fmla="*/ 45 h 89"/>
              <a:gd name="T84" fmla="*/ 85 w 100"/>
              <a:gd name="T85" fmla="*/ 71 h 89"/>
              <a:gd name="T86" fmla="*/ 85 w 100"/>
              <a:gd name="T87" fmla="*/ 63 h 89"/>
              <a:gd name="T88" fmla="*/ 85 w 100"/>
              <a:gd name="T89" fmla="*/ 71 h 89"/>
              <a:gd name="T90" fmla="*/ 94 w 100"/>
              <a:gd name="T91" fmla="*/ 46 h 89"/>
              <a:gd name="T92" fmla="*/ 93 w 100"/>
              <a:gd name="T93" fmla="*/ 47 h 89"/>
              <a:gd name="T94" fmla="*/ 93 w 100"/>
              <a:gd name="T95" fmla="*/ 47 h 89"/>
              <a:gd name="T96" fmla="*/ 74 w 100"/>
              <a:gd name="T97" fmla="*/ 46 h 89"/>
              <a:gd name="T98" fmla="*/ 74 w 100"/>
              <a:gd name="T99" fmla="*/ 46 h 89"/>
              <a:gd name="T100" fmla="*/ 89 w 100"/>
              <a:gd name="T101" fmla="*/ 37 h 89"/>
              <a:gd name="T102" fmla="*/ 90 w 100"/>
              <a:gd name="T103" fmla="*/ 37 h 89"/>
              <a:gd name="T104" fmla="*/ 94 w 100"/>
              <a:gd name="T105" fmla="*/ 46 h 89"/>
              <a:gd name="T106" fmla="*/ 94 w 100"/>
              <a:gd name="T107" fmla="*/ 46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0" h="89">
                <a:moveTo>
                  <a:pt x="77" y="86"/>
                </a:moveTo>
                <a:cubicBezTo>
                  <a:pt x="77" y="88"/>
                  <a:pt x="78" y="89"/>
                  <a:pt x="8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2" y="89"/>
                  <a:pt x="94" y="88"/>
                  <a:pt x="94" y="86"/>
                </a:cubicBezTo>
                <a:cubicBezTo>
                  <a:pt x="94" y="78"/>
                  <a:pt x="94" y="78"/>
                  <a:pt x="94" y="78"/>
                </a:cubicBezTo>
                <a:cubicBezTo>
                  <a:pt x="77" y="78"/>
                  <a:pt x="77" y="78"/>
                  <a:pt x="77" y="78"/>
                </a:cubicBezTo>
                <a:lnTo>
                  <a:pt x="77" y="86"/>
                </a:lnTo>
                <a:close/>
                <a:moveTo>
                  <a:pt x="7" y="86"/>
                </a:moveTo>
                <a:cubicBezTo>
                  <a:pt x="7" y="88"/>
                  <a:pt x="8" y="89"/>
                  <a:pt x="10" y="89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4" y="88"/>
                  <a:pt x="24" y="86"/>
                </a:cubicBezTo>
                <a:cubicBezTo>
                  <a:pt x="24" y="78"/>
                  <a:pt x="24" y="78"/>
                  <a:pt x="24" y="78"/>
                </a:cubicBezTo>
                <a:cubicBezTo>
                  <a:pt x="7" y="78"/>
                  <a:pt x="7" y="78"/>
                  <a:pt x="7" y="78"/>
                </a:cubicBezTo>
                <a:lnTo>
                  <a:pt x="7" y="86"/>
                </a:lnTo>
                <a:close/>
                <a:moveTo>
                  <a:pt x="41" y="52"/>
                </a:moveTo>
                <a:cubicBezTo>
                  <a:pt x="59" y="52"/>
                  <a:pt x="59" y="52"/>
                  <a:pt x="59" y="52"/>
                </a:cubicBezTo>
                <a:cubicBezTo>
                  <a:pt x="60" y="51"/>
                  <a:pt x="60" y="50"/>
                  <a:pt x="61" y="48"/>
                </a:cubicBezTo>
                <a:cubicBezTo>
                  <a:pt x="40" y="48"/>
                  <a:pt x="40" y="48"/>
                  <a:pt x="40" y="48"/>
                </a:cubicBezTo>
                <a:cubicBezTo>
                  <a:pt x="40" y="50"/>
                  <a:pt x="41" y="51"/>
                  <a:pt x="41" y="52"/>
                </a:cubicBezTo>
                <a:close/>
                <a:moveTo>
                  <a:pt x="95" y="35"/>
                </a:moveTo>
                <a:cubicBezTo>
                  <a:pt x="95" y="30"/>
                  <a:pt x="90" y="0"/>
                  <a:pt x="70" y="0"/>
                </a:cubicBezTo>
                <a:cubicBezTo>
                  <a:pt x="70" y="0"/>
                  <a:pt x="70" y="0"/>
                  <a:pt x="70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11" y="0"/>
                  <a:pt x="6" y="30"/>
                  <a:pt x="5" y="35"/>
                </a:cubicBezTo>
                <a:cubicBezTo>
                  <a:pt x="2" y="39"/>
                  <a:pt x="0" y="45"/>
                  <a:pt x="0" y="52"/>
                </a:cubicBezTo>
                <a:cubicBezTo>
                  <a:pt x="0" y="61"/>
                  <a:pt x="2" y="70"/>
                  <a:pt x="3" y="72"/>
                </a:cubicBezTo>
                <a:cubicBezTo>
                  <a:pt x="3" y="72"/>
                  <a:pt x="3" y="72"/>
                  <a:pt x="3" y="72"/>
                </a:cubicBezTo>
                <a:cubicBezTo>
                  <a:pt x="4" y="73"/>
                  <a:pt x="5" y="74"/>
                  <a:pt x="6" y="74"/>
                </a:cubicBezTo>
                <a:cubicBezTo>
                  <a:pt x="50" y="74"/>
                  <a:pt x="50" y="74"/>
                  <a:pt x="50" y="74"/>
                </a:cubicBezTo>
                <a:cubicBezTo>
                  <a:pt x="50" y="74"/>
                  <a:pt x="50" y="74"/>
                  <a:pt x="50" y="74"/>
                </a:cubicBezTo>
                <a:cubicBezTo>
                  <a:pt x="50" y="74"/>
                  <a:pt x="50" y="74"/>
                  <a:pt x="50" y="74"/>
                </a:cubicBezTo>
                <a:cubicBezTo>
                  <a:pt x="94" y="74"/>
                  <a:pt x="94" y="74"/>
                  <a:pt x="94" y="74"/>
                </a:cubicBezTo>
                <a:cubicBezTo>
                  <a:pt x="95" y="74"/>
                  <a:pt x="97" y="73"/>
                  <a:pt x="97" y="72"/>
                </a:cubicBezTo>
                <a:cubicBezTo>
                  <a:pt x="98" y="69"/>
                  <a:pt x="100" y="61"/>
                  <a:pt x="100" y="52"/>
                </a:cubicBezTo>
                <a:cubicBezTo>
                  <a:pt x="100" y="45"/>
                  <a:pt x="99" y="39"/>
                  <a:pt x="95" y="35"/>
                </a:cubicBezTo>
                <a:close/>
                <a:moveTo>
                  <a:pt x="30" y="7"/>
                </a:moveTo>
                <a:cubicBezTo>
                  <a:pt x="31" y="7"/>
                  <a:pt x="31" y="7"/>
                  <a:pt x="31" y="7"/>
                </a:cubicBezTo>
                <a:cubicBezTo>
                  <a:pt x="70" y="7"/>
                  <a:pt x="70" y="7"/>
                  <a:pt x="70" y="7"/>
                </a:cubicBezTo>
                <a:cubicBezTo>
                  <a:pt x="70" y="7"/>
                  <a:pt x="70" y="7"/>
                  <a:pt x="70" y="7"/>
                </a:cubicBezTo>
                <a:cubicBezTo>
                  <a:pt x="79" y="7"/>
                  <a:pt x="85" y="19"/>
                  <a:pt x="87" y="28"/>
                </a:cubicBezTo>
                <a:cubicBezTo>
                  <a:pt x="13" y="28"/>
                  <a:pt x="13" y="28"/>
                  <a:pt x="13" y="28"/>
                </a:cubicBezTo>
                <a:cubicBezTo>
                  <a:pt x="16" y="19"/>
                  <a:pt x="21" y="7"/>
                  <a:pt x="30" y="7"/>
                </a:cubicBezTo>
                <a:close/>
                <a:moveTo>
                  <a:pt x="15" y="71"/>
                </a:moveTo>
                <a:cubicBezTo>
                  <a:pt x="13" y="71"/>
                  <a:pt x="11" y="70"/>
                  <a:pt x="11" y="67"/>
                </a:cubicBezTo>
                <a:cubicBezTo>
                  <a:pt x="11" y="65"/>
                  <a:pt x="13" y="63"/>
                  <a:pt x="15" y="63"/>
                </a:cubicBezTo>
                <a:cubicBezTo>
                  <a:pt x="18" y="63"/>
                  <a:pt x="20" y="65"/>
                  <a:pt x="20" y="67"/>
                </a:cubicBezTo>
                <a:cubicBezTo>
                  <a:pt x="20" y="70"/>
                  <a:pt x="18" y="71"/>
                  <a:pt x="15" y="71"/>
                </a:cubicBezTo>
                <a:close/>
                <a:moveTo>
                  <a:pt x="27" y="46"/>
                </a:moveTo>
                <a:cubicBezTo>
                  <a:pt x="27" y="46"/>
                  <a:pt x="26" y="47"/>
                  <a:pt x="26" y="47"/>
                </a:cubicBezTo>
                <a:cubicBezTo>
                  <a:pt x="7" y="47"/>
                  <a:pt x="7" y="47"/>
                  <a:pt x="7" y="47"/>
                </a:cubicBezTo>
                <a:cubicBezTo>
                  <a:pt x="7" y="47"/>
                  <a:pt x="7" y="47"/>
                  <a:pt x="7" y="47"/>
                </a:cubicBezTo>
                <a:cubicBezTo>
                  <a:pt x="7" y="47"/>
                  <a:pt x="7" y="47"/>
                  <a:pt x="7" y="47"/>
                </a:cubicBezTo>
                <a:cubicBezTo>
                  <a:pt x="7" y="47"/>
                  <a:pt x="7" y="47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7" y="41"/>
                  <a:pt x="9" y="38"/>
                  <a:pt x="11" y="37"/>
                </a:cubicBezTo>
                <a:cubicBezTo>
                  <a:pt x="11" y="37"/>
                  <a:pt x="11" y="37"/>
                  <a:pt x="11" y="37"/>
                </a:cubicBezTo>
                <a:cubicBezTo>
                  <a:pt x="11" y="37"/>
                  <a:pt x="11" y="37"/>
                  <a:pt x="12" y="37"/>
                </a:cubicBezTo>
                <a:cubicBezTo>
                  <a:pt x="12" y="37"/>
                  <a:pt x="21" y="37"/>
                  <a:pt x="24" y="40"/>
                </a:cubicBezTo>
                <a:cubicBezTo>
                  <a:pt x="26" y="41"/>
                  <a:pt x="27" y="43"/>
                  <a:pt x="27" y="46"/>
                </a:cubicBezTo>
                <a:cubicBezTo>
                  <a:pt x="27" y="46"/>
                  <a:pt x="27" y="46"/>
                  <a:pt x="27" y="46"/>
                </a:cubicBezTo>
                <a:cubicBezTo>
                  <a:pt x="27" y="46"/>
                  <a:pt x="27" y="46"/>
                  <a:pt x="27" y="46"/>
                </a:cubicBezTo>
                <a:close/>
                <a:moveTo>
                  <a:pt x="65" y="45"/>
                </a:moveTo>
                <a:cubicBezTo>
                  <a:pt x="65" y="46"/>
                  <a:pt x="64" y="56"/>
                  <a:pt x="60" y="56"/>
                </a:cubicBezTo>
                <a:cubicBezTo>
                  <a:pt x="60" y="56"/>
                  <a:pt x="60" y="56"/>
                  <a:pt x="60" y="56"/>
                </a:cubicBezTo>
                <a:cubicBezTo>
                  <a:pt x="60" y="56"/>
                  <a:pt x="60" y="56"/>
                  <a:pt x="60" y="56"/>
                </a:cubicBezTo>
                <a:cubicBezTo>
                  <a:pt x="41" y="56"/>
                  <a:pt x="41" y="56"/>
                  <a:pt x="41" y="56"/>
                </a:cubicBezTo>
                <a:cubicBezTo>
                  <a:pt x="41" y="56"/>
                  <a:pt x="41" y="56"/>
                  <a:pt x="41" y="56"/>
                </a:cubicBezTo>
                <a:cubicBezTo>
                  <a:pt x="41" y="56"/>
                  <a:pt x="41" y="56"/>
                  <a:pt x="41" y="56"/>
                </a:cubicBezTo>
                <a:cubicBezTo>
                  <a:pt x="36" y="56"/>
                  <a:pt x="35" y="46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5"/>
                  <a:pt x="35" y="45"/>
                  <a:pt x="35" y="45"/>
                </a:cubicBezTo>
                <a:cubicBezTo>
                  <a:pt x="35" y="44"/>
                  <a:pt x="36" y="43"/>
                  <a:pt x="37" y="43"/>
                </a:cubicBezTo>
                <a:cubicBezTo>
                  <a:pt x="64" y="43"/>
                  <a:pt x="64" y="43"/>
                  <a:pt x="64" y="43"/>
                </a:cubicBezTo>
                <a:cubicBezTo>
                  <a:pt x="65" y="43"/>
                  <a:pt x="65" y="44"/>
                  <a:pt x="65" y="45"/>
                </a:cubicBezTo>
                <a:cubicBezTo>
                  <a:pt x="65" y="45"/>
                  <a:pt x="65" y="45"/>
                  <a:pt x="65" y="45"/>
                </a:cubicBezTo>
                <a:cubicBezTo>
                  <a:pt x="65" y="45"/>
                  <a:pt x="65" y="45"/>
                  <a:pt x="65" y="45"/>
                </a:cubicBezTo>
                <a:cubicBezTo>
                  <a:pt x="65" y="45"/>
                  <a:pt x="65" y="45"/>
                  <a:pt x="65" y="45"/>
                </a:cubicBezTo>
                <a:cubicBezTo>
                  <a:pt x="65" y="45"/>
                  <a:pt x="65" y="45"/>
                  <a:pt x="65" y="45"/>
                </a:cubicBezTo>
                <a:close/>
                <a:moveTo>
                  <a:pt x="85" y="71"/>
                </a:moveTo>
                <a:cubicBezTo>
                  <a:pt x="83" y="71"/>
                  <a:pt x="81" y="70"/>
                  <a:pt x="81" y="67"/>
                </a:cubicBezTo>
                <a:cubicBezTo>
                  <a:pt x="81" y="65"/>
                  <a:pt x="83" y="63"/>
                  <a:pt x="85" y="63"/>
                </a:cubicBezTo>
                <a:cubicBezTo>
                  <a:pt x="88" y="63"/>
                  <a:pt x="90" y="65"/>
                  <a:pt x="90" y="67"/>
                </a:cubicBezTo>
                <a:cubicBezTo>
                  <a:pt x="90" y="70"/>
                  <a:pt x="88" y="71"/>
                  <a:pt x="85" y="71"/>
                </a:cubicBezTo>
                <a:close/>
                <a:moveTo>
                  <a:pt x="94" y="46"/>
                </a:moveTo>
                <a:cubicBezTo>
                  <a:pt x="94" y="46"/>
                  <a:pt x="94" y="46"/>
                  <a:pt x="94" y="46"/>
                </a:cubicBezTo>
                <a:cubicBezTo>
                  <a:pt x="93" y="46"/>
                  <a:pt x="93" y="46"/>
                  <a:pt x="93" y="46"/>
                </a:cubicBezTo>
                <a:cubicBezTo>
                  <a:pt x="93" y="47"/>
                  <a:pt x="93" y="47"/>
                  <a:pt x="93" y="47"/>
                </a:cubicBezTo>
                <a:cubicBezTo>
                  <a:pt x="93" y="47"/>
                  <a:pt x="93" y="47"/>
                  <a:pt x="93" y="47"/>
                </a:cubicBezTo>
                <a:cubicBezTo>
                  <a:pt x="93" y="47"/>
                  <a:pt x="93" y="47"/>
                  <a:pt x="93" y="47"/>
                </a:cubicBezTo>
                <a:cubicBezTo>
                  <a:pt x="75" y="47"/>
                  <a:pt x="75" y="47"/>
                  <a:pt x="75" y="47"/>
                </a:cubicBezTo>
                <a:cubicBezTo>
                  <a:pt x="74" y="47"/>
                  <a:pt x="74" y="46"/>
                  <a:pt x="74" y="46"/>
                </a:cubicBezTo>
                <a:cubicBezTo>
                  <a:pt x="74" y="46"/>
                  <a:pt x="74" y="46"/>
                  <a:pt x="74" y="46"/>
                </a:cubicBezTo>
                <a:cubicBezTo>
                  <a:pt x="74" y="46"/>
                  <a:pt x="74" y="46"/>
                  <a:pt x="74" y="46"/>
                </a:cubicBezTo>
                <a:cubicBezTo>
                  <a:pt x="74" y="43"/>
                  <a:pt x="75" y="41"/>
                  <a:pt x="76" y="40"/>
                </a:cubicBezTo>
                <a:cubicBezTo>
                  <a:pt x="79" y="37"/>
                  <a:pt x="89" y="37"/>
                  <a:pt x="89" y="37"/>
                </a:cubicBezTo>
                <a:cubicBezTo>
                  <a:pt x="89" y="37"/>
                  <a:pt x="89" y="37"/>
                  <a:pt x="90" y="37"/>
                </a:cubicBezTo>
                <a:cubicBezTo>
                  <a:pt x="90" y="37"/>
                  <a:pt x="90" y="37"/>
                  <a:pt x="90" y="37"/>
                </a:cubicBezTo>
                <a:cubicBezTo>
                  <a:pt x="92" y="38"/>
                  <a:pt x="93" y="41"/>
                  <a:pt x="94" y="46"/>
                </a:cubicBezTo>
                <a:cubicBezTo>
                  <a:pt x="94" y="46"/>
                  <a:pt x="94" y="46"/>
                  <a:pt x="94" y="46"/>
                </a:cubicBezTo>
                <a:cubicBezTo>
                  <a:pt x="94" y="46"/>
                  <a:pt x="94" y="46"/>
                  <a:pt x="94" y="46"/>
                </a:cubicBezTo>
                <a:cubicBezTo>
                  <a:pt x="94" y="46"/>
                  <a:pt x="94" y="46"/>
                  <a:pt x="94" y="46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94" name="Group 172"/>
          <p:cNvGrpSpPr/>
          <p:nvPr>
            <p:custDataLst>
              <p:tags r:id="rId60"/>
            </p:custDataLst>
          </p:nvPr>
        </p:nvGrpSpPr>
        <p:grpSpPr>
          <a:xfrm rot="16200000">
            <a:off x="598625" y="1545786"/>
            <a:ext cx="357766" cy="199891"/>
            <a:chOff x="-3778250" y="3316288"/>
            <a:chExt cx="892175" cy="498475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200" name="Freeform 34"/>
            <p:cNvSpPr>
              <a:spLocks noEditPoints="1"/>
            </p:cNvSpPr>
            <p:nvPr/>
          </p:nvSpPr>
          <p:spPr bwMode="auto">
            <a:xfrm>
              <a:off x="-3554413" y="3319463"/>
              <a:ext cx="487363" cy="492125"/>
            </a:xfrm>
            <a:custGeom>
              <a:avLst/>
              <a:gdLst>
                <a:gd name="T0" fmla="*/ 65 w 130"/>
                <a:gd name="T1" fmla="*/ 0 h 131"/>
                <a:gd name="T2" fmla="*/ 0 w 130"/>
                <a:gd name="T3" fmla="*/ 66 h 131"/>
                <a:gd name="T4" fmla="*/ 65 w 130"/>
                <a:gd name="T5" fmla="*/ 131 h 131"/>
                <a:gd name="T6" fmla="*/ 130 w 130"/>
                <a:gd name="T7" fmla="*/ 66 h 131"/>
                <a:gd name="T8" fmla="*/ 65 w 130"/>
                <a:gd name="T9" fmla="*/ 0 h 131"/>
                <a:gd name="T10" fmla="*/ 65 w 130"/>
                <a:gd name="T11" fmla="*/ 117 h 131"/>
                <a:gd name="T12" fmla="*/ 13 w 130"/>
                <a:gd name="T13" fmla="*/ 66 h 131"/>
                <a:gd name="T14" fmla="*/ 65 w 130"/>
                <a:gd name="T15" fmla="*/ 14 h 131"/>
                <a:gd name="T16" fmla="*/ 116 w 130"/>
                <a:gd name="T17" fmla="*/ 66 h 131"/>
                <a:gd name="T18" fmla="*/ 65 w 130"/>
                <a:gd name="T19" fmla="*/ 11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31">
                  <a:moveTo>
                    <a:pt x="65" y="0"/>
                  </a:moveTo>
                  <a:cubicBezTo>
                    <a:pt x="29" y="0"/>
                    <a:pt x="0" y="30"/>
                    <a:pt x="0" y="66"/>
                  </a:cubicBezTo>
                  <a:cubicBezTo>
                    <a:pt x="0" y="101"/>
                    <a:pt x="29" y="131"/>
                    <a:pt x="65" y="131"/>
                  </a:cubicBezTo>
                  <a:cubicBezTo>
                    <a:pt x="101" y="131"/>
                    <a:pt x="130" y="101"/>
                    <a:pt x="130" y="66"/>
                  </a:cubicBezTo>
                  <a:cubicBezTo>
                    <a:pt x="130" y="30"/>
                    <a:pt x="101" y="0"/>
                    <a:pt x="65" y="0"/>
                  </a:cubicBezTo>
                  <a:close/>
                  <a:moveTo>
                    <a:pt x="65" y="117"/>
                  </a:moveTo>
                  <a:cubicBezTo>
                    <a:pt x="36" y="117"/>
                    <a:pt x="13" y="94"/>
                    <a:pt x="13" y="66"/>
                  </a:cubicBezTo>
                  <a:cubicBezTo>
                    <a:pt x="13" y="37"/>
                    <a:pt x="36" y="14"/>
                    <a:pt x="65" y="14"/>
                  </a:cubicBezTo>
                  <a:cubicBezTo>
                    <a:pt x="93" y="14"/>
                    <a:pt x="116" y="37"/>
                    <a:pt x="116" y="66"/>
                  </a:cubicBezTo>
                  <a:cubicBezTo>
                    <a:pt x="116" y="94"/>
                    <a:pt x="93" y="117"/>
                    <a:pt x="65" y="11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05" name="Oval 35"/>
            <p:cNvSpPr>
              <a:spLocks noChangeArrowheads="1"/>
            </p:cNvSpPr>
            <p:nvPr/>
          </p:nvSpPr>
          <p:spPr bwMode="auto">
            <a:xfrm>
              <a:off x="-3467100" y="3409950"/>
              <a:ext cx="311150" cy="311150"/>
            </a:xfrm>
            <a:prstGeom prst="ellipse">
              <a:avLst/>
            </a:pr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10" name="Freeform 36"/>
            <p:cNvSpPr>
              <a:spLocks/>
            </p:cNvSpPr>
            <p:nvPr/>
          </p:nvSpPr>
          <p:spPr bwMode="auto">
            <a:xfrm>
              <a:off x="-3778250" y="3316288"/>
              <a:ext cx="168275" cy="498475"/>
            </a:xfrm>
            <a:custGeom>
              <a:avLst/>
              <a:gdLst>
                <a:gd name="T0" fmla="*/ 45 w 45"/>
                <a:gd name="T1" fmla="*/ 33 h 133"/>
                <a:gd name="T2" fmla="*/ 22 w 45"/>
                <a:gd name="T3" fmla="*/ 0 h 133"/>
                <a:gd name="T4" fmla="*/ 0 w 45"/>
                <a:gd name="T5" fmla="*/ 33 h 133"/>
                <a:gd name="T6" fmla="*/ 16 w 45"/>
                <a:gd name="T7" fmla="*/ 57 h 133"/>
                <a:gd name="T8" fmla="*/ 14 w 45"/>
                <a:gd name="T9" fmla="*/ 133 h 133"/>
                <a:gd name="T10" fmla="*/ 31 w 45"/>
                <a:gd name="T11" fmla="*/ 133 h 133"/>
                <a:gd name="T12" fmla="*/ 28 w 45"/>
                <a:gd name="T13" fmla="*/ 57 h 133"/>
                <a:gd name="T14" fmla="*/ 45 w 45"/>
                <a:gd name="T15" fmla="*/ 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133">
                  <a:moveTo>
                    <a:pt x="45" y="33"/>
                  </a:moveTo>
                  <a:cubicBezTo>
                    <a:pt x="45" y="17"/>
                    <a:pt x="35" y="0"/>
                    <a:pt x="22" y="0"/>
                  </a:cubicBezTo>
                  <a:cubicBezTo>
                    <a:pt x="10" y="0"/>
                    <a:pt x="0" y="17"/>
                    <a:pt x="0" y="33"/>
                  </a:cubicBezTo>
                  <a:cubicBezTo>
                    <a:pt x="0" y="46"/>
                    <a:pt x="7" y="55"/>
                    <a:pt x="16" y="57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38" y="55"/>
                    <a:pt x="45" y="46"/>
                    <a:pt x="45" y="3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16" name="Freeform 37"/>
            <p:cNvSpPr>
              <a:spLocks/>
            </p:cNvSpPr>
            <p:nvPr/>
          </p:nvSpPr>
          <p:spPr bwMode="auto">
            <a:xfrm>
              <a:off x="-3036888" y="3319463"/>
              <a:ext cx="150813" cy="492125"/>
            </a:xfrm>
            <a:custGeom>
              <a:avLst/>
              <a:gdLst>
                <a:gd name="T0" fmla="*/ 40 w 40"/>
                <a:gd name="T1" fmla="*/ 39 h 131"/>
                <a:gd name="T2" fmla="*/ 37 w 40"/>
                <a:gd name="T3" fmla="*/ 15 h 131"/>
                <a:gd name="T4" fmla="*/ 31 w 40"/>
                <a:gd name="T5" fmla="*/ 1 h 131"/>
                <a:gd name="T6" fmla="*/ 31 w 40"/>
                <a:gd name="T7" fmla="*/ 31 h 131"/>
                <a:gd name="T8" fmla="*/ 27 w 40"/>
                <a:gd name="T9" fmla="*/ 31 h 131"/>
                <a:gd name="T10" fmla="*/ 27 w 40"/>
                <a:gd name="T11" fmla="*/ 0 h 131"/>
                <a:gd name="T12" fmla="*/ 22 w 40"/>
                <a:gd name="T13" fmla="*/ 0 h 131"/>
                <a:gd name="T14" fmla="*/ 22 w 40"/>
                <a:gd name="T15" fmla="*/ 31 h 131"/>
                <a:gd name="T16" fmla="*/ 21 w 40"/>
                <a:gd name="T17" fmla="*/ 31 h 131"/>
                <a:gd name="T18" fmla="*/ 21 w 40"/>
                <a:gd name="T19" fmla="*/ 31 h 131"/>
                <a:gd name="T20" fmla="*/ 17 w 40"/>
                <a:gd name="T21" fmla="*/ 31 h 131"/>
                <a:gd name="T22" fmla="*/ 17 w 40"/>
                <a:gd name="T23" fmla="*/ 0 h 131"/>
                <a:gd name="T24" fmla="*/ 13 w 40"/>
                <a:gd name="T25" fmla="*/ 0 h 131"/>
                <a:gd name="T26" fmla="*/ 13 w 40"/>
                <a:gd name="T27" fmla="*/ 31 h 131"/>
                <a:gd name="T28" fmla="*/ 8 w 40"/>
                <a:gd name="T29" fmla="*/ 31 h 131"/>
                <a:gd name="T30" fmla="*/ 8 w 40"/>
                <a:gd name="T31" fmla="*/ 1 h 131"/>
                <a:gd name="T32" fmla="*/ 2 w 40"/>
                <a:gd name="T33" fmla="*/ 15 h 131"/>
                <a:gd name="T34" fmla="*/ 0 w 40"/>
                <a:gd name="T35" fmla="*/ 39 h 131"/>
                <a:gd name="T36" fmla="*/ 14 w 40"/>
                <a:gd name="T37" fmla="*/ 56 h 131"/>
                <a:gd name="T38" fmla="*/ 11 w 40"/>
                <a:gd name="T39" fmla="*/ 131 h 131"/>
                <a:gd name="T40" fmla="*/ 28 w 40"/>
                <a:gd name="T41" fmla="*/ 131 h 131"/>
                <a:gd name="T42" fmla="*/ 26 w 40"/>
                <a:gd name="T43" fmla="*/ 56 h 131"/>
                <a:gd name="T44" fmla="*/ 40 w 40"/>
                <a:gd name="T45" fmla="*/ 3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131">
                  <a:moveTo>
                    <a:pt x="40" y="39"/>
                  </a:moveTo>
                  <a:cubicBezTo>
                    <a:pt x="37" y="15"/>
                    <a:pt x="37" y="15"/>
                    <a:pt x="37" y="15"/>
                  </a:cubicBezTo>
                  <a:cubicBezTo>
                    <a:pt x="37" y="10"/>
                    <a:pt x="35" y="4"/>
                    <a:pt x="31" y="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4" y="0"/>
                    <a:pt x="22" y="0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0"/>
                    <a:pt x="13" y="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4"/>
                    <a:pt x="2" y="10"/>
                    <a:pt x="2" y="1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7"/>
                    <a:pt x="5" y="54"/>
                    <a:pt x="14" y="56"/>
                  </a:cubicBezTo>
                  <a:cubicBezTo>
                    <a:pt x="11" y="131"/>
                    <a:pt x="11" y="131"/>
                    <a:pt x="11" y="131"/>
                  </a:cubicBezTo>
                  <a:cubicBezTo>
                    <a:pt x="28" y="131"/>
                    <a:pt x="28" y="131"/>
                    <a:pt x="28" y="131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34" y="54"/>
                    <a:pt x="40" y="47"/>
                    <a:pt x="40" y="3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220" name="Picture 3" descr="Z:\GGL\22944_smartphone_country_report_dai\Source\PNG\shutterstock_95370613.png"/>
          <p:cNvPicPr>
            <a:picLocks noChangeAspect="1" noChangeArrowheads="1"/>
          </p:cNvPicPr>
          <p:nvPr>
            <p:custDataLst>
              <p:tags r:id="rId61"/>
            </p:custDataLst>
          </p:nvPr>
        </p:nvPicPr>
        <p:blipFill>
          <a:blip r:embed="rId66" cstate="print"/>
          <a:srcRect l="17801" r="30531"/>
          <a:stretch>
            <a:fillRect/>
          </a:stretch>
        </p:blipFill>
        <p:spPr bwMode="auto">
          <a:xfrm>
            <a:off x="-5899" y="-271181"/>
            <a:ext cx="4959927" cy="6400800"/>
          </a:xfrm>
          <a:prstGeom prst="rect">
            <a:avLst/>
          </a:prstGeom>
          <a:noFill/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4512189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89" name="Picture 2" descr="Z:\GGL\22944_smartphone_country_report_dai\Source\JPG\DIVIDERS\BLU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490" name="Subtitle 1"/>
          <p:cNvSpPr>
            <a:spLocks noGrp="1"/>
          </p:cNvSpPr>
          <p:nvPr>
            <p:ph type="subTitle" idx="1"/>
          </p:nvPr>
        </p:nvSpPr>
        <p:spPr>
          <a:xfrm>
            <a:off x="565150" y="3954463"/>
            <a:ext cx="3494088" cy="352425"/>
          </a:xfrm>
          <a:ln/>
        </p:spPr>
        <p:txBody>
          <a:bodyPr>
            <a:noAutofit/>
          </a:bodyPr>
          <a:lstStyle/>
          <a:p>
            <a:pPr marL="0" indent="0"/>
            <a:r>
              <a:rPr lang="hu-HU" smtClean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565150" y="2667000"/>
            <a:ext cx="4073525" cy="1519238"/>
          </a:xfrm>
        </p:spPr>
        <p:txBody>
          <a:bodyPr rIns="0">
            <a:noAutofit/>
          </a:bodyPr>
          <a:lstStyle/>
          <a:p>
            <a:pPr>
              <a:defRPr/>
            </a:pPr>
            <a:r>
              <a:rPr lang="hu-HU" sz="2550" spc="-20" dirty="0" smtClean="0">
                <a:solidFill>
                  <a:schemeClr val="bg2">
                    <a:lumMod val="50000"/>
                  </a:schemeClr>
                </a:solidFill>
              </a:rPr>
              <a:t>AZ OKOSTELEFONOK </a:t>
            </a:r>
            <a:r>
              <a:rPr lang="hu-HU" sz="2550" spc="-20" dirty="0" smtClean="0"/>
              <a:t/>
            </a:r>
            <a:br>
              <a:rPr lang="hu-HU" sz="2550" spc="-20" dirty="0" smtClean="0"/>
            </a:br>
            <a:r>
              <a:rPr lang="hu-HU" sz="2550" spc="-20" dirty="0" smtClean="0">
                <a:solidFill>
                  <a:schemeClr val="bg2">
                    <a:lumMod val="50000"/>
                  </a:schemeClr>
                </a:solidFill>
              </a:rPr>
              <a:t>NÉLKÜLÖZHETETLENEK </a:t>
            </a:r>
            <a:r>
              <a:rPr lang="hu-HU" sz="2550" spc="-20" dirty="0" smtClean="0"/>
              <a:t/>
            </a:r>
            <a:br>
              <a:rPr lang="hu-HU" sz="2550" spc="-20" dirty="0" smtClean="0"/>
            </a:br>
            <a:r>
              <a:rPr lang="hu-HU" sz="2000" b="1" dirty="0" smtClean="0">
                <a:solidFill>
                  <a:schemeClr val="accent1"/>
                </a:solidFill>
              </a:rPr>
              <a:t>A MINDENNAPI ÉLETBEN</a:t>
            </a:r>
          </a:p>
        </p:txBody>
      </p:sp>
      <p:sp>
        <p:nvSpPr>
          <p:cNvPr id="63492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57BA3CAD-6583-42C0-A28E-461F563EC7C1}" type="slidenum">
              <a:rPr lang="hu-HU"/>
              <a:pPr/>
              <a:t>2</a:t>
            </a:fld>
            <a:endParaRPr lang="hu-HU"/>
          </a:p>
        </p:txBody>
      </p:sp>
      <p:grpSp>
        <p:nvGrpSpPr>
          <p:cNvPr id="38" name="Group 37"/>
          <p:cNvGrpSpPr/>
          <p:nvPr/>
        </p:nvGrpSpPr>
        <p:grpSpPr>
          <a:xfrm>
            <a:off x="6363741" y="3199798"/>
            <a:ext cx="771526" cy="774700"/>
            <a:chOff x="-4635501" y="4789488"/>
            <a:chExt cx="771526" cy="774700"/>
          </a:xfrm>
          <a:solidFill>
            <a:schemeClr val="bg1"/>
          </a:solidFill>
        </p:grpSpPr>
        <p:sp>
          <p:nvSpPr>
            <p:cNvPr id="5132" name="Freeform 12"/>
            <p:cNvSpPr>
              <a:spLocks noEditPoints="1"/>
            </p:cNvSpPr>
            <p:nvPr/>
          </p:nvSpPr>
          <p:spPr bwMode="auto">
            <a:xfrm>
              <a:off x="-4635501" y="4789488"/>
              <a:ext cx="309563" cy="763587"/>
            </a:xfrm>
            <a:custGeom>
              <a:avLst/>
              <a:gdLst/>
              <a:ahLst/>
              <a:cxnLst>
                <a:cxn ang="0">
                  <a:pos x="52" y="50"/>
                </a:cxn>
                <a:cxn ang="0">
                  <a:pos x="52" y="50"/>
                </a:cxn>
                <a:cxn ang="0">
                  <a:pos x="72" y="50"/>
                </a:cxn>
                <a:cxn ang="0">
                  <a:pos x="83" y="50"/>
                </a:cxn>
                <a:cxn ang="0">
                  <a:pos x="112" y="79"/>
                </a:cxn>
                <a:cxn ang="0">
                  <a:pos x="112" y="149"/>
                </a:cxn>
                <a:cxn ang="0">
                  <a:pos x="94" y="149"/>
                </a:cxn>
                <a:cxn ang="0">
                  <a:pos x="94" y="81"/>
                </a:cxn>
                <a:cxn ang="0">
                  <a:pos x="85" y="81"/>
                </a:cxn>
                <a:cxn ang="0">
                  <a:pos x="85" y="265"/>
                </a:cxn>
                <a:cxn ang="0">
                  <a:pos x="73" y="277"/>
                </a:cxn>
                <a:cxn ang="0">
                  <a:pos x="60" y="265"/>
                </a:cxn>
                <a:cxn ang="0">
                  <a:pos x="60" y="158"/>
                </a:cxn>
                <a:cxn ang="0">
                  <a:pos x="51" y="158"/>
                </a:cxn>
                <a:cxn ang="0">
                  <a:pos x="51" y="265"/>
                </a:cxn>
                <a:cxn ang="0">
                  <a:pos x="39" y="277"/>
                </a:cxn>
                <a:cxn ang="0">
                  <a:pos x="26" y="265"/>
                </a:cxn>
                <a:cxn ang="0">
                  <a:pos x="26" y="81"/>
                </a:cxn>
                <a:cxn ang="0">
                  <a:pos x="18" y="81"/>
                </a:cxn>
                <a:cxn ang="0">
                  <a:pos x="18" y="149"/>
                </a:cxn>
                <a:cxn ang="0">
                  <a:pos x="0" y="149"/>
                </a:cxn>
                <a:cxn ang="0">
                  <a:pos x="0" y="80"/>
                </a:cxn>
                <a:cxn ang="0">
                  <a:pos x="29" y="50"/>
                </a:cxn>
                <a:cxn ang="0">
                  <a:pos x="40" y="50"/>
                </a:cxn>
                <a:cxn ang="0">
                  <a:pos x="72" y="50"/>
                </a:cxn>
                <a:cxn ang="0">
                  <a:pos x="56" y="45"/>
                </a:cxn>
                <a:cxn ang="0">
                  <a:pos x="33" y="22"/>
                </a:cxn>
                <a:cxn ang="0">
                  <a:pos x="56" y="0"/>
                </a:cxn>
                <a:cxn ang="0">
                  <a:pos x="78" y="22"/>
                </a:cxn>
                <a:cxn ang="0">
                  <a:pos x="56" y="45"/>
                </a:cxn>
              </a:cxnLst>
              <a:rect l="0" t="0" r="r" b="b"/>
              <a:pathLst>
                <a:path w="112" h="277">
                  <a:moveTo>
                    <a:pt x="52" y="50"/>
                  </a:moveTo>
                  <a:cubicBezTo>
                    <a:pt x="52" y="50"/>
                    <a:pt x="52" y="50"/>
                    <a:pt x="52" y="50"/>
                  </a:cubicBezTo>
                  <a:moveTo>
                    <a:pt x="72" y="50"/>
                  </a:moveTo>
                  <a:cubicBezTo>
                    <a:pt x="83" y="50"/>
                    <a:pt x="83" y="50"/>
                    <a:pt x="83" y="50"/>
                  </a:cubicBezTo>
                  <a:cubicBezTo>
                    <a:pt x="99" y="50"/>
                    <a:pt x="112" y="63"/>
                    <a:pt x="112" y="79"/>
                  </a:cubicBezTo>
                  <a:cubicBezTo>
                    <a:pt x="112" y="149"/>
                    <a:pt x="112" y="149"/>
                    <a:pt x="112" y="149"/>
                  </a:cubicBezTo>
                  <a:cubicBezTo>
                    <a:pt x="112" y="162"/>
                    <a:pt x="94" y="162"/>
                    <a:pt x="94" y="149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5" y="265"/>
                    <a:pt x="85" y="265"/>
                    <a:pt x="85" y="265"/>
                  </a:cubicBezTo>
                  <a:cubicBezTo>
                    <a:pt x="85" y="272"/>
                    <a:pt x="80" y="277"/>
                    <a:pt x="73" y="277"/>
                  </a:cubicBezTo>
                  <a:cubicBezTo>
                    <a:pt x="66" y="277"/>
                    <a:pt x="60" y="272"/>
                    <a:pt x="60" y="265"/>
                  </a:cubicBezTo>
                  <a:cubicBezTo>
                    <a:pt x="60" y="158"/>
                    <a:pt x="60" y="158"/>
                    <a:pt x="60" y="158"/>
                  </a:cubicBezTo>
                  <a:cubicBezTo>
                    <a:pt x="51" y="158"/>
                    <a:pt x="51" y="158"/>
                    <a:pt x="51" y="158"/>
                  </a:cubicBezTo>
                  <a:cubicBezTo>
                    <a:pt x="51" y="265"/>
                    <a:pt x="51" y="265"/>
                    <a:pt x="51" y="265"/>
                  </a:cubicBezTo>
                  <a:cubicBezTo>
                    <a:pt x="51" y="272"/>
                    <a:pt x="46" y="277"/>
                    <a:pt x="39" y="277"/>
                  </a:cubicBezTo>
                  <a:cubicBezTo>
                    <a:pt x="32" y="277"/>
                    <a:pt x="26" y="272"/>
                    <a:pt x="26" y="265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8" y="149"/>
                    <a:pt x="18" y="149"/>
                    <a:pt x="18" y="149"/>
                  </a:cubicBezTo>
                  <a:cubicBezTo>
                    <a:pt x="18" y="162"/>
                    <a:pt x="0" y="162"/>
                    <a:pt x="0" y="149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65"/>
                    <a:pt x="12" y="50"/>
                    <a:pt x="29" y="50"/>
                  </a:cubicBezTo>
                  <a:cubicBezTo>
                    <a:pt x="40" y="50"/>
                    <a:pt x="40" y="50"/>
                    <a:pt x="40" y="50"/>
                  </a:cubicBezTo>
                  <a:lnTo>
                    <a:pt x="72" y="50"/>
                  </a:lnTo>
                  <a:close/>
                  <a:moveTo>
                    <a:pt x="56" y="45"/>
                  </a:moveTo>
                  <a:cubicBezTo>
                    <a:pt x="43" y="45"/>
                    <a:pt x="33" y="35"/>
                    <a:pt x="33" y="22"/>
                  </a:cubicBezTo>
                  <a:cubicBezTo>
                    <a:pt x="33" y="10"/>
                    <a:pt x="43" y="0"/>
                    <a:pt x="56" y="0"/>
                  </a:cubicBezTo>
                  <a:cubicBezTo>
                    <a:pt x="68" y="0"/>
                    <a:pt x="78" y="10"/>
                    <a:pt x="78" y="22"/>
                  </a:cubicBezTo>
                  <a:cubicBezTo>
                    <a:pt x="78" y="35"/>
                    <a:pt x="68" y="45"/>
                    <a:pt x="56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33" name="Oval 13"/>
            <p:cNvSpPr>
              <a:spLocks noChangeArrowheads="1"/>
            </p:cNvSpPr>
            <p:nvPr/>
          </p:nvSpPr>
          <p:spPr bwMode="auto">
            <a:xfrm>
              <a:off x="-4256088" y="4789488"/>
              <a:ext cx="127000" cy="1270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34" name="Freeform 14"/>
            <p:cNvSpPr>
              <a:spLocks/>
            </p:cNvSpPr>
            <p:nvPr/>
          </p:nvSpPr>
          <p:spPr bwMode="auto">
            <a:xfrm>
              <a:off x="-4383088" y="4929188"/>
              <a:ext cx="371475" cy="635000"/>
            </a:xfrm>
            <a:custGeom>
              <a:avLst/>
              <a:gdLst/>
              <a:ahLst/>
              <a:cxnLst>
                <a:cxn ang="0">
                  <a:pos x="131" y="85"/>
                </a:cxn>
                <a:cxn ang="0">
                  <a:pos x="112" y="20"/>
                </a:cxn>
                <a:cxn ang="0">
                  <a:pos x="80" y="0"/>
                </a:cxn>
                <a:cxn ang="0">
                  <a:pos x="58" y="0"/>
                </a:cxn>
                <a:cxn ang="0">
                  <a:pos x="26" y="20"/>
                </a:cxn>
                <a:cxn ang="0">
                  <a:pos x="4" y="96"/>
                </a:cxn>
                <a:cxn ang="0">
                  <a:pos x="21" y="102"/>
                </a:cxn>
                <a:cxn ang="0">
                  <a:pos x="44" y="32"/>
                </a:cxn>
                <a:cxn ang="0">
                  <a:pos x="46" y="32"/>
                </a:cxn>
                <a:cxn ang="0">
                  <a:pos x="18" y="142"/>
                </a:cxn>
                <a:cxn ang="0">
                  <a:pos x="20" y="146"/>
                </a:cxn>
                <a:cxn ang="0">
                  <a:pos x="44" y="146"/>
                </a:cxn>
                <a:cxn ang="0">
                  <a:pos x="44" y="216"/>
                </a:cxn>
                <a:cxn ang="0">
                  <a:pos x="65" y="216"/>
                </a:cxn>
                <a:cxn ang="0">
                  <a:pos x="65" y="145"/>
                </a:cxn>
                <a:cxn ang="0">
                  <a:pos x="73" y="145"/>
                </a:cxn>
                <a:cxn ang="0">
                  <a:pos x="73" y="216"/>
                </a:cxn>
                <a:cxn ang="0">
                  <a:pos x="94" y="216"/>
                </a:cxn>
                <a:cxn ang="0">
                  <a:pos x="94" y="146"/>
                </a:cxn>
                <a:cxn ang="0">
                  <a:pos x="118" y="146"/>
                </a:cxn>
                <a:cxn ang="0">
                  <a:pos x="120" y="142"/>
                </a:cxn>
                <a:cxn ang="0">
                  <a:pos x="92" y="32"/>
                </a:cxn>
                <a:cxn ang="0">
                  <a:pos x="94" y="32"/>
                </a:cxn>
                <a:cxn ang="0">
                  <a:pos x="115" y="91"/>
                </a:cxn>
                <a:cxn ang="0">
                  <a:pos x="131" y="85"/>
                </a:cxn>
              </a:cxnLst>
              <a:rect l="0" t="0" r="r" b="b"/>
              <a:pathLst>
                <a:path w="135" h="230">
                  <a:moveTo>
                    <a:pt x="131" y="85"/>
                  </a:moveTo>
                  <a:cubicBezTo>
                    <a:pt x="112" y="20"/>
                    <a:pt x="112" y="20"/>
                    <a:pt x="112" y="20"/>
                  </a:cubicBezTo>
                  <a:cubicBezTo>
                    <a:pt x="108" y="9"/>
                    <a:pt x="96" y="0"/>
                    <a:pt x="80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42" y="0"/>
                    <a:pt x="30" y="9"/>
                    <a:pt x="26" y="20"/>
                  </a:cubicBezTo>
                  <a:cubicBezTo>
                    <a:pt x="4" y="96"/>
                    <a:pt x="4" y="96"/>
                    <a:pt x="4" y="96"/>
                  </a:cubicBezTo>
                  <a:cubicBezTo>
                    <a:pt x="0" y="110"/>
                    <a:pt x="17" y="115"/>
                    <a:pt x="21" y="10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19" y="138"/>
                    <a:pt x="18" y="142"/>
                  </a:cubicBezTo>
                  <a:cubicBezTo>
                    <a:pt x="17" y="144"/>
                    <a:pt x="18" y="146"/>
                    <a:pt x="20" y="146"/>
                  </a:cubicBezTo>
                  <a:cubicBezTo>
                    <a:pt x="21" y="146"/>
                    <a:pt x="44" y="146"/>
                    <a:pt x="44" y="146"/>
                  </a:cubicBezTo>
                  <a:cubicBezTo>
                    <a:pt x="44" y="216"/>
                    <a:pt x="44" y="216"/>
                    <a:pt x="44" y="216"/>
                  </a:cubicBezTo>
                  <a:cubicBezTo>
                    <a:pt x="44" y="230"/>
                    <a:pt x="65" y="230"/>
                    <a:pt x="65" y="216"/>
                  </a:cubicBezTo>
                  <a:cubicBezTo>
                    <a:pt x="65" y="145"/>
                    <a:pt x="65" y="145"/>
                    <a:pt x="65" y="145"/>
                  </a:cubicBezTo>
                  <a:cubicBezTo>
                    <a:pt x="73" y="145"/>
                    <a:pt x="73" y="145"/>
                    <a:pt x="73" y="145"/>
                  </a:cubicBezTo>
                  <a:cubicBezTo>
                    <a:pt x="73" y="216"/>
                    <a:pt x="73" y="216"/>
                    <a:pt x="73" y="216"/>
                  </a:cubicBezTo>
                  <a:cubicBezTo>
                    <a:pt x="73" y="230"/>
                    <a:pt x="94" y="230"/>
                    <a:pt x="94" y="216"/>
                  </a:cubicBezTo>
                  <a:cubicBezTo>
                    <a:pt x="94" y="146"/>
                    <a:pt x="94" y="146"/>
                    <a:pt x="94" y="146"/>
                  </a:cubicBezTo>
                  <a:cubicBezTo>
                    <a:pt x="94" y="146"/>
                    <a:pt x="117" y="146"/>
                    <a:pt x="118" y="146"/>
                  </a:cubicBezTo>
                  <a:cubicBezTo>
                    <a:pt x="120" y="146"/>
                    <a:pt x="121" y="144"/>
                    <a:pt x="120" y="142"/>
                  </a:cubicBezTo>
                  <a:cubicBezTo>
                    <a:pt x="119" y="138"/>
                    <a:pt x="92" y="32"/>
                    <a:pt x="92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115" y="91"/>
                    <a:pt x="115" y="91"/>
                    <a:pt x="115" y="91"/>
                  </a:cubicBezTo>
                  <a:cubicBezTo>
                    <a:pt x="119" y="104"/>
                    <a:pt x="135" y="99"/>
                    <a:pt x="131" y="8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35" name="Freeform 15"/>
            <p:cNvSpPr>
              <a:spLocks/>
            </p:cNvSpPr>
            <p:nvPr/>
          </p:nvSpPr>
          <p:spPr bwMode="auto">
            <a:xfrm>
              <a:off x="-4021138" y="5205413"/>
              <a:ext cx="157163" cy="347662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0" y="0"/>
                </a:cxn>
                <a:cxn ang="0">
                  <a:pos x="2" y="20"/>
                </a:cxn>
                <a:cxn ang="0">
                  <a:pos x="2" y="20"/>
                </a:cxn>
                <a:cxn ang="0">
                  <a:pos x="2" y="118"/>
                </a:cxn>
                <a:cxn ang="0">
                  <a:pos x="10" y="126"/>
                </a:cxn>
                <a:cxn ang="0">
                  <a:pos x="18" y="118"/>
                </a:cxn>
                <a:cxn ang="0">
                  <a:pos x="18" y="70"/>
                </a:cxn>
                <a:cxn ang="0">
                  <a:pos x="24" y="70"/>
                </a:cxn>
                <a:cxn ang="0">
                  <a:pos x="24" y="118"/>
                </a:cxn>
                <a:cxn ang="0">
                  <a:pos x="32" y="126"/>
                </a:cxn>
                <a:cxn ang="0">
                  <a:pos x="40" y="118"/>
                </a:cxn>
                <a:cxn ang="0">
                  <a:pos x="40" y="20"/>
                </a:cxn>
                <a:cxn ang="0">
                  <a:pos x="46" y="20"/>
                </a:cxn>
                <a:cxn ang="0">
                  <a:pos x="46" y="52"/>
                </a:cxn>
                <a:cxn ang="0">
                  <a:pos x="57" y="52"/>
                </a:cxn>
                <a:cxn ang="0">
                  <a:pos x="57" y="19"/>
                </a:cxn>
                <a:cxn ang="0">
                  <a:pos x="39" y="0"/>
                </a:cxn>
              </a:cxnLst>
              <a:rect l="0" t="0" r="r" b="b"/>
              <a:pathLst>
                <a:path w="57" h="126">
                  <a:moveTo>
                    <a:pt x="3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18"/>
                    <a:pt x="2" y="118"/>
                    <a:pt x="2" y="118"/>
                  </a:cubicBezTo>
                  <a:cubicBezTo>
                    <a:pt x="2" y="123"/>
                    <a:pt x="6" y="126"/>
                    <a:pt x="10" y="126"/>
                  </a:cubicBezTo>
                  <a:cubicBezTo>
                    <a:pt x="15" y="126"/>
                    <a:pt x="18" y="123"/>
                    <a:pt x="18" y="118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118"/>
                    <a:pt x="24" y="118"/>
                    <a:pt x="24" y="118"/>
                  </a:cubicBezTo>
                  <a:cubicBezTo>
                    <a:pt x="24" y="123"/>
                    <a:pt x="28" y="126"/>
                    <a:pt x="32" y="126"/>
                  </a:cubicBezTo>
                  <a:cubicBezTo>
                    <a:pt x="37" y="126"/>
                    <a:pt x="40" y="123"/>
                    <a:pt x="40" y="118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6" y="60"/>
                    <a:pt x="57" y="60"/>
                    <a:pt x="57" y="52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9"/>
                    <a:pt x="49" y="0"/>
                    <a:pt x="3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36" name="Oval 16"/>
            <p:cNvSpPr>
              <a:spLocks noChangeArrowheads="1"/>
            </p:cNvSpPr>
            <p:nvPr/>
          </p:nvSpPr>
          <p:spPr bwMode="auto">
            <a:xfrm>
              <a:off x="-4002088" y="5116513"/>
              <a:ext cx="79375" cy="80962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37" name="Freeform 17"/>
            <p:cNvSpPr>
              <a:spLocks/>
            </p:cNvSpPr>
            <p:nvPr/>
          </p:nvSpPr>
          <p:spPr bwMode="auto">
            <a:xfrm>
              <a:off x="-4064001" y="5141913"/>
              <a:ext cx="47625" cy="119062"/>
            </a:xfrm>
            <a:custGeom>
              <a:avLst/>
              <a:gdLst/>
              <a:ahLst/>
              <a:cxnLst>
                <a:cxn ang="0">
                  <a:pos x="17" y="43"/>
                </a:cxn>
                <a:cxn ang="0">
                  <a:pos x="0" y="24"/>
                </a:cxn>
                <a:cxn ang="0">
                  <a:pos x="0" y="9"/>
                </a:cxn>
                <a:cxn ang="0">
                  <a:pos x="12" y="9"/>
                </a:cxn>
                <a:cxn ang="0">
                  <a:pos x="12" y="23"/>
                </a:cxn>
                <a:cxn ang="0">
                  <a:pos x="15" y="23"/>
                </a:cxn>
                <a:cxn ang="0">
                  <a:pos x="17" y="43"/>
                </a:cxn>
              </a:cxnLst>
              <a:rect l="0" t="0" r="r" b="b"/>
              <a:pathLst>
                <a:path w="17" h="43">
                  <a:moveTo>
                    <a:pt x="17" y="43"/>
                  </a:moveTo>
                  <a:cubicBezTo>
                    <a:pt x="8" y="43"/>
                    <a:pt x="0" y="33"/>
                    <a:pt x="0" y="2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0"/>
                    <a:pt x="12" y="0"/>
                    <a:pt x="12" y="9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5" y="23"/>
                    <a:pt x="15" y="23"/>
                    <a:pt x="15" y="23"/>
                  </a:cubicBezTo>
                  <a:lnTo>
                    <a:pt x="17" y="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63494" name="Rectangle 4"/>
          <p:cNvSpPr>
            <a:spLocks noChangeArrowheads="1"/>
          </p:cNvSpPr>
          <p:nvPr/>
        </p:nvSpPr>
        <p:spPr bwMode="auto">
          <a:xfrm>
            <a:off x="179388" y="563563"/>
            <a:ext cx="2503487" cy="99377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3495" name="Rectangle 13"/>
          <p:cNvSpPr>
            <a:spLocks noChangeArrowheads="1"/>
          </p:cNvSpPr>
          <p:nvPr/>
        </p:nvSpPr>
        <p:spPr bwMode="auto">
          <a:xfrm>
            <a:off x="212725" y="5726113"/>
            <a:ext cx="2914650" cy="99377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" name="Text Box 54"/>
          <p:cNvSpPr txBox="1">
            <a:spLocks noChangeArrowheads="1"/>
          </p:cNvSpPr>
          <p:nvPr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no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hu-HU" sz="800" baseline="0" noProof="0" dirty="0" smtClean="0">
                <a:solidFill>
                  <a:srgbClr val="7D7D7D"/>
                </a:solidFill>
                <a:ea typeface="Arial Unicode MS" pitchFamily="34" charset="-128"/>
                <a:cs typeface="Arial Unicode MS" pitchFamily="34" charset="-128"/>
              </a:rPr>
              <a:t>A Google bizalmas és saját tulajdonú információi</a:t>
            </a:r>
            <a:endParaRPr lang="hu-HU" sz="800" baseline="0" noProof="0" dirty="0">
              <a:solidFill>
                <a:srgbClr val="7D7D7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37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347788"/>
            <a:ext cx="9144000" cy="496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1378" name="Title 4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476250"/>
          </a:xfrm>
        </p:spPr>
        <p:txBody>
          <a:bodyPr>
            <a:noAutofit/>
          </a:bodyPr>
          <a:lstStyle/>
          <a:p>
            <a:r>
              <a:rPr lang="hu-HU" smtClean="0"/>
              <a:t>A helyi információkra keresők cselekednek is </a:t>
            </a:r>
          </a:p>
        </p:txBody>
      </p:sp>
      <p:sp>
        <p:nvSpPr>
          <p:cNvPr id="101379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2BEB1C7B-7C03-4051-83F1-CA253E25B900}" type="slidenum">
              <a:rPr lang="hu-HU"/>
              <a:pPr/>
              <a:t>20</a:t>
            </a:fld>
            <a:endParaRPr lang="hu-HU"/>
          </a:p>
        </p:txBody>
      </p:sp>
      <p:sp>
        <p:nvSpPr>
          <p:cNvPr id="101380" name="TextBox 7"/>
          <p:cNvSpPr txBox="1">
            <a:spLocks noChangeArrowheads="1"/>
          </p:cNvSpPr>
          <p:nvPr/>
        </p:nvSpPr>
        <p:spPr bwMode="auto">
          <a:xfrm>
            <a:off x="493404" y="6298892"/>
            <a:ext cx="5478463" cy="55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5000"/>
              </a:lnSpc>
              <a:tabLst>
                <a:tab pos="573088" algn="l"/>
              </a:tabLst>
            </a:pP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Alapja:	Okostelefon-használók</a:t>
            </a: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, akik az internetet általánosságban használják, és akik a havonta legalább </a:t>
            </a: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	egyszer </a:t>
            </a: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néznek utána </a:t>
            </a: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információknak </a:t>
            </a: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okostelefonjukon, n=819</a:t>
            </a:r>
          </a:p>
          <a:p>
            <a:pPr defTabSz="525463">
              <a:lnSpc>
                <a:spcPct val="95000"/>
              </a:lnSpc>
              <a:tabLst>
                <a:tab pos="573088" algn="l"/>
              </a:tabLst>
            </a:pP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34. </a:t>
            </a: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kérdés:	Melyik </a:t>
            </a: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lépést tette már meg a következők közül, miután ilyen információkra keresett rá (tartózkodási </a:t>
            </a: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	helye </a:t>
            </a: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közelében lévő vállalkozásokkal </a:t>
            </a: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vagy </a:t>
            </a: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szolgáltatásokkal kapcsolatban)?</a:t>
            </a:r>
          </a:p>
        </p:txBody>
      </p:sp>
      <p:sp>
        <p:nvSpPr>
          <p:cNvPr id="101381" name="TextBox 8"/>
          <p:cNvSpPr txBox="1">
            <a:spLocks noChangeArrowheads="1"/>
          </p:cNvSpPr>
          <p:nvPr/>
        </p:nvSpPr>
        <p:spPr bwMode="auto">
          <a:xfrm>
            <a:off x="2714625" y="4252913"/>
            <a:ext cx="1495425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 algn="r">
              <a:lnSpc>
                <a:spcPct val="85000"/>
              </a:lnSpc>
            </a:pPr>
            <a:r>
              <a:rPr lang="hu-HU" sz="1200">
                <a:ea typeface="Arial Unicode MS" pitchFamily="34" charset="-128"/>
                <a:cs typeface="Arial Unicode MS" pitchFamily="34" charset="-128"/>
              </a:rPr>
              <a:t>beszélt róla </a:t>
            </a:r>
          </a:p>
          <a:p>
            <a:pPr algn="r">
              <a:lnSpc>
                <a:spcPct val="90000"/>
              </a:lnSpc>
            </a:pPr>
            <a:r>
              <a:rPr lang="hu-HU" sz="1200">
                <a:ea typeface="Arial Unicode MS" pitchFamily="34" charset="-128"/>
                <a:cs typeface="Arial Unicode MS" pitchFamily="34" charset="-128"/>
              </a:rPr>
              <a:t>másoknak</a:t>
            </a:r>
          </a:p>
        </p:txBody>
      </p:sp>
      <p:sp>
        <p:nvSpPr>
          <p:cNvPr id="101382" name="TextBox 9"/>
          <p:cNvSpPr txBox="1">
            <a:spLocks noChangeArrowheads="1"/>
          </p:cNvSpPr>
          <p:nvPr/>
        </p:nvSpPr>
        <p:spPr bwMode="auto">
          <a:xfrm>
            <a:off x="2906713" y="3709988"/>
            <a:ext cx="1303337" cy="695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4400" b="1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14%</a:t>
            </a:r>
          </a:p>
        </p:txBody>
      </p:sp>
      <p:sp>
        <p:nvSpPr>
          <p:cNvPr id="101384" name="TextBox 25"/>
          <p:cNvSpPr txBox="1">
            <a:spLocks noChangeArrowheads="1"/>
          </p:cNvSpPr>
          <p:nvPr/>
        </p:nvSpPr>
        <p:spPr bwMode="auto">
          <a:xfrm>
            <a:off x="2933700" y="3178175"/>
            <a:ext cx="1276350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 algn="r">
              <a:lnSpc>
                <a:spcPct val="85000"/>
              </a:lnSpc>
            </a:pPr>
            <a:r>
              <a:rPr lang="hu-HU" sz="1200">
                <a:ea typeface="Arial Unicode MS" pitchFamily="34" charset="-128"/>
                <a:cs typeface="Arial Unicode MS" pitchFamily="34" charset="-128"/>
              </a:rPr>
              <a:t>ellátogatott az üzletbe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906713" y="2632075"/>
            <a:ext cx="1303337" cy="695325"/>
          </a:xfrm>
          <a:prstGeom prst="rect">
            <a:avLst/>
          </a:prstGeom>
          <a:noFill/>
          <a:ln>
            <a:noFill/>
          </a:ln>
        </p:spPr>
        <p:txBody>
          <a:bodyPr wrap="none" anchor="ctr">
            <a:noAutofit/>
          </a:bodyPr>
          <a:lstStyle/>
          <a:p>
            <a:pPr algn="r">
              <a:lnSpc>
                <a:spcPct val="90000"/>
              </a:lnSpc>
              <a:defRPr/>
            </a:pPr>
            <a:r>
              <a:rPr lang="hu-HU" sz="4400" b="1" smtClea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60%</a:t>
            </a:r>
            <a:endParaRPr lang="hu-HU" sz="4400" b="1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1386" name="TextBox 27"/>
          <p:cNvSpPr txBox="1">
            <a:spLocks noChangeArrowheads="1"/>
          </p:cNvSpPr>
          <p:nvPr/>
        </p:nvSpPr>
        <p:spPr bwMode="auto">
          <a:xfrm>
            <a:off x="2724150" y="2062789"/>
            <a:ext cx="1485900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 algn="r">
              <a:lnSpc>
                <a:spcPct val="85000"/>
              </a:lnSpc>
            </a:pPr>
            <a:r>
              <a:rPr lang="hu-HU" sz="1200">
                <a:ea typeface="Arial Unicode MS" pitchFamily="34" charset="-128"/>
                <a:cs typeface="Arial Unicode MS" pitchFamily="34" charset="-128"/>
              </a:rPr>
              <a:t>felvette </a:t>
            </a:r>
            <a:r>
              <a:rPr lang="hu-HU" sz="1200" smtClean="0"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z="1200" smtClean="0">
                <a:ea typeface="Arial Unicode MS" pitchFamily="34" charset="-128"/>
                <a:cs typeface="Arial Unicode MS" pitchFamily="34" charset="-128"/>
              </a:rPr>
            </a:br>
            <a:r>
              <a:rPr lang="hu-HU" sz="1200" smtClean="0">
                <a:ea typeface="Arial Unicode MS" pitchFamily="34" charset="-128"/>
                <a:cs typeface="Arial Unicode MS" pitchFamily="34" charset="-128"/>
              </a:rPr>
              <a:t>a </a:t>
            </a:r>
            <a:r>
              <a:rPr lang="hu-HU" sz="1200">
                <a:ea typeface="Arial Unicode MS" pitchFamily="34" charset="-128"/>
                <a:cs typeface="Arial Unicode MS" pitchFamily="34" charset="-128"/>
              </a:rPr>
              <a:t>kapcsolatot </a:t>
            </a:r>
            <a:r>
              <a:rPr lang="hu-HU" sz="1200" smtClean="0"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z="1200" smtClean="0">
                <a:ea typeface="Arial Unicode MS" pitchFamily="34" charset="-128"/>
                <a:cs typeface="Arial Unicode MS" pitchFamily="34" charset="-128"/>
              </a:rPr>
            </a:br>
            <a:r>
              <a:rPr lang="hu-HU" sz="1200" smtClean="0">
                <a:ea typeface="Arial Unicode MS" pitchFamily="34" charset="-128"/>
                <a:cs typeface="Arial Unicode MS" pitchFamily="34" charset="-128"/>
              </a:rPr>
              <a:t>a </a:t>
            </a:r>
            <a:r>
              <a:rPr lang="hu-HU" sz="1200">
                <a:ea typeface="Arial Unicode MS" pitchFamily="34" charset="-128"/>
                <a:cs typeface="Arial Unicode MS" pitchFamily="34" charset="-128"/>
              </a:rPr>
              <a:t>vállalkozással</a:t>
            </a:r>
          </a:p>
        </p:txBody>
      </p:sp>
      <p:sp>
        <p:nvSpPr>
          <p:cNvPr id="101387" name="TextBox 28"/>
          <p:cNvSpPr txBox="1">
            <a:spLocks noChangeArrowheads="1"/>
          </p:cNvSpPr>
          <p:nvPr/>
        </p:nvSpPr>
        <p:spPr bwMode="auto">
          <a:xfrm>
            <a:off x="2906713" y="1541463"/>
            <a:ext cx="1303337" cy="695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4400" b="1">
                <a:solidFill>
                  <a:schemeClr val="accent2"/>
                </a:solidFill>
                <a:ea typeface="Arial Unicode MS" pitchFamily="34" charset="-128"/>
                <a:cs typeface="Arial Unicode MS" pitchFamily="34" charset="-128"/>
              </a:rPr>
              <a:t>44%</a:t>
            </a:r>
          </a:p>
        </p:txBody>
      </p:sp>
      <p:sp>
        <p:nvSpPr>
          <p:cNvPr id="101388" name="AutoShape 63"/>
          <p:cNvSpPr>
            <a:spLocks noChangeAspect="1" noChangeArrowheads="1" noTextEdit="1"/>
          </p:cNvSpPr>
          <p:nvPr/>
        </p:nvSpPr>
        <p:spPr bwMode="auto">
          <a:xfrm>
            <a:off x="1322388" y="2974975"/>
            <a:ext cx="1201737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1389" name="TextBox 67"/>
          <p:cNvSpPr txBox="1">
            <a:spLocks noChangeArrowheads="1"/>
          </p:cNvSpPr>
          <p:nvPr/>
        </p:nvSpPr>
        <p:spPr bwMode="auto">
          <a:xfrm>
            <a:off x="1589088" y="5455532"/>
            <a:ext cx="2584450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 algn="r">
              <a:lnSpc>
                <a:spcPct val="85000"/>
              </a:lnSpc>
            </a:pPr>
            <a:r>
              <a:rPr lang="hu-HU" sz="1200">
                <a:ea typeface="Arial Unicode MS" pitchFamily="34" charset="-128"/>
                <a:cs typeface="Arial Unicode MS" pitchFamily="34" charset="-128"/>
              </a:rPr>
              <a:t>vásárolt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2906713" y="4873272"/>
            <a:ext cx="1303337" cy="695325"/>
          </a:xfrm>
          <a:prstGeom prst="rect">
            <a:avLst/>
          </a:prstGeom>
          <a:noFill/>
          <a:ln>
            <a:noFill/>
          </a:ln>
        </p:spPr>
        <p:txBody>
          <a:bodyPr wrap="none" anchor="ctr">
            <a:noAutofit/>
          </a:bodyPr>
          <a:lstStyle/>
          <a:p>
            <a:pPr algn="r">
              <a:lnSpc>
                <a:spcPct val="90000"/>
              </a:lnSpc>
              <a:defRPr/>
            </a:pPr>
            <a:r>
              <a:rPr lang="hu-HU" sz="4400" b="1" dirty="0" smtClean="0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rPr>
              <a:t>28%</a:t>
            </a:r>
            <a:endParaRPr lang="hu-HU" sz="4400" b="1" dirty="0">
              <a:solidFill>
                <a:schemeClr val="accent4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3" name="Group 12"/>
          <p:cNvGrpSpPr>
            <a:grpSpLocks noChangeAspect="1"/>
          </p:cNvGrpSpPr>
          <p:nvPr/>
        </p:nvGrpSpPr>
        <p:grpSpPr bwMode="auto">
          <a:xfrm>
            <a:off x="1676324" y="4707465"/>
            <a:ext cx="917122" cy="873657"/>
            <a:chOff x="1064" y="2934"/>
            <a:chExt cx="633" cy="603"/>
          </a:xfrm>
          <a:solidFill>
            <a:schemeClr val="accent4"/>
          </a:solidFill>
        </p:grpSpPr>
        <p:sp>
          <p:nvSpPr>
            <p:cNvPr id="84" name="Freeform 13"/>
            <p:cNvSpPr>
              <a:spLocks/>
            </p:cNvSpPr>
            <p:nvPr/>
          </p:nvSpPr>
          <p:spPr bwMode="auto">
            <a:xfrm>
              <a:off x="1134" y="2942"/>
              <a:ext cx="326" cy="360"/>
            </a:xfrm>
            <a:custGeom>
              <a:avLst/>
              <a:gdLst>
                <a:gd name="T0" fmla="*/ 0 w 209"/>
                <a:gd name="T1" fmla="*/ 231 h 231"/>
                <a:gd name="T2" fmla="*/ 98 w 209"/>
                <a:gd name="T3" fmla="*/ 125 h 231"/>
                <a:gd name="T4" fmla="*/ 167 w 209"/>
                <a:gd name="T5" fmla="*/ 26 h 231"/>
                <a:gd name="T6" fmla="*/ 178 w 209"/>
                <a:gd name="T7" fmla="*/ 24 h 231"/>
                <a:gd name="T8" fmla="*/ 195 w 209"/>
                <a:gd name="T9" fmla="*/ 36 h 231"/>
                <a:gd name="T10" fmla="*/ 209 w 209"/>
                <a:gd name="T11" fmla="*/ 23 h 231"/>
                <a:gd name="T12" fmla="*/ 189 w 209"/>
                <a:gd name="T13" fmla="*/ 9 h 231"/>
                <a:gd name="T14" fmla="*/ 151 w 209"/>
                <a:gd name="T15" fmla="*/ 15 h 231"/>
                <a:gd name="T16" fmla="*/ 0 w 209"/>
                <a:gd name="T17" fmla="*/ 231 h 231"/>
                <a:gd name="T18" fmla="*/ 0 w 209"/>
                <a:gd name="T19" fmla="*/ 231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9" h="231">
                  <a:moveTo>
                    <a:pt x="0" y="231"/>
                  </a:moveTo>
                  <a:cubicBezTo>
                    <a:pt x="0" y="231"/>
                    <a:pt x="81" y="145"/>
                    <a:pt x="98" y="125"/>
                  </a:cubicBezTo>
                  <a:cubicBezTo>
                    <a:pt x="167" y="26"/>
                    <a:pt x="167" y="26"/>
                    <a:pt x="167" y="26"/>
                  </a:cubicBezTo>
                  <a:cubicBezTo>
                    <a:pt x="169" y="23"/>
                    <a:pt x="174" y="22"/>
                    <a:pt x="178" y="24"/>
                  </a:cubicBezTo>
                  <a:cubicBezTo>
                    <a:pt x="195" y="36"/>
                    <a:pt x="195" y="36"/>
                    <a:pt x="195" y="36"/>
                  </a:cubicBezTo>
                  <a:cubicBezTo>
                    <a:pt x="209" y="23"/>
                    <a:pt x="209" y="23"/>
                    <a:pt x="209" y="23"/>
                  </a:cubicBezTo>
                  <a:cubicBezTo>
                    <a:pt x="189" y="9"/>
                    <a:pt x="189" y="9"/>
                    <a:pt x="189" y="9"/>
                  </a:cubicBezTo>
                  <a:cubicBezTo>
                    <a:pt x="177" y="0"/>
                    <a:pt x="160" y="3"/>
                    <a:pt x="151" y="15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0" y="231"/>
                    <a:pt x="0" y="231"/>
                    <a:pt x="0" y="23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5" name="Freeform 14"/>
            <p:cNvSpPr>
              <a:spLocks/>
            </p:cNvSpPr>
            <p:nvPr/>
          </p:nvSpPr>
          <p:spPr bwMode="auto">
            <a:xfrm>
              <a:off x="1073" y="3373"/>
              <a:ext cx="167" cy="128"/>
            </a:xfrm>
            <a:custGeom>
              <a:avLst/>
              <a:gdLst>
                <a:gd name="T0" fmla="*/ 19 w 107"/>
                <a:gd name="T1" fmla="*/ 42 h 82"/>
                <a:gd name="T2" fmla="*/ 107 w 107"/>
                <a:gd name="T3" fmla="*/ 82 h 82"/>
                <a:gd name="T4" fmla="*/ 23 w 107"/>
                <a:gd name="T5" fmla="*/ 24 h 82"/>
                <a:gd name="T6" fmla="*/ 9 w 107"/>
                <a:gd name="T7" fmla="*/ 2 h 82"/>
                <a:gd name="T8" fmla="*/ 9 w 107"/>
                <a:gd name="T9" fmla="*/ 0 h 82"/>
                <a:gd name="T10" fmla="*/ 6 w 107"/>
                <a:gd name="T11" fmla="*/ 6 h 82"/>
                <a:gd name="T12" fmla="*/ 19 w 107"/>
                <a:gd name="T13" fmla="*/ 4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82">
                  <a:moveTo>
                    <a:pt x="19" y="42"/>
                  </a:moveTo>
                  <a:cubicBezTo>
                    <a:pt x="107" y="82"/>
                    <a:pt x="107" y="82"/>
                    <a:pt x="107" y="82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6" y="19"/>
                    <a:pt x="11" y="11"/>
                    <a:pt x="9" y="2"/>
                  </a:cubicBezTo>
                  <a:cubicBezTo>
                    <a:pt x="9" y="1"/>
                    <a:pt x="9" y="1"/>
                    <a:pt x="9" y="0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0" y="19"/>
                    <a:pt x="6" y="35"/>
                    <a:pt x="19" y="42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6" name="Freeform 15"/>
            <p:cNvSpPr>
              <a:spLocks/>
            </p:cNvSpPr>
            <p:nvPr/>
          </p:nvSpPr>
          <p:spPr bwMode="auto">
            <a:xfrm>
              <a:off x="1064" y="2943"/>
              <a:ext cx="206" cy="572"/>
            </a:xfrm>
            <a:custGeom>
              <a:avLst/>
              <a:gdLst>
                <a:gd name="T0" fmla="*/ 52 w 132"/>
                <a:gd name="T1" fmla="*/ 285 h 367"/>
                <a:gd name="T2" fmla="*/ 44 w 132"/>
                <a:gd name="T3" fmla="*/ 279 h 367"/>
                <a:gd name="T4" fmla="*/ 41 w 132"/>
                <a:gd name="T5" fmla="*/ 272 h 367"/>
                <a:gd name="T6" fmla="*/ 36 w 132"/>
                <a:gd name="T7" fmla="*/ 261 h 367"/>
                <a:gd name="T8" fmla="*/ 36 w 132"/>
                <a:gd name="T9" fmla="*/ 261 h 367"/>
                <a:gd name="T10" fmla="*/ 36 w 132"/>
                <a:gd name="T11" fmla="*/ 258 h 367"/>
                <a:gd name="T12" fmla="*/ 36 w 132"/>
                <a:gd name="T13" fmla="*/ 254 h 367"/>
                <a:gd name="T14" fmla="*/ 36 w 132"/>
                <a:gd name="T15" fmla="*/ 250 h 367"/>
                <a:gd name="T16" fmla="*/ 36 w 132"/>
                <a:gd name="T17" fmla="*/ 248 h 367"/>
                <a:gd name="T18" fmla="*/ 37 w 132"/>
                <a:gd name="T19" fmla="*/ 246 h 367"/>
                <a:gd name="T20" fmla="*/ 39 w 132"/>
                <a:gd name="T21" fmla="*/ 239 h 367"/>
                <a:gd name="T22" fmla="*/ 35 w 132"/>
                <a:gd name="T23" fmla="*/ 244 h 367"/>
                <a:gd name="T24" fmla="*/ 25 w 132"/>
                <a:gd name="T25" fmla="*/ 238 h 367"/>
                <a:gd name="T26" fmla="*/ 68 w 132"/>
                <a:gd name="T27" fmla="*/ 145 h 367"/>
                <a:gd name="T28" fmla="*/ 99 w 132"/>
                <a:gd name="T29" fmla="*/ 28 h 367"/>
                <a:gd name="T30" fmla="*/ 108 w 132"/>
                <a:gd name="T31" fmla="*/ 22 h 367"/>
                <a:gd name="T32" fmla="*/ 124 w 132"/>
                <a:gd name="T33" fmla="*/ 27 h 367"/>
                <a:gd name="T34" fmla="*/ 131 w 132"/>
                <a:gd name="T35" fmla="*/ 11 h 367"/>
                <a:gd name="T36" fmla="*/ 132 w 132"/>
                <a:gd name="T37" fmla="*/ 9 h 367"/>
                <a:gd name="T38" fmla="*/ 113 w 132"/>
                <a:gd name="T39" fmla="*/ 4 h 367"/>
                <a:gd name="T40" fmla="*/ 80 w 132"/>
                <a:gd name="T41" fmla="*/ 23 h 367"/>
                <a:gd name="T42" fmla="*/ 19 w 132"/>
                <a:gd name="T43" fmla="*/ 252 h 367"/>
                <a:gd name="T44" fmla="*/ 22 w 132"/>
                <a:gd name="T45" fmla="*/ 274 h 367"/>
                <a:gd name="T46" fmla="*/ 22 w 132"/>
                <a:gd name="T47" fmla="*/ 276 h 367"/>
                <a:gd name="T48" fmla="*/ 22 w 132"/>
                <a:gd name="T49" fmla="*/ 277 h 367"/>
                <a:gd name="T50" fmla="*/ 22 w 132"/>
                <a:gd name="T51" fmla="*/ 277 h 367"/>
                <a:gd name="T52" fmla="*/ 23 w 132"/>
                <a:gd name="T53" fmla="*/ 280 h 367"/>
                <a:gd name="T54" fmla="*/ 23 w 132"/>
                <a:gd name="T55" fmla="*/ 281 h 367"/>
                <a:gd name="T56" fmla="*/ 33 w 132"/>
                <a:gd name="T57" fmla="*/ 294 h 367"/>
                <a:gd name="T58" fmla="*/ 117 w 132"/>
                <a:gd name="T59" fmla="*/ 353 h 367"/>
                <a:gd name="T60" fmla="*/ 110 w 132"/>
                <a:gd name="T61" fmla="*/ 365 h 367"/>
                <a:gd name="T62" fmla="*/ 23 w 132"/>
                <a:gd name="T63" fmla="*/ 324 h 367"/>
                <a:gd name="T64" fmla="*/ 5 w 132"/>
                <a:gd name="T65" fmla="*/ 304 h 367"/>
                <a:gd name="T66" fmla="*/ 4 w 132"/>
                <a:gd name="T67" fmla="*/ 309 h 367"/>
                <a:gd name="T68" fmla="*/ 23 w 132"/>
                <a:gd name="T69" fmla="*/ 342 h 367"/>
                <a:gd name="T70" fmla="*/ 118 w 132"/>
                <a:gd name="T71" fmla="*/ 367 h 367"/>
                <a:gd name="T72" fmla="*/ 125 w 132"/>
                <a:gd name="T73" fmla="*/ 359 h 367"/>
                <a:gd name="T74" fmla="*/ 130 w 132"/>
                <a:gd name="T75" fmla="*/ 362 h 367"/>
                <a:gd name="T76" fmla="*/ 52 w 132"/>
                <a:gd name="T77" fmla="*/ 285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2" h="367">
                  <a:moveTo>
                    <a:pt x="52" y="285"/>
                  </a:moveTo>
                  <a:cubicBezTo>
                    <a:pt x="44" y="279"/>
                    <a:pt x="44" y="279"/>
                    <a:pt x="44" y="279"/>
                  </a:cubicBezTo>
                  <a:cubicBezTo>
                    <a:pt x="42" y="277"/>
                    <a:pt x="41" y="274"/>
                    <a:pt x="41" y="272"/>
                  </a:cubicBezTo>
                  <a:cubicBezTo>
                    <a:pt x="39" y="269"/>
                    <a:pt x="37" y="265"/>
                    <a:pt x="36" y="261"/>
                  </a:cubicBezTo>
                  <a:cubicBezTo>
                    <a:pt x="36" y="261"/>
                    <a:pt x="36" y="261"/>
                    <a:pt x="36" y="261"/>
                  </a:cubicBezTo>
                  <a:cubicBezTo>
                    <a:pt x="36" y="260"/>
                    <a:pt x="36" y="259"/>
                    <a:pt x="36" y="258"/>
                  </a:cubicBezTo>
                  <a:cubicBezTo>
                    <a:pt x="36" y="256"/>
                    <a:pt x="36" y="255"/>
                    <a:pt x="36" y="254"/>
                  </a:cubicBezTo>
                  <a:cubicBezTo>
                    <a:pt x="36" y="252"/>
                    <a:pt x="36" y="251"/>
                    <a:pt x="36" y="250"/>
                  </a:cubicBezTo>
                  <a:cubicBezTo>
                    <a:pt x="36" y="249"/>
                    <a:pt x="36" y="249"/>
                    <a:pt x="36" y="248"/>
                  </a:cubicBezTo>
                  <a:cubicBezTo>
                    <a:pt x="36" y="247"/>
                    <a:pt x="36" y="247"/>
                    <a:pt x="37" y="246"/>
                  </a:cubicBezTo>
                  <a:cubicBezTo>
                    <a:pt x="37" y="243"/>
                    <a:pt x="38" y="241"/>
                    <a:pt x="39" y="239"/>
                  </a:cubicBezTo>
                  <a:cubicBezTo>
                    <a:pt x="35" y="244"/>
                    <a:pt x="35" y="244"/>
                    <a:pt x="35" y="244"/>
                  </a:cubicBezTo>
                  <a:cubicBezTo>
                    <a:pt x="25" y="238"/>
                    <a:pt x="25" y="238"/>
                    <a:pt x="25" y="238"/>
                  </a:cubicBezTo>
                  <a:cubicBezTo>
                    <a:pt x="25" y="238"/>
                    <a:pt x="68" y="144"/>
                    <a:pt x="68" y="145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100" y="24"/>
                    <a:pt x="104" y="21"/>
                    <a:pt x="108" y="22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31" y="11"/>
                    <a:pt x="131" y="11"/>
                    <a:pt x="131" y="11"/>
                  </a:cubicBezTo>
                  <a:cubicBezTo>
                    <a:pt x="132" y="10"/>
                    <a:pt x="132" y="10"/>
                    <a:pt x="132" y="9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99" y="0"/>
                    <a:pt x="84" y="9"/>
                    <a:pt x="80" y="23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2" y="274"/>
                    <a:pt x="22" y="274"/>
                    <a:pt x="22" y="274"/>
                  </a:cubicBezTo>
                  <a:cubicBezTo>
                    <a:pt x="22" y="275"/>
                    <a:pt x="22" y="275"/>
                    <a:pt x="22" y="276"/>
                  </a:cubicBezTo>
                  <a:cubicBezTo>
                    <a:pt x="22" y="276"/>
                    <a:pt x="22" y="277"/>
                    <a:pt x="22" y="277"/>
                  </a:cubicBezTo>
                  <a:cubicBezTo>
                    <a:pt x="22" y="277"/>
                    <a:pt x="22" y="277"/>
                    <a:pt x="22" y="277"/>
                  </a:cubicBezTo>
                  <a:cubicBezTo>
                    <a:pt x="22" y="278"/>
                    <a:pt x="23" y="279"/>
                    <a:pt x="23" y="280"/>
                  </a:cubicBezTo>
                  <a:cubicBezTo>
                    <a:pt x="23" y="281"/>
                    <a:pt x="23" y="281"/>
                    <a:pt x="23" y="281"/>
                  </a:cubicBezTo>
                  <a:cubicBezTo>
                    <a:pt x="25" y="286"/>
                    <a:pt x="28" y="291"/>
                    <a:pt x="33" y="294"/>
                  </a:cubicBezTo>
                  <a:cubicBezTo>
                    <a:pt x="117" y="353"/>
                    <a:pt x="117" y="353"/>
                    <a:pt x="117" y="353"/>
                  </a:cubicBezTo>
                  <a:cubicBezTo>
                    <a:pt x="110" y="365"/>
                    <a:pt x="110" y="365"/>
                    <a:pt x="110" y="365"/>
                  </a:cubicBezTo>
                  <a:cubicBezTo>
                    <a:pt x="23" y="324"/>
                    <a:pt x="23" y="324"/>
                    <a:pt x="23" y="324"/>
                  </a:cubicBezTo>
                  <a:cubicBezTo>
                    <a:pt x="14" y="320"/>
                    <a:pt x="8" y="313"/>
                    <a:pt x="5" y="304"/>
                  </a:cubicBezTo>
                  <a:cubicBezTo>
                    <a:pt x="4" y="309"/>
                    <a:pt x="4" y="309"/>
                    <a:pt x="4" y="309"/>
                  </a:cubicBezTo>
                  <a:cubicBezTo>
                    <a:pt x="0" y="323"/>
                    <a:pt x="8" y="338"/>
                    <a:pt x="23" y="342"/>
                  </a:cubicBezTo>
                  <a:cubicBezTo>
                    <a:pt x="118" y="367"/>
                    <a:pt x="118" y="367"/>
                    <a:pt x="118" y="367"/>
                  </a:cubicBezTo>
                  <a:cubicBezTo>
                    <a:pt x="125" y="359"/>
                    <a:pt x="125" y="359"/>
                    <a:pt x="125" y="359"/>
                  </a:cubicBezTo>
                  <a:cubicBezTo>
                    <a:pt x="130" y="362"/>
                    <a:pt x="130" y="362"/>
                    <a:pt x="130" y="362"/>
                  </a:cubicBezTo>
                  <a:lnTo>
                    <a:pt x="52" y="28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7" name="Freeform 16"/>
            <p:cNvSpPr>
              <a:spLocks noEditPoints="1"/>
            </p:cNvSpPr>
            <p:nvPr/>
          </p:nvSpPr>
          <p:spPr bwMode="auto">
            <a:xfrm>
              <a:off x="1117" y="2934"/>
              <a:ext cx="580" cy="603"/>
            </a:xfrm>
            <a:custGeom>
              <a:avLst/>
              <a:gdLst>
                <a:gd name="T0" fmla="*/ 362 w 372"/>
                <a:gd name="T1" fmla="*/ 129 h 387"/>
                <a:gd name="T2" fmla="*/ 264 w 372"/>
                <a:gd name="T3" fmla="*/ 31 h 387"/>
                <a:gd name="T4" fmla="*/ 225 w 372"/>
                <a:gd name="T5" fmla="*/ 31 h 387"/>
                <a:gd name="T6" fmla="*/ 16 w 372"/>
                <a:gd name="T7" fmla="*/ 241 h 387"/>
                <a:gd name="T8" fmla="*/ 6 w 372"/>
                <a:gd name="T9" fmla="*/ 233 h 387"/>
                <a:gd name="T10" fmla="*/ 70 w 372"/>
                <a:gd name="T11" fmla="*/ 137 h 387"/>
                <a:gd name="T12" fmla="*/ 121 w 372"/>
                <a:gd name="T13" fmla="*/ 28 h 387"/>
                <a:gd name="T14" fmla="*/ 131 w 372"/>
                <a:gd name="T15" fmla="*/ 24 h 387"/>
                <a:gd name="T16" fmla="*/ 147 w 372"/>
                <a:gd name="T17" fmla="*/ 31 h 387"/>
                <a:gd name="T18" fmla="*/ 157 w 372"/>
                <a:gd name="T19" fmla="*/ 17 h 387"/>
                <a:gd name="T20" fmla="*/ 158 w 372"/>
                <a:gd name="T21" fmla="*/ 15 h 387"/>
                <a:gd name="T22" fmla="*/ 139 w 372"/>
                <a:gd name="T23" fmla="*/ 7 h 387"/>
                <a:gd name="T24" fmla="*/ 104 w 372"/>
                <a:gd name="T25" fmla="*/ 20 h 387"/>
                <a:gd name="T26" fmla="*/ 0 w 372"/>
                <a:gd name="T27" fmla="*/ 242 h 387"/>
                <a:gd name="T28" fmla="*/ 11 w 372"/>
                <a:gd name="T29" fmla="*/ 248 h 387"/>
                <a:gd name="T30" fmla="*/ 11 w 372"/>
                <a:gd name="T31" fmla="*/ 248 h 387"/>
                <a:gd name="T32" fmla="*/ 10 w 372"/>
                <a:gd name="T33" fmla="*/ 251 h 387"/>
                <a:gd name="T34" fmla="*/ 10 w 372"/>
                <a:gd name="T35" fmla="*/ 251 h 387"/>
                <a:gd name="T36" fmla="*/ 9 w 372"/>
                <a:gd name="T37" fmla="*/ 253 h 387"/>
                <a:gd name="T38" fmla="*/ 9 w 372"/>
                <a:gd name="T39" fmla="*/ 254 h 387"/>
                <a:gd name="T40" fmla="*/ 8 w 372"/>
                <a:gd name="T41" fmla="*/ 256 h 387"/>
                <a:gd name="T42" fmla="*/ 8 w 372"/>
                <a:gd name="T43" fmla="*/ 257 h 387"/>
                <a:gd name="T44" fmla="*/ 8 w 372"/>
                <a:gd name="T45" fmla="*/ 259 h 387"/>
                <a:gd name="T46" fmla="*/ 8 w 372"/>
                <a:gd name="T47" fmla="*/ 260 h 387"/>
                <a:gd name="T48" fmla="*/ 8 w 372"/>
                <a:gd name="T49" fmla="*/ 260 h 387"/>
                <a:gd name="T50" fmla="*/ 8 w 372"/>
                <a:gd name="T51" fmla="*/ 263 h 387"/>
                <a:gd name="T52" fmla="*/ 9 w 372"/>
                <a:gd name="T53" fmla="*/ 264 h 387"/>
                <a:gd name="T54" fmla="*/ 16 w 372"/>
                <a:gd name="T55" fmla="*/ 279 h 387"/>
                <a:gd name="T56" fmla="*/ 114 w 372"/>
                <a:gd name="T57" fmla="*/ 377 h 387"/>
                <a:gd name="T58" fmla="*/ 152 w 372"/>
                <a:gd name="T59" fmla="*/ 377 h 387"/>
                <a:gd name="T60" fmla="*/ 362 w 372"/>
                <a:gd name="T61" fmla="*/ 168 h 387"/>
                <a:gd name="T62" fmla="*/ 362 w 372"/>
                <a:gd name="T63" fmla="*/ 129 h 387"/>
                <a:gd name="T64" fmla="*/ 139 w 372"/>
                <a:gd name="T65" fmla="*/ 363 h 387"/>
                <a:gd name="T66" fmla="*/ 128 w 372"/>
                <a:gd name="T67" fmla="*/ 363 h 387"/>
                <a:gd name="T68" fmla="*/ 30 w 372"/>
                <a:gd name="T69" fmla="*/ 265 h 387"/>
                <a:gd name="T70" fmla="*/ 30 w 372"/>
                <a:gd name="T71" fmla="*/ 254 h 387"/>
                <a:gd name="T72" fmla="*/ 115 w 372"/>
                <a:gd name="T73" fmla="*/ 169 h 387"/>
                <a:gd name="T74" fmla="*/ 141 w 372"/>
                <a:gd name="T75" fmla="*/ 252 h 387"/>
                <a:gd name="T76" fmla="*/ 224 w 372"/>
                <a:gd name="T77" fmla="*/ 278 h 387"/>
                <a:gd name="T78" fmla="*/ 139 w 372"/>
                <a:gd name="T79" fmla="*/ 363 h 387"/>
                <a:gd name="T80" fmla="*/ 348 w 372"/>
                <a:gd name="T81" fmla="*/ 154 h 387"/>
                <a:gd name="T82" fmla="*/ 263 w 372"/>
                <a:gd name="T83" fmla="*/ 239 h 387"/>
                <a:gd name="T84" fmla="*/ 236 w 372"/>
                <a:gd name="T85" fmla="*/ 157 h 387"/>
                <a:gd name="T86" fmla="*/ 154 w 372"/>
                <a:gd name="T87" fmla="*/ 130 h 387"/>
                <a:gd name="T88" fmla="*/ 239 w 372"/>
                <a:gd name="T89" fmla="*/ 45 h 387"/>
                <a:gd name="T90" fmla="*/ 250 w 372"/>
                <a:gd name="T91" fmla="*/ 45 h 387"/>
                <a:gd name="T92" fmla="*/ 348 w 372"/>
                <a:gd name="T93" fmla="*/ 143 h 387"/>
                <a:gd name="T94" fmla="*/ 348 w 372"/>
                <a:gd name="T95" fmla="*/ 15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2" h="387">
                  <a:moveTo>
                    <a:pt x="362" y="129"/>
                  </a:moveTo>
                  <a:cubicBezTo>
                    <a:pt x="264" y="31"/>
                    <a:pt x="264" y="31"/>
                    <a:pt x="264" y="31"/>
                  </a:cubicBezTo>
                  <a:cubicBezTo>
                    <a:pt x="253" y="21"/>
                    <a:pt x="236" y="21"/>
                    <a:pt x="225" y="31"/>
                  </a:cubicBezTo>
                  <a:cubicBezTo>
                    <a:pt x="16" y="241"/>
                    <a:pt x="16" y="241"/>
                    <a:pt x="16" y="241"/>
                  </a:cubicBezTo>
                  <a:cubicBezTo>
                    <a:pt x="6" y="233"/>
                    <a:pt x="6" y="233"/>
                    <a:pt x="6" y="233"/>
                  </a:cubicBezTo>
                  <a:cubicBezTo>
                    <a:pt x="6" y="233"/>
                    <a:pt x="71" y="136"/>
                    <a:pt x="70" y="137"/>
                  </a:cubicBezTo>
                  <a:cubicBezTo>
                    <a:pt x="121" y="28"/>
                    <a:pt x="121" y="28"/>
                    <a:pt x="121" y="28"/>
                  </a:cubicBezTo>
                  <a:cubicBezTo>
                    <a:pt x="123" y="24"/>
                    <a:pt x="127" y="22"/>
                    <a:pt x="131" y="24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7" y="16"/>
                    <a:pt x="158" y="16"/>
                    <a:pt x="158" y="15"/>
                  </a:cubicBezTo>
                  <a:cubicBezTo>
                    <a:pt x="139" y="7"/>
                    <a:pt x="139" y="7"/>
                    <a:pt x="139" y="7"/>
                  </a:cubicBezTo>
                  <a:cubicBezTo>
                    <a:pt x="126" y="0"/>
                    <a:pt x="110" y="6"/>
                    <a:pt x="104" y="20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11" y="248"/>
                    <a:pt x="11" y="248"/>
                    <a:pt x="11" y="248"/>
                  </a:cubicBezTo>
                  <a:cubicBezTo>
                    <a:pt x="11" y="248"/>
                    <a:pt x="11" y="248"/>
                    <a:pt x="11" y="248"/>
                  </a:cubicBezTo>
                  <a:cubicBezTo>
                    <a:pt x="10" y="249"/>
                    <a:pt x="10" y="250"/>
                    <a:pt x="10" y="251"/>
                  </a:cubicBezTo>
                  <a:cubicBezTo>
                    <a:pt x="10" y="251"/>
                    <a:pt x="10" y="251"/>
                    <a:pt x="10" y="251"/>
                  </a:cubicBezTo>
                  <a:cubicBezTo>
                    <a:pt x="9" y="252"/>
                    <a:pt x="9" y="253"/>
                    <a:pt x="9" y="253"/>
                  </a:cubicBezTo>
                  <a:cubicBezTo>
                    <a:pt x="9" y="254"/>
                    <a:pt x="9" y="254"/>
                    <a:pt x="9" y="254"/>
                  </a:cubicBezTo>
                  <a:cubicBezTo>
                    <a:pt x="9" y="255"/>
                    <a:pt x="9" y="255"/>
                    <a:pt x="8" y="256"/>
                  </a:cubicBezTo>
                  <a:cubicBezTo>
                    <a:pt x="8" y="256"/>
                    <a:pt x="8" y="257"/>
                    <a:pt x="8" y="257"/>
                  </a:cubicBezTo>
                  <a:cubicBezTo>
                    <a:pt x="8" y="258"/>
                    <a:pt x="8" y="259"/>
                    <a:pt x="8" y="259"/>
                  </a:cubicBezTo>
                  <a:cubicBezTo>
                    <a:pt x="8" y="260"/>
                    <a:pt x="8" y="260"/>
                    <a:pt x="8" y="260"/>
                  </a:cubicBezTo>
                  <a:cubicBezTo>
                    <a:pt x="8" y="260"/>
                    <a:pt x="8" y="260"/>
                    <a:pt x="8" y="260"/>
                  </a:cubicBezTo>
                  <a:cubicBezTo>
                    <a:pt x="8" y="261"/>
                    <a:pt x="8" y="262"/>
                    <a:pt x="8" y="263"/>
                  </a:cubicBezTo>
                  <a:cubicBezTo>
                    <a:pt x="8" y="263"/>
                    <a:pt x="8" y="264"/>
                    <a:pt x="9" y="264"/>
                  </a:cubicBezTo>
                  <a:cubicBezTo>
                    <a:pt x="9" y="269"/>
                    <a:pt x="12" y="275"/>
                    <a:pt x="16" y="279"/>
                  </a:cubicBezTo>
                  <a:cubicBezTo>
                    <a:pt x="114" y="377"/>
                    <a:pt x="114" y="377"/>
                    <a:pt x="114" y="377"/>
                  </a:cubicBezTo>
                  <a:cubicBezTo>
                    <a:pt x="125" y="387"/>
                    <a:pt x="142" y="387"/>
                    <a:pt x="152" y="377"/>
                  </a:cubicBezTo>
                  <a:cubicBezTo>
                    <a:pt x="362" y="168"/>
                    <a:pt x="362" y="168"/>
                    <a:pt x="362" y="168"/>
                  </a:cubicBezTo>
                  <a:cubicBezTo>
                    <a:pt x="372" y="157"/>
                    <a:pt x="372" y="140"/>
                    <a:pt x="362" y="129"/>
                  </a:cubicBezTo>
                  <a:close/>
                  <a:moveTo>
                    <a:pt x="139" y="363"/>
                  </a:moveTo>
                  <a:cubicBezTo>
                    <a:pt x="136" y="366"/>
                    <a:pt x="131" y="366"/>
                    <a:pt x="128" y="363"/>
                  </a:cubicBezTo>
                  <a:cubicBezTo>
                    <a:pt x="30" y="265"/>
                    <a:pt x="30" y="265"/>
                    <a:pt x="30" y="265"/>
                  </a:cubicBezTo>
                  <a:cubicBezTo>
                    <a:pt x="27" y="262"/>
                    <a:pt x="27" y="257"/>
                    <a:pt x="30" y="254"/>
                  </a:cubicBezTo>
                  <a:cubicBezTo>
                    <a:pt x="115" y="169"/>
                    <a:pt x="115" y="169"/>
                    <a:pt x="115" y="169"/>
                  </a:cubicBezTo>
                  <a:cubicBezTo>
                    <a:pt x="108" y="195"/>
                    <a:pt x="117" y="227"/>
                    <a:pt x="141" y="252"/>
                  </a:cubicBezTo>
                  <a:cubicBezTo>
                    <a:pt x="166" y="276"/>
                    <a:pt x="198" y="285"/>
                    <a:pt x="224" y="278"/>
                  </a:cubicBezTo>
                  <a:lnTo>
                    <a:pt x="139" y="363"/>
                  </a:lnTo>
                  <a:close/>
                  <a:moveTo>
                    <a:pt x="348" y="154"/>
                  </a:moveTo>
                  <a:cubicBezTo>
                    <a:pt x="263" y="239"/>
                    <a:pt x="263" y="239"/>
                    <a:pt x="263" y="239"/>
                  </a:cubicBezTo>
                  <a:cubicBezTo>
                    <a:pt x="270" y="214"/>
                    <a:pt x="261" y="181"/>
                    <a:pt x="236" y="157"/>
                  </a:cubicBezTo>
                  <a:cubicBezTo>
                    <a:pt x="212" y="132"/>
                    <a:pt x="179" y="123"/>
                    <a:pt x="154" y="130"/>
                  </a:cubicBezTo>
                  <a:cubicBezTo>
                    <a:pt x="239" y="45"/>
                    <a:pt x="239" y="45"/>
                    <a:pt x="239" y="45"/>
                  </a:cubicBezTo>
                  <a:cubicBezTo>
                    <a:pt x="242" y="42"/>
                    <a:pt x="247" y="42"/>
                    <a:pt x="250" y="45"/>
                  </a:cubicBezTo>
                  <a:cubicBezTo>
                    <a:pt x="348" y="143"/>
                    <a:pt x="348" y="143"/>
                    <a:pt x="348" y="143"/>
                  </a:cubicBezTo>
                  <a:cubicBezTo>
                    <a:pt x="351" y="146"/>
                    <a:pt x="351" y="151"/>
                    <a:pt x="348" y="15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8" name="Freeform 17"/>
            <p:cNvSpPr>
              <a:spLocks/>
            </p:cNvSpPr>
            <p:nvPr/>
          </p:nvSpPr>
          <p:spPr bwMode="auto">
            <a:xfrm>
              <a:off x="1189" y="3324"/>
              <a:ext cx="26" cy="26"/>
            </a:xfrm>
            <a:custGeom>
              <a:avLst/>
              <a:gdLst>
                <a:gd name="T0" fmla="*/ 4 w 17"/>
                <a:gd name="T1" fmla="*/ 0 h 17"/>
                <a:gd name="T2" fmla="*/ 17 w 17"/>
                <a:gd name="T3" fmla="*/ 13 h 17"/>
                <a:gd name="T4" fmla="*/ 13 w 17"/>
                <a:gd name="T5" fmla="*/ 17 h 17"/>
                <a:gd name="T6" fmla="*/ 5 w 17"/>
                <a:gd name="T7" fmla="*/ 8 h 17"/>
                <a:gd name="T8" fmla="*/ 4 w 17"/>
                <a:gd name="T9" fmla="*/ 11 h 17"/>
                <a:gd name="T10" fmla="*/ 3 w 17"/>
                <a:gd name="T11" fmla="*/ 14 h 17"/>
                <a:gd name="T12" fmla="*/ 0 w 17"/>
                <a:gd name="T13" fmla="*/ 11 h 17"/>
                <a:gd name="T14" fmla="*/ 1 w 17"/>
                <a:gd name="T15" fmla="*/ 7 h 17"/>
                <a:gd name="T16" fmla="*/ 1 w 17"/>
                <a:gd name="T17" fmla="*/ 3 h 17"/>
                <a:gd name="T18" fmla="*/ 4 w 17"/>
                <a:gd name="T1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7">
                  <a:moveTo>
                    <a:pt x="4" y="0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4" y="10"/>
                    <a:pt x="4" y="11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9"/>
                    <a:pt x="1" y="8"/>
                    <a:pt x="1" y="7"/>
                  </a:cubicBezTo>
                  <a:cubicBezTo>
                    <a:pt x="1" y="6"/>
                    <a:pt x="1" y="4"/>
                    <a:pt x="1" y="3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9" name="Freeform 18"/>
            <p:cNvSpPr>
              <a:spLocks noEditPoints="1"/>
            </p:cNvSpPr>
            <p:nvPr/>
          </p:nvSpPr>
          <p:spPr bwMode="auto">
            <a:xfrm>
              <a:off x="1201" y="3310"/>
              <a:ext cx="30" cy="28"/>
            </a:xfrm>
            <a:custGeom>
              <a:avLst/>
              <a:gdLst>
                <a:gd name="T0" fmla="*/ 4 w 19"/>
                <a:gd name="T1" fmla="*/ 14 h 18"/>
                <a:gd name="T2" fmla="*/ 0 w 19"/>
                <a:gd name="T3" fmla="*/ 8 h 18"/>
                <a:gd name="T4" fmla="*/ 3 w 19"/>
                <a:gd name="T5" fmla="*/ 2 h 18"/>
                <a:gd name="T6" fmla="*/ 5 w 19"/>
                <a:gd name="T7" fmla="*/ 0 h 18"/>
                <a:gd name="T8" fmla="*/ 8 w 19"/>
                <a:gd name="T9" fmla="*/ 0 h 18"/>
                <a:gd name="T10" fmla="*/ 9 w 19"/>
                <a:gd name="T11" fmla="*/ 0 h 18"/>
                <a:gd name="T12" fmla="*/ 11 w 19"/>
                <a:gd name="T13" fmla="*/ 1 h 18"/>
                <a:gd name="T14" fmla="*/ 15 w 19"/>
                <a:gd name="T15" fmla="*/ 4 h 18"/>
                <a:gd name="T16" fmla="*/ 19 w 19"/>
                <a:gd name="T17" fmla="*/ 10 h 18"/>
                <a:gd name="T18" fmla="*/ 16 w 19"/>
                <a:gd name="T19" fmla="*/ 16 h 18"/>
                <a:gd name="T20" fmla="*/ 13 w 19"/>
                <a:gd name="T21" fmla="*/ 18 h 18"/>
                <a:gd name="T22" fmla="*/ 10 w 19"/>
                <a:gd name="T23" fmla="*/ 18 h 18"/>
                <a:gd name="T24" fmla="*/ 7 w 19"/>
                <a:gd name="T25" fmla="*/ 17 h 18"/>
                <a:gd name="T26" fmla="*/ 4 w 19"/>
                <a:gd name="T27" fmla="*/ 14 h 18"/>
                <a:gd name="T28" fmla="*/ 8 w 19"/>
                <a:gd name="T29" fmla="*/ 11 h 18"/>
                <a:gd name="T30" fmla="*/ 11 w 19"/>
                <a:gd name="T31" fmla="*/ 14 h 18"/>
                <a:gd name="T32" fmla="*/ 14 w 19"/>
                <a:gd name="T33" fmla="*/ 13 h 18"/>
                <a:gd name="T34" fmla="*/ 14 w 19"/>
                <a:gd name="T35" fmla="*/ 12 h 18"/>
                <a:gd name="T36" fmla="*/ 14 w 19"/>
                <a:gd name="T37" fmla="*/ 10 h 18"/>
                <a:gd name="T38" fmla="*/ 11 w 19"/>
                <a:gd name="T39" fmla="*/ 7 h 18"/>
                <a:gd name="T40" fmla="*/ 7 w 19"/>
                <a:gd name="T41" fmla="*/ 4 h 18"/>
                <a:gd name="T42" fmla="*/ 5 w 19"/>
                <a:gd name="T43" fmla="*/ 5 h 18"/>
                <a:gd name="T44" fmla="*/ 5 w 19"/>
                <a:gd name="T45" fmla="*/ 7 h 18"/>
                <a:gd name="T46" fmla="*/ 8 w 19"/>
                <a:gd name="T47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" h="18">
                  <a:moveTo>
                    <a:pt x="4" y="14"/>
                  </a:moveTo>
                  <a:cubicBezTo>
                    <a:pt x="2" y="12"/>
                    <a:pt x="0" y="10"/>
                    <a:pt x="0" y="8"/>
                  </a:cubicBezTo>
                  <a:cubicBezTo>
                    <a:pt x="0" y="6"/>
                    <a:pt x="1" y="4"/>
                    <a:pt x="3" y="2"/>
                  </a:cubicBezTo>
                  <a:cubicBezTo>
                    <a:pt x="4" y="1"/>
                    <a:pt x="5" y="1"/>
                    <a:pt x="5" y="0"/>
                  </a:cubicBezTo>
                  <a:cubicBezTo>
                    <a:pt x="6" y="0"/>
                    <a:pt x="7" y="0"/>
                    <a:pt x="8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0" y="0"/>
                    <a:pt x="11" y="1"/>
                    <a:pt x="11" y="1"/>
                  </a:cubicBezTo>
                  <a:cubicBezTo>
                    <a:pt x="12" y="2"/>
                    <a:pt x="14" y="3"/>
                    <a:pt x="15" y="4"/>
                  </a:cubicBezTo>
                  <a:cubicBezTo>
                    <a:pt x="17" y="6"/>
                    <a:pt x="18" y="8"/>
                    <a:pt x="19" y="10"/>
                  </a:cubicBezTo>
                  <a:cubicBezTo>
                    <a:pt x="19" y="12"/>
                    <a:pt x="18" y="14"/>
                    <a:pt x="16" y="16"/>
                  </a:cubicBezTo>
                  <a:cubicBezTo>
                    <a:pt x="15" y="17"/>
                    <a:pt x="14" y="17"/>
                    <a:pt x="13" y="18"/>
                  </a:cubicBezTo>
                  <a:cubicBezTo>
                    <a:pt x="12" y="18"/>
                    <a:pt x="11" y="18"/>
                    <a:pt x="10" y="18"/>
                  </a:cubicBezTo>
                  <a:cubicBezTo>
                    <a:pt x="9" y="18"/>
                    <a:pt x="8" y="17"/>
                    <a:pt x="7" y="17"/>
                  </a:cubicBezTo>
                  <a:cubicBezTo>
                    <a:pt x="6" y="16"/>
                    <a:pt x="5" y="15"/>
                    <a:pt x="4" y="14"/>
                  </a:cubicBezTo>
                  <a:close/>
                  <a:moveTo>
                    <a:pt x="8" y="11"/>
                  </a:moveTo>
                  <a:cubicBezTo>
                    <a:pt x="9" y="12"/>
                    <a:pt x="11" y="13"/>
                    <a:pt x="11" y="14"/>
                  </a:cubicBezTo>
                  <a:cubicBezTo>
                    <a:pt x="12" y="14"/>
                    <a:pt x="13" y="14"/>
                    <a:pt x="14" y="13"/>
                  </a:cubicBezTo>
                  <a:cubicBezTo>
                    <a:pt x="14" y="13"/>
                    <a:pt x="14" y="12"/>
                    <a:pt x="14" y="12"/>
                  </a:cubicBezTo>
                  <a:cubicBezTo>
                    <a:pt x="14" y="11"/>
                    <a:pt x="14" y="11"/>
                    <a:pt x="14" y="10"/>
                  </a:cubicBezTo>
                  <a:cubicBezTo>
                    <a:pt x="13" y="9"/>
                    <a:pt x="12" y="8"/>
                    <a:pt x="11" y="7"/>
                  </a:cubicBezTo>
                  <a:cubicBezTo>
                    <a:pt x="9" y="6"/>
                    <a:pt x="8" y="5"/>
                    <a:pt x="7" y="4"/>
                  </a:cubicBezTo>
                  <a:cubicBezTo>
                    <a:pt x="6" y="4"/>
                    <a:pt x="6" y="4"/>
                    <a:pt x="5" y="5"/>
                  </a:cubicBezTo>
                  <a:cubicBezTo>
                    <a:pt x="5" y="5"/>
                    <a:pt x="4" y="6"/>
                    <a:pt x="5" y="7"/>
                  </a:cubicBezTo>
                  <a:cubicBezTo>
                    <a:pt x="5" y="8"/>
                    <a:pt x="6" y="9"/>
                    <a:pt x="8" y="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0" name="Freeform 19"/>
            <p:cNvSpPr>
              <a:spLocks noEditPoints="1"/>
            </p:cNvSpPr>
            <p:nvPr/>
          </p:nvSpPr>
          <p:spPr bwMode="auto">
            <a:xfrm>
              <a:off x="1220" y="3291"/>
              <a:ext cx="29" cy="28"/>
            </a:xfrm>
            <a:custGeom>
              <a:avLst/>
              <a:gdLst>
                <a:gd name="T0" fmla="*/ 4 w 19"/>
                <a:gd name="T1" fmla="*/ 14 h 18"/>
                <a:gd name="T2" fmla="*/ 0 w 19"/>
                <a:gd name="T3" fmla="*/ 8 h 18"/>
                <a:gd name="T4" fmla="*/ 3 w 19"/>
                <a:gd name="T5" fmla="*/ 2 h 18"/>
                <a:gd name="T6" fmla="*/ 5 w 19"/>
                <a:gd name="T7" fmla="*/ 0 h 18"/>
                <a:gd name="T8" fmla="*/ 7 w 19"/>
                <a:gd name="T9" fmla="*/ 0 h 18"/>
                <a:gd name="T10" fmla="*/ 9 w 19"/>
                <a:gd name="T11" fmla="*/ 0 h 18"/>
                <a:gd name="T12" fmla="*/ 11 w 19"/>
                <a:gd name="T13" fmla="*/ 1 h 18"/>
                <a:gd name="T14" fmla="*/ 15 w 19"/>
                <a:gd name="T15" fmla="*/ 4 h 18"/>
                <a:gd name="T16" fmla="*/ 18 w 19"/>
                <a:gd name="T17" fmla="*/ 10 h 18"/>
                <a:gd name="T18" fmla="*/ 16 w 19"/>
                <a:gd name="T19" fmla="*/ 16 h 18"/>
                <a:gd name="T20" fmla="*/ 13 w 19"/>
                <a:gd name="T21" fmla="*/ 18 h 18"/>
                <a:gd name="T22" fmla="*/ 10 w 19"/>
                <a:gd name="T23" fmla="*/ 18 h 18"/>
                <a:gd name="T24" fmla="*/ 7 w 19"/>
                <a:gd name="T25" fmla="*/ 17 h 18"/>
                <a:gd name="T26" fmla="*/ 4 w 19"/>
                <a:gd name="T27" fmla="*/ 14 h 18"/>
                <a:gd name="T28" fmla="*/ 8 w 19"/>
                <a:gd name="T29" fmla="*/ 11 h 18"/>
                <a:gd name="T30" fmla="*/ 11 w 19"/>
                <a:gd name="T31" fmla="*/ 14 h 18"/>
                <a:gd name="T32" fmla="*/ 14 w 19"/>
                <a:gd name="T33" fmla="*/ 13 h 18"/>
                <a:gd name="T34" fmla="*/ 14 w 19"/>
                <a:gd name="T35" fmla="*/ 12 h 18"/>
                <a:gd name="T36" fmla="*/ 14 w 19"/>
                <a:gd name="T37" fmla="*/ 10 h 18"/>
                <a:gd name="T38" fmla="*/ 11 w 19"/>
                <a:gd name="T39" fmla="*/ 7 h 18"/>
                <a:gd name="T40" fmla="*/ 7 w 19"/>
                <a:gd name="T41" fmla="*/ 4 h 18"/>
                <a:gd name="T42" fmla="*/ 5 w 19"/>
                <a:gd name="T43" fmla="*/ 5 h 18"/>
                <a:gd name="T44" fmla="*/ 5 w 19"/>
                <a:gd name="T45" fmla="*/ 7 h 18"/>
                <a:gd name="T46" fmla="*/ 8 w 19"/>
                <a:gd name="T47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" h="18">
                  <a:moveTo>
                    <a:pt x="4" y="14"/>
                  </a:moveTo>
                  <a:cubicBezTo>
                    <a:pt x="2" y="12"/>
                    <a:pt x="0" y="10"/>
                    <a:pt x="0" y="8"/>
                  </a:cubicBezTo>
                  <a:cubicBezTo>
                    <a:pt x="0" y="6"/>
                    <a:pt x="1" y="4"/>
                    <a:pt x="3" y="2"/>
                  </a:cubicBezTo>
                  <a:cubicBezTo>
                    <a:pt x="4" y="1"/>
                    <a:pt x="5" y="1"/>
                    <a:pt x="5" y="0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0" y="0"/>
                    <a:pt x="11" y="1"/>
                    <a:pt x="11" y="1"/>
                  </a:cubicBezTo>
                  <a:cubicBezTo>
                    <a:pt x="12" y="2"/>
                    <a:pt x="14" y="3"/>
                    <a:pt x="15" y="4"/>
                  </a:cubicBezTo>
                  <a:cubicBezTo>
                    <a:pt x="17" y="6"/>
                    <a:pt x="18" y="8"/>
                    <a:pt x="18" y="10"/>
                  </a:cubicBezTo>
                  <a:cubicBezTo>
                    <a:pt x="19" y="12"/>
                    <a:pt x="18" y="14"/>
                    <a:pt x="16" y="16"/>
                  </a:cubicBezTo>
                  <a:cubicBezTo>
                    <a:pt x="15" y="17"/>
                    <a:pt x="14" y="17"/>
                    <a:pt x="13" y="18"/>
                  </a:cubicBezTo>
                  <a:cubicBezTo>
                    <a:pt x="12" y="18"/>
                    <a:pt x="11" y="18"/>
                    <a:pt x="10" y="18"/>
                  </a:cubicBezTo>
                  <a:cubicBezTo>
                    <a:pt x="9" y="18"/>
                    <a:pt x="8" y="17"/>
                    <a:pt x="7" y="17"/>
                  </a:cubicBezTo>
                  <a:cubicBezTo>
                    <a:pt x="6" y="16"/>
                    <a:pt x="5" y="15"/>
                    <a:pt x="4" y="14"/>
                  </a:cubicBezTo>
                  <a:close/>
                  <a:moveTo>
                    <a:pt x="8" y="11"/>
                  </a:moveTo>
                  <a:cubicBezTo>
                    <a:pt x="9" y="12"/>
                    <a:pt x="11" y="13"/>
                    <a:pt x="11" y="14"/>
                  </a:cubicBezTo>
                  <a:cubicBezTo>
                    <a:pt x="12" y="14"/>
                    <a:pt x="13" y="14"/>
                    <a:pt x="14" y="13"/>
                  </a:cubicBezTo>
                  <a:cubicBezTo>
                    <a:pt x="14" y="13"/>
                    <a:pt x="14" y="12"/>
                    <a:pt x="14" y="12"/>
                  </a:cubicBezTo>
                  <a:cubicBezTo>
                    <a:pt x="14" y="11"/>
                    <a:pt x="14" y="11"/>
                    <a:pt x="14" y="10"/>
                  </a:cubicBezTo>
                  <a:cubicBezTo>
                    <a:pt x="13" y="9"/>
                    <a:pt x="12" y="8"/>
                    <a:pt x="11" y="7"/>
                  </a:cubicBezTo>
                  <a:cubicBezTo>
                    <a:pt x="9" y="6"/>
                    <a:pt x="8" y="5"/>
                    <a:pt x="7" y="4"/>
                  </a:cubicBezTo>
                  <a:cubicBezTo>
                    <a:pt x="6" y="4"/>
                    <a:pt x="6" y="4"/>
                    <a:pt x="5" y="5"/>
                  </a:cubicBezTo>
                  <a:cubicBezTo>
                    <a:pt x="5" y="5"/>
                    <a:pt x="4" y="6"/>
                    <a:pt x="5" y="7"/>
                  </a:cubicBezTo>
                  <a:cubicBezTo>
                    <a:pt x="5" y="8"/>
                    <a:pt x="6" y="9"/>
                    <a:pt x="8" y="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1" name="Freeform 20"/>
            <p:cNvSpPr>
              <a:spLocks/>
            </p:cNvSpPr>
            <p:nvPr/>
          </p:nvSpPr>
          <p:spPr bwMode="auto">
            <a:xfrm>
              <a:off x="1315" y="3450"/>
              <a:ext cx="26" cy="26"/>
            </a:xfrm>
            <a:custGeom>
              <a:avLst/>
              <a:gdLst>
                <a:gd name="T0" fmla="*/ 4 w 17"/>
                <a:gd name="T1" fmla="*/ 0 h 17"/>
                <a:gd name="T2" fmla="*/ 17 w 17"/>
                <a:gd name="T3" fmla="*/ 13 h 17"/>
                <a:gd name="T4" fmla="*/ 13 w 17"/>
                <a:gd name="T5" fmla="*/ 17 h 17"/>
                <a:gd name="T6" fmla="*/ 5 w 17"/>
                <a:gd name="T7" fmla="*/ 8 h 17"/>
                <a:gd name="T8" fmla="*/ 4 w 17"/>
                <a:gd name="T9" fmla="*/ 11 h 17"/>
                <a:gd name="T10" fmla="*/ 3 w 17"/>
                <a:gd name="T11" fmla="*/ 14 h 17"/>
                <a:gd name="T12" fmla="*/ 0 w 17"/>
                <a:gd name="T13" fmla="*/ 11 h 17"/>
                <a:gd name="T14" fmla="*/ 1 w 17"/>
                <a:gd name="T15" fmla="*/ 7 h 17"/>
                <a:gd name="T16" fmla="*/ 1 w 17"/>
                <a:gd name="T17" fmla="*/ 3 h 17"/>
                <a:gd name="T18" fmla="*/ 4 w 17"/>
                <a:gd name="T1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7">
                  <a:moveTo>
                    <a:pt x="4" y="0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9"/>
                    <a:pt x="1" y="8"/>
                    <a:pt x="1" y="7"/>
                  </a:cubicBezTo>
                  <a:cubicBezTo>
                    <a:pt x="1" y="5"/>
                    <a:pt x="1" y="4"/>
                    <a:pt x="1" y="3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2" name="Freeform 21"/>
            <p:cNvSpPr>
              <a:spLocks noEditPoints="1"/>
            </p:cNvSpPr>
            <p:nvPr/>
          </p:nvSpPr>
          <p:spPr bwMode="auto">
            <a:xfrm>
              <a:off x="1327" y="3436"/>
              <a:ext cx="30" cy="28"/>
            </a:xfrm>
            <a:custGeom>
              <a:avLst/>
              <a:gdLst>
                <a:gd name="T0" fmla="*/ 4 w 19"/>
                <a:gd name="T1" fmla="*/ 14 h 18"/>
                <a:gd name="T2" fmla="*/ 0 w 19"/>
                <a:gd name="T3" fmla="*/ 8 h 18"/>
                <a:gd name="T4" fmla="*/ 3 w 19"/>
                <a:gd name="T5" fmla="*/ 2 h 18"/>
                <a:gd name="T6" fmla="*/ 5 w 19"/>
                <a:gd name="T7" fmla="*/ 0 h 18"/>
                <a:gd name="T8" fmla="*/ 7 w 19"/>
                <a:gd name="T9" fmla="*/ 0 h 18"/>
                <a:gd name="T10" fmla="*/ 9 w 19"/>
                <a:gd name="T11" fmla="*/ 0 h 18"/>
                <a:gd name="T12" fmla="*/ 11 w 19"/>
                <a:gd name="T13" fmla="*/ 1 h 18"/>
                <a:gd name="T14" fmla="*/ 14 w 19"/>
                <a:gd name="T15" fmla="*/ 3 h 18"/>
                <a:gd name="T16" fmla="*/ 18 w 19"/>
                <a:gd name="T17" fmla="*/ 10 h 18"/>
                <a:gd name="T18" fmla="*/ 16 w 19"/>
                <a:gd name="T19" fmla="*/ 15 h 18"/>
                <a:gd name="T20" fmla="*/ 13 w 19"/>
                <a:gd name="T21" fmla="*/ 18 h 18"/>
                <a:gd name="T22" fmla="*/ 10 w 19"/>
                <a:gd name="T23" fmla="*/ 18 h 18"/>
                <a:gd name="T24" fmla="*/ 7 w 19"/>
                <a:gd name="T25" fmla="*/ 16 h 18"/>
                <a:gd name="T26" fmla="*/ 4 w 19"/>
                <a:gd name="T27" fmla="*/ 14 h 18"/>
                <a:gd name="T28" fmla="*/ 8 w 19"/>
                <a:gd name="T29" fmla="*/ 10 h 18"/>
                <a:gd name="T30" fmla="*/ 11 w 19"/>
                <a:gd name="T31" fmla="*/ 13 h 18"/>
                <a:gd name="T32" fmla="*/ 13 w 19"/>
                <a:gd name="T33" fmla="*/ 13 h 18"/>
                <a:gd name="T34" fmla="*/ 14 w 19"/>
                <a:gd name="T35" fmla="*/ 12 h 18"/>
                <a:gd name="T36" fmla="*/ 13 w 19"/>
                <a:gd name="T37" fmla="*/ 10 h 18"/>
                <a:gd name="T38" fmla="*/ 11 w 19"/>
                <a:gd name="T39" fmla="*/ 7 h 18"/>
                <a:gd name="T40" fmla="*/ 7 w 19"/>
                <a:gd name="T41" fmla="*/ 4 h 18"/>
                <a:gd name="T42" fmla="*/ 5 w 19"/>
                <a:gd name="T43" fmla="*/ 5 h 18"/>
                <a:gd name="T44" fmla="*/ 5 w 19"/>
                <a:gd name="T45" fmla="*/ 7 h 18"/>
                <a:gd name="T46" fmla="*/ 8 w 19"/>
                <a:gd name="T47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" h="18">
                  <a:moveTo>
                    <a:pt x="4" y="14"/>
                  </a:moveTo>
                  <a:cubicBezTo>
                    <a:pt x="2" y="12"/>
                    <a:pt x="0" y="9"/>
                    <a:pt x="0" y="8"/>
                  </a:cubicBezTo>
                  <a:cubicBezTo>
                    <a:pt x="0" y="6"/>
                    <a:pt x="1" y="4"/>
                    <a:pt x="3" y="2"/>
                  </a:cubicBezTo>
                  <a:cubicBezTo>
                    <a:pt x="4" y="1"/>
                    <a:pt x="4" y="1"/>
                    <a:pt x="5" y="0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0" y="0"/>
                    <a:pt x="10" y="0"/>
                    <a:pt x="11" y="1"/>
                  </a:cubicBezTo>
                  <a:cubicBezTo>
                    <a:pt x="12" y="2"/>
                    <a:pt x="13" y="2"/>
                    <a:pt x="14" y="3"/>
                  </a:cubicBezTo>
                  <a:cubicBezTo>
                    <a:pt x="17" y="6"/>
                    <a:pt x="18" y="8"/>
                    <a:pt x="18" y="10"/>
                  </a:cubicBezTo>
                  <a:cubicBezTo>
                    <a:pt x="19" y="12"/>
                    <a:pt x="18" y="14"/>
                    <a:pt x="16" y="15"/>
                  </a:cubicBezTo>
                  <a:cubicBezTo>
                    <a:pt x="15" y="17"/>
                    <a:pt x="14" y="17"/>
                    <a:pt x="13" y="18"/>
                  </a:cubicBezTo>
                  <a:cubicBezTo>
                    <a:pt x="12" y="18"/>
                    <a:pt x="11" y="18"/>
                    <a:pt x="10" y="18"/>
                  </a:cubicBezTo>
                  <a:cubicBezTo>
                    <a:pt x="9" y="18"/>
                    <a:pt x="8" y="17"/>
                    <a:pt x="7" y="16"/>
                  </a:cubicBezTo>
                  <a:cubicBezTo>
                    <a:pt x="6" y="16"/>
                    <a:pt x="5" y="15"/>
                    <a:pt x="4" y="14"/>
                  </a:cubicBezTo>
                  <a:close/>
                  <a:moveTo>
                    <a:pt x="8" y="10"/>
                  </a:moveTo>
                  <a:cubicBezTo>
                    <a:pt x="9" y="12"/>
                    <a:pt x="10" y="13"/>
                    <a:pt x="11" y="13"/>
                  </a:cubicBezTo>
                  <a:cubicBezTo>
                    <a:pt x="12" y="14"/>
                    <a:pt x="13" y="14"/>
                    <a:pt x="13" y="13"/>
                  </a:cubicBezTo>
                  <a:cubicBezTo>
                    <a:pt x="14" y="13"/>
                    <a:pt x="14" y="12"/>
                    <a:pt x="14" y="12"/>
                  </a:cubicBezTo>
                  <a:cubicBezTo>
                    <a:pt x="14" y="11"/>
                    <a:pt x="14" y="11"/>
                    <a:pt x="13" y="10"/>
                  </a:cubicBezTo>
                  <a:cubicBezTo>
                    <a:pt x="13" y="9"/>
                    <a:pt x="12" y="8"/>
                    <a:pt x="11" y="7"/>
                  </a:cubicBezTo>
                  <a:cubicBezTo>
                    <a:pt x="9" y="5"/>
                    <a:pt x="8" y="4"/>
                    <a:pt x="7" y="4"/>
                  </a:cubicBezTo>
                  <a:cubicBezTo>
                    <a:pt x="6" y="4"/>
                    <a:pt x="6" y="4"/>
                    <a:pt x="5" y="5"/>
                  </a:cubicBezTo>
                  <a:cubicBezTo>
                    <a:pt x="4" y="5"/>
                    <a:pt x="4" y="6"/>
                    <a:pt x="5" y="7"/>
                  </a:cubicBezTo>
                  <a:cubicBezTo>
                    <a:pt x="5" y="8"/>
                    <a:pt x="6" y="9"/>
                    <a:pt x="8" y="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3" name="Freeform 22"/>
            <p:cNvSpPr>
              <a:spLocks noEditPoints="1"/>
            </p:cNvSpPr>
            <p:nvPr/>
          </p:nvSpPr>
          <p:spPr bwMode="auto">
            <a:xfrm>
              <a:off x="1346" y="3417"/>
              <a:ext cx="30" cy="28"/>
            </a:xfrm>
            <a:custGeom>
              <a:avLst/>
              <a:gdLst>
                <a:gd name="T0" fmla="*/ 4 w 19"/>
                <a:gd name="T1" fmla="*/ 14 h 18"/>
                <a:gd name="T2" fmla="*/ 0 w 19"/>
                <a:gd name="T3" fmla="*/ 8 h 18"/>
                <a:gd name="T4" fmla="*/ 3 w 19"/>
                <a:gd name="T5" fmla="*/ 2 h 18"/>
                <a:gd name="T6" fmla="*/ 5 w 19"/>
                <a:gd name="T7" fmla="*/ 0 h 18"/>
                <a:gd name="T8" fmla="*/ 7 w 19"/>
                <a:gd name="T9" fmla="*/ 0 h 18"/>
                <a:gd name="T10" fmla="*/ 9 w 19"/>
                <a:gd name="T11" fmla="*/ 0 h 18"/>
                <a:gd name="T12" fmla="*/ 11 w 19"/>
                <a:gd name="T13" fmla="*/ 1 h 18"/>
                <a:gd name="T14" fmla="*/ 14 w 19"/>
                <a:gd name="T15" fmla="*/ 3 h 18"/>
                <a:gd name="T16" fmla="*/ 18 w 19"/>
                <a:gd name="T17" fmla="*/ 10 h 18"/>
                <a:gd name="T18" fmla="*/ 16 w 19"/>
                <a:gd name="T19" fmla="*/ 15 h 18"/>
                <a:gd name="T20" fmla="*/ 13 w 19"/>
                <a:gd name="T21" fmla="*/ 18 h 18"/>
                <a:gd name="T22" fmla="*/ 10 w 19"/>
                <a:gd name="T23" fmla="*/ 18 h 18"/>
                <a:gd name="T24" fmla="*/ 7 w 19"/>
                <a:gd name="T25" fmla="*/ 16 h 18"/>
                <a:gd name="T26" fmla="*/ 4 w 19"/>
                <a:gd name="T27" fmla="*/ 14 h 18"/>
                <a:gd name="T28" fmla="*/ 7 w 19"/>
                <a:gd name="T29" fmla="*/ 10 h 18"/>
                <a:gd name="T30" fmla="*/ 11 w 19"/>
                <a:gd name="T31" fmla="*/ 13 h 18"/>
                <a:gd name="T32" fmla="*/ 13 w 19"/>
                <a:gd name="T33" fmla="*/ 13 h 18"/>
                <a:gd name="T34" fmla="*/ 14 w 19"/>
                <a:gd name="T35" fmla="*/ 12 h 18"/>
                <a:gd name="T36" fmla="*/ 13 w 19"/>
                <a:gd name="T37" fmla="*/ 10 h 18"/>
                <a:gd name="T38" fmla="*/ 11 w 19"/>
                <a:gd name="T39" fmla="*/ 7 h 18"/>
                <a:gd name="T40" fmla="*/ 7 w 19"/>
                <a:gd name="T41" fmla="*/ 4 h 18"/>
                <a:gd name="T42" fmla="*/ 5 w 19"/>
                <a:gd name="T43" fmla="*/ 5 h 18"/>
                <a:gd name="T44" fmla="*/ 5 w 19"/>
                <a:gd name="T45" fmla="*/ 7 h 18"/>
                <a:gd name="T46" fmla="*/ 7 w 19"/>
                <a:gd name="T47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" h="18">
                  <a:moveTo>
                    <a:pt x="4" y="14"/>
                  </a:moveTo>
                  <a:cubicBezTo>
                    <a:pt x="1" y="12"/>
                    <a:pt x="0" y="9"/>
                    <a:pt x="0" y="8"/>
                  </a:cubicBezTo>
                  <a:cubicBezTo>
                    <a:pt x="0" y="6"/>
                    <a:pt x="1" y="4"/>
                    <a:pt x="3" y="2"/>
                  </a:cubicBezTo>
                  <a:cubicBezTo>
                    <a:pt x="4" y="1"/>
                    <a:pt x="4" y="1"/>
                    <a:pt x="5" y="0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0" y="0"/>
                    <a:pt x="10" y="0"/>
                    <a:pt x="11" y="1"/>
                  </a:cubicBezTo>
                  <a:cubicBezTo>
                    <a:pt x="12" y="2"/>
                    <a:pt x="13" y="2"/>
                    <a:pt x="14" y="3"/>
                  </a:cubicBezTo>
                  <a:cubicBezTo>
                    <a:pt x="17" y="6"/>
                    <a:pt x="18" y="8"/>
                    <a:pt x="18" y="10"/>
                  </a:cubicBezTo>
                  <a:cubicBezTo>
                    <a:pt x="19" y="12"/>
                    <a:pt x="18" y="14"/>
                    <a:pt x="16" y="15"/>
                  </a:cubicBezTo>
                  <a:cubicBezTo>
                    <a:pt x="15" y="17"/>
                    <a:pt x="14" y="17"/>
                    <a:pt x="13" y="18"/>
                  </a:cubicBezTo>
                  <a:cubicBezTo>
                    <a:pt x="12" y="18"/>
                    <a:pt x="11" y="18"/>
                    <a:pt x="10" y="18"/>
                  </a:cubicBezTo>
                  <a:cubicBezTo>
                    <a:pt x="9" y="18"/>
                    <a:pt x="8" y="17"/>
                    <a:pt x="7" y="16"/>
                  </a:cubicBezTo>
                  <a:cubicBezTo>
                    <a:pt x="6" y="16"/>
                    <a:pt x="5" y="15"/>
                    <a:pt x="4" y="14"/>
                  </a:cubicBezTo>
                  <a:close/>
                  <a:moveTo>
                    <a:pt x="7" y="10"/>
                  </a:moveTo>
                  <a:cubicBezTo>
                    <a:pt x="9" y="12"/>
                    <a:pt x="10" y="13"/>
                    <a:pt x="11" y="13"/>
                  </a:cubicBezTo>
                  <a:cubicBezTo>
                    <a:pt x="12" y="14"/>
                    <a:pt x="13" y="14"/>
                    <a:pt x="13" y="13"/>
                  </a:cubicBezTo>
                  <a:cubicBezTo>
                    <a:pt x="14" y="13"/>
                    <a:pt x="14" y="12"/>
                    <a:pt x="14" y="12"/>
                  </a:cubicBezTo>
                  <a:cubicBezTo>
                    <a:pt x="14" y="11"/>
                    <a:pt x="14" y="11"/>
                    <a:pt x="13" y="10"/>
                  </a:cubicBezTo>
                  <a:cubicBezTo>
                    <a:pt x="13" y="9"/>
                    <a:pt x="12" y="8"/>
                    <a:pt x="11" y="7"/>
                  </a:cubicBezTo>
                  <a:cubicBezTo>
                    <a:pt x="9" y="5"/>
                    <a:pt x="8" y="4"/>
                    <a:pt x="7" y="4"/>
                  </a:cubicBezTo>
                  <a:cubicBezTo>
                    <a:pt x="6" y="4"/>
                    <a:pt x="6" y="4"/>
                    <a:pt x="5" y="5"/>
                  </a:cubicBezTo>
                  <a:cubicBezTo>
                    <a:pt x="4" y="5"/>
                    <a:pt x="4" y="6"/>
                    <a:pt x="5" y="7"/>
                  </a:cubicBezTo>
                  <a:cubicBezTo>
                    <a:pt x="5" y="8"/>
                    <a:pt x="6" y="9"/>
                    <a:pt x="7" y="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4" name="Freeform 23"/>
            <p:cNvSpPr>
              <a:spLocks/>
            </p:cNvSpPr>
            <p:nvPr/>
          </p:nvSpPr>
          <p:spPr bwMode="auto">
            <a:xfrm>
              <a:off x="1447" y="3065"/>
              <a:ext cx="27" cy="26"/>
            </a:xfrm>
            <a:custGeom>
              <a:avLst/>
              <a:gdLst>
                <a:gd name="T0" fmla="*/ 4 w 17"/>
                <a:gd name="T1" fmla="*/ 0 h 17"/>
                <a:gd name="T2" fmla="*/ 17 w 17"/>
                <a:gd name="T3" fmla="*/ 13 h 17"/>
                <a:gd name="T4" fmla="*/ 14 w 17"/>
                <a:gd name="T5" fmla="*/ 17 h 17"/>
                <a:gd name="T6" fmla="*/ 5 w 17"/>
                <a:gd name="T7" fmla="*/ 8 h 17"/>
                <a:gd name="T8" fmla="*/ 5 w 17"/>
                <a:gd name="T9" fmla="*/ 11 h 17"/>
                <a:gd name="T10" fmla="*/ 3 w 17"/>
                <a:gd name="T11" fmla="*/ 14 h 17"/>
                <a:gd name="T12" fmla="*/ 0 w 17"/>
                <a:gd name="T13" fmla="*/ 11 h 17"/>
                <a:gd name="T14" fmla="*/ 2 w 17"/>
                <a:gd name="T15" fmla="*/ 6 h 17"/>
                <a:gd name="T16" fmla="*/ 1 w 17"/>
                <a:gd name="T17" fmla="*/ 3 h 17"/>
                <a:gd name="T18" fmla="*/ 4 w 17"/>
                <a:gd name="T1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7">
                  <a:moveTo>
                    <a:pt x="4" y="0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5" y="10"/>
                    <a:pt x="5" y="11"/>
                  </a:cubicBezTo>
                  <a:cubicBezTo>
                    <a:pt x="4" y="12"/>
                    <a:pt x="4" y="13"/>
                    <a:pt x="3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9"/>
                    <a:pt x="2" y="8"/>
                    <a:pt x="2" y="6"/>
                  </a:cubicBezTo>
                  <a:cubicBezTo>
                    <a:pt x="2" y="5"/>
                    <a:pt x="2" y="4"/>
                    <a:pt x="1" y="3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5" name="Freeform 24"/>
            <p:cNvSpPr>
              <a:spLocks noEditPoints="1"/>
            </p:cNvSpPr>
            <p:nvPr/>
          </p:nvSpPr>
          <p:spPr bwMode="auto">
            <a:xfrm>
              <a:off x="1461" y="3049"/>
              <a:ext cx="28" cy="30"/>
            </a:xfrm>
            <a:custGeom>
              <a:avLst/>
              <a:gdLst>
                <a:gd name="T0" fmla="*/ 4 w 18"/>
                <a:gd name="T1" fmla="*/ 15 h 19"/>
                <a:gd name="T2" fmla="*/ 0 w 18"/>
                <a:gd name="T3" fmla="*/ 8 h 19"/>
                <a:gd name="T4" fmla="*/ 2 w 18"/>
                <a:gd name="T5" fmla="*/ 3 h 19"/>
                <a:gd name="T6" fmla="*/ 5 w 18"/>
                <a:gd name="T7" fmla="*/ 1 h 19"/>
                <a:gd name="T8" fmla="*/ 7 w 18"/>
                <a:gd name="T9" fmla="*/ 0 h 19"/>
                <a:gd name="T10" fmla="*/ 9 w 18"/>
                <a:gd name="T11" fmla="*/ 1 h 19"/>
                <a:gd name="T12" fmla="*/ 11 w 18"/>
                <a:gd name="T13" fmla="*/ 2 h 19"/>
                <a:gd name="T14" fmla="*/ 14 w 18"/>
                <a:gd name="T15" fmla="*/ 4 h 19"/>
                <a:gd name="T16" fmla="*/ 18 w 18"/>
                <a:gd name="T17" fmla="*/ 10 h 19"/>
                <a:gd name="T18" fmla="*/ 16 w 18"/>
                <a:gd name="T19" fmla="*/ 16 h 19"/>
                <a:gd name="T20" fmla="*/ 12 w 18"/>
                <a:gd name="T21" fmla="*/ 18 h 19"/>
                <a:gd name="T22" fmla="*/ 9 w 18"/>
                <a:gd name="T23" fmla="*/ 18 h 19"/>
                <a:gd name="T24" fmla="*/ 7 w 18"/>
                <a:gd name="T25" fmla="*/ 17 h 19"/>
                <a:gd name="T26" fmla="*/ 4 w 18"/>
                <a:gd name="T27" fmla="*/ 15 h 19"/>
                <a:gd name="T28" fmla="*/ 7 w 18"/>
                <a:gd name="T29" fmla="*/ 11 h 19"/>
                <a:gd name="T30" fmla="*/ 11 w 18"/>
                <a:gd name="T31" fmla="*/ 14 h 19"/>
                <a:gd name="T32" fmla="*/ 13 w 18"/>
                <a:gd name="T33" fmla="*/ 14 h 19"/>
                <a:gd name="T34" fmla="*/ 14 w 18"/>
                <a:gd name="T35" fmla="*/ 12 h 19"/>
                <a:gd name="T36" fmla="*/ 13 w 18"/>
                <a:gd name="T37" fmla="*/ 11 h 19"/>
                <a:gd name="T38" fmla="*/ 11 w 18"/>
                <a:gd name="T39" fmla="*/ 8 h 19"/>
                <a:gd name="T40" fmla="*/ 7 w 18"/>
                <a:gd name="T41" fmla="*/ 5 h 19"/>
                <a:gd name="T42" fmla="*/ 5 w 18"/>
                <a:gd name="T43" fmla="*/ 5 h 19"/>
                <a:gd name="T44" fmla="*/ 4 w 18"/>
                <a:gd name="T45" fmla="*/ 7 h 19"/>
                <a:gd name="T46" fmla="*/ 7 w 18"/>
                <a:gd name="T47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" h="19">
                  <a:moveTo>
                    <a:pt x="4" y="15"/>
                  </a:move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5"/>
                    <a:pt x="2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6" y="1"/>
                    <a:pt x="6" y="0"/>
                    <a:pt x="7" y="0"/>
                  </a:cubicBezTo>
                  <a:cubicBezTo>
                    <a:pt x="8" y="0"/>
                    <a:pt x="8" y="1"/>
                    <a:pt x="9" y="1"/>
                  </a:cubicBezTo>
                  <a:cubicBezTo>
                    <a:pt x="9" y="1"/>
                    <a:pt x="10" y="1"/>
                    <a:pt x="11" y="2"/>
                  </a:cubicBezTo>
                  <a:cubicBezTo>
                    <a:pt x="12" y="2"/>
                    <a:pt x="13" y="3"/>
                    <a:pt x="14" y="4"/>
                  </a:cubicBezTo>
                  <a:cubicBezTo>
                    <a:pt x="16" y="6"/>
                    <a:pt x="18" y="9"/>
                    <a:pt x="18" y="10"/>
                  </a:cubicBezTo>
                  <a:cubicBezTo>
                    <a:pt x="18" y="12"/>
                    <a:pt x="17" y="14"/>
                    <a:pt x="16" y="16"/>
                  </a:cubicBezTo>
                  <a:cubicBezTo>
                    <a:pt x="14" y="17"/>
                    <a:pt x="13" y="18"/>
                    <a:pt x="12" y="18"/>
                  </a:cubicBezTo>
                  <a:cubicBezTo>
                    <a:pt x="11" y="19"/>
                    <a:pt x="10" y="19"/>
                    <a:pt x="9" y="18"/>
                  </a:cubicBezTo>
                  <a:cubicBezTo>
                    <a:pt x="8" y="18"/>
                    <a:pt x="8" y="18"/>
                    <a:pt x="7" y="17"/>
                  </a:cubicBezTo>
                  <a:cubicBezTo>
                    <a:pt x="6" y="17"/>
                    <a:pt x="5" y="16"/>
                    <a:pt x="4" y="15"/>
                  </a:cubicBezTo>
                  <a:close/>
                  <a:moveTo>
                    <a:pt x="7" y="11"/>
                  </a:moveTo>
                  <a:cubicBezTo>
                    <a:pt x="9" y="13"/>
                    <a:pt x="10" y="14"/>
                    <a:pt x="11" y="14"/>
                  </a:cubicBezTo>
                  <a:cubicBezTo>
                    <a:pt x="12" y="14"/>
                    <a:pt x="13" y="14"/>
                    <a:pt x="13" y="14"/>
                  </a:cubicBezTo>
                  <a:cubicBezTo>
                    <a:pt x="13" y="13"/>
                    <a:pt x="14" y="13"/>
                    <a:pt x="14" y="12"/>
                  </a:cubicBezTo>
                  <a:cubicBezTo>
                    <a:pt x="14" y="12"/>
                    <a:pt x="13" y="11"/>
                    <a:pt x="13" y="11"/>
                  </a:cubicBezTo>
                  <a:cubicBezTo>
                    <a:pt x="13" y="10"/>
                    <a:pt x="12" y="9"/>
                    <a:pt x="11" y="8"/>
                  </a:cubicBezTo>
                  <a:cubicBezTo>
                    <a:pt x="9" y="6"/>
                    <a:pt x="8" y="5"/>
                    <a:pt x="7" y="5"/>
                  </a:cubicBezTo>
                  <a:cubicBezTo>
                    <a:pt x="6" y="5"/>
                    <a:pt x="5" y="5"/>
                    <a:pt x="5" y="5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5" y="8"/>
                    <a:pt x="5" y="10"/>
                    <a:pt x="7" y="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048" name="Freeform 25"/>
            <p:cNvSpPr>
              <a:spLocks noEditPoints="1"/>
            </p:cNvSpPr>
            <p:nvPr/>
          </p:nvSpPr>
          <p:spPr bwMode="auto">
            <a:xfrm>
              <a:off x="1480" y="3031"/>
              <a:ext cx="28" cy="29"/>
            </a:xfrm>
            <a:custGeom>
              <a:avLst/>
              <a:gdLst>
                <a:gd name="T0" fmla="*/ 4 w 18"/>
                <a:gd name="T1" fmla="*/ 15 h 19"/>
                <a:gd name="T2" fmla="*/ 0 w 18"/>
                <a:gd name="T3" fmla="*/ 8 h 19"/>
                <a:gd name="T4" fmla="*/ 2 w 18"/>
                <a:gd name="T5" fmla="*/ 3 h 19"/>
                <a:gd name="T6" fmla="*/ 5 w 18"/>
                <a:gd name="T7" fmla="*/ 1 h 19"/>
                <a:gd name="T8" fmla="*/ 7 w 18"/>
                <a:gd name="T9" fmla="*/ 0 h 19"/>
                <a:gd name="T10" fmla="*/ 9 w 18"/>
                <a:gd name="T11" fmla="*/ 1 h 19"/>
                <a:gd name="T12" fmla="*/ 11 w 18"/>
                <a:gd name="T13" fmla="*/ 2 h 19"/>
                <a:gd name="T14" fmla="*/ 14 w 18"/>
                <a:gd name="T15" fmla="*/ 4 h 19"/>
                <a:gd name="T16" fmla="*/ 18 w 18"/>
                <a:gd name="T17" fmla="*/ 10 h 19"/>
                <a:gd name="T18" fmla="*/ 15 w 18"/>
                <a:gd name="T19" fmla="*/ 16 h 19"/>
                <a:gd name="T20" fmla="*/ 12 w 18"/>
                <a:gd name="T21" fmla="*/ 18 h 19"/>
                <a:gd name="T22" fmla="*/ 9 w 18"/>
                <a:gd name="T23" fmla="*/ 18 h 19"/>
                <a:gd name="T24" fmla="*/ 7 w 18"/>
                <a:gd name="T25" fmla="*/ 17 h 19"/>
                <a:gd name="T26" fmla="*/ 4 w 18"/>
                <a:gd name="T27" fmla="*/ 15 h 19"/>
                <a:gd name="T28" fmla="*/ 7 w 18"/>
                <a:gd name="T29" fmla="*/ 11 h 19"/>
                <a:gd name="T30" fmla="*/ 11 w 18"/>
                <a:gd name="T31" fmla="*/ 14 h 19"/>
                <a:gd name="T32" fmla="*/ 13 w 18"/>
                <a:gd name="T33" fmla="*/ 14 h 19"/>
                <a:gd name="T34" fmla="*/ 14 w 18"/>
                <a:gd name="T35" fmla="*/ 12 h 19"/>
                <a:gd name="T36" fmla="*/ 13 w 18"/>
                <a:gd name="T37" fmla="*/ 11 h 19"/>
                <a:gd name="T38" fmla="*/ 11 w 18"/>
                <a:gd name="T39" fmla="*/ 8 h 19"/>
                <a:gd name="T40" fmla="*/ 7 w 18"/>
                <a:gd name="T41" fmla="*/ 5 h 19"/>
                <a:gd name="T42" fmla="*/ 5 w 18"/>
                <a:gd name="T43" fmla="*/ 5 h 19"/>
                <a:gd name="T44" fmla="*/ 4 w 18"/>
                <a:gd name="T45" fmla="*/ 7 h 19"/>
                <a:gd name="T46" fmla="*/ 7 w 18"/>
                <a:gd name="T47" fmla="*/ 1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" h="19">
                  <a:moveTo>
                    <a:pt x="4" y="15"/>
                  </a:move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0" y="5"/>
                    <a:pt x="2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6" y="1"/>
                    <a:pt x="6" y="0"/>
                    <a:pt x="7" y="0"/>
                  </a:cubicBezTo>
                  <a:cubicBezTo>
                    <a:pt x="8" y="0"/>
                    <a:pt x="8" y="1"/>
                    <a:pt x="9" y="1"/>
                  </a:cubicBezTo>
                  <a:cubicBezTo>
                    <a:pt x="9" y="1"/>
                    <a:pt x="10" y="1"/>
                    <a:pt x="11" y="2"/>
                  </a:cubicBezTo>
                  <a:cubicBezTo>
                    <a:pt x="12" y="2"/>
                    <a:pt x="13" y="3"/>
                    <a:pt x="14" y="4"/>
                  </a:cubicBezTo>
                  <a:cubicBezTo>
                    <a:pt x="16" y="7"/>
                    <a:pt x="18" y="9"/>
                    <a:pt x="18" y="10"/>
                  </a:cubicBezTo>
                  <a:cubicBezTo>
                    <a:pt x="18" y="12"/>
                    <a:pt x="17" y="14"/>
                    <a:pt x="15" y="16"/>
                  </a:cubicBezTo>
                  <a:cubicBezTo>
                    <a:pt x="14" y="17"/>
                    <a:pt x="13" y="18"/>
                    <a:pt x="12" y="18"/>
                  </a:cubicBezTo>
                  <a:cubicBezTo>
                    <a:pt x="11" y="19"/>
                    <a:pt x="10" y="19"/>
                    <a:pt x="9" y="18"/>
                  </a:cubicBezTo>
                  <a:cubicBezTo>
                    <a:pt x="8" y="18"/>
                    <a:pt x="8" y="18"/>
                    <a:pt x="7" y="17"/>
                  </a:cubicBezTo>
                  <a:cubicBezTo>
                    <a:pt x="6" y="17"/>
                    <a:pt x="5" y="16"/>
                    <a:pt x="4" y="15"/>
                  </a:cubicBezTo>
                  <a:close/>
                  <a:moveTo>
                    <a:pt x="7" y="11"/>
                  </a:moveTo>
                  <a:cubicBezTo>
                    <a:pt x="9" y="13"/>
                    <a:pt x="10" y="14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3" y="13"/>
                    <a:pt x="14" y="13"/>
                    <a:pt x="14" y="12"/>
                  </a:cubicBezTo>
                  <a:cubicBezTo>
                    <a:pt x="14" y="12"/>
                    <a:pt x="13" y="11"/>
                    <a:pt x="13" y="11"/>
                  </a:cubicBezTo>
                  <a:cubicBezTo>
                    <a:pt x="13" y="10"/>
                    <a:pt x="12" y="9"/>
                    <a:pt x="11" y="8"/>
                  </a:cubicBezTo>
                  <a:cubicBezTo>
                    <a:pt x="9" y="6"/>
                    <a:pt x="8" y="5"/>
                    <a:pt x="7" y="5"/>
                  </a:cubicBezTo>
                  <a:cubicBezTo>
                    <a:pt x="6" y="5"/>
                    <a:pt x="5" y="5"/>
                    <a:pt x="5" y="5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8"/>
                    <a:pt x="5" y="10"/>
                    <a:pt x="7" y="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049" name="Freeform 26"/>
            <p:cNvSpPr>
              <a:spLocks/>
            </p:cNvSpPr>
            <p:nvPr/>
          </p:nvSpPr>
          <p:spPr bwMode="auto">
            <a:xfrm>
              <a:off x="1574" y="3191"/>
              <a:ext cx="26" cy="25"/>
            </a:xfrm>
            <a:custGeom>
              <a:avLst/>
              <a:gdLst>
                <a:gd name="T0" fmla="*/ 4 w 17"/>
                <a:gd name="T1" fmla="*/ 0 h 16"/>
                <a:gd name="T2" fmla="*/ 17 w 17"/>
                <a:gd name="T3" fmla="*/ 13 h 16"/>
                <a:gd name="T4" fmla="*/ 14 w 17"/>
                <a:gd name="T5" fmla="*/ 16 h 16"/>
                <a:gd name="T6" fmla="*/ 5 w 17"/>
                <a:gd name="T7" fmla="*/ 8 h 16"/>
                <a:gd name="T8" fmla="*/ 4 w 17"/>
                <a:gd name="T9" fmla="*/ 11 h 16"/>
                <a:gd name="T10" fmla="*/ 3 w 17"/>
                <a:gd name="T11" fmla="*/ 13 h 16"/>
                <a:gd name="T12" fmla="*/ 0 w 17"/>
                <a:gd name="T13" fmla="*/ 10 h 16"/>
                <a:gd name="T14" fmla="*/ 2 w 17"/>
                <a:gd name="T15" fmla="*/ 6 h 16"/>
                <a:gd name="T16" fmla="*/ 1 w 17"/>
                <a:gd name="T17" fmla="*/ 3 h 16"/>
                <a:gd name="T18" fmla="*/ 4 w 17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6">
                  <a:moveTo>
                    <a:pt x="4" y="0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5" y="10"/>
                    <a:pt x="4" y="11"/>
                  </a:cubicBezTo>
                  <a:cubicBezTo>
                    <a:pt x="4" y="11"/>
                    <a:pt x="4" y="12"/>
                    <a:pt x="3" y="1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5"/>
                    <a:pt x="2" y="4"/>
                    <a:pt x="1" y="3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051" name="Freeform 27"/>
            <p:cNvSpPr>
              <a:spLocks noEditPoints="1"/>
            </p:cNvSpPr>
            <p:nvPr/>
          </p:nvSpPr>
          <p:spPr bwMode="auto">
            <a:xfrm>
              <a:off x="1586" y="3175"/>
              <a:ext cx="30" cy="29"/>
            </a:xfrm>
            <a:custGeom>
              <a:avLst/>
              <a:gdLst>
                <a:gd name="T0" fmla="*/ 4 w 19"/>
                <a:gd name="T1" fmla="*/ 15 h 18"/>
                <a:gd name="T2" fmla="*/ 1 w 19"/>
                <a:gd name="T3" fmla="*/ 8 h 18"/>
                <a:gd name="T4" fmla="*/ 3 w 19"/>
                <a:gd name="T5" fmla="*/ 3 h 18"/>
                <a:gd name="T6" fmla="*/ 6 w 19"/>
                <a:gd name="T7" fmla="*/ 1 h 18"/>
                <a:gd name="T8" fmla="*/ 8 w 19"/>
                <a:gd name="T9" fmla="*/ 0 h 18"/>
                <a:gd name="T10" fmla="*/ 10 w 19"/>
                <a:gd name="T11" fmla="*/ 1 h 18"/>
                <a:gd name="T12" fmla="*/ 12 w 19"/>
                <a:gd name="T13" fmla="*/ 1 h 18"/>
                <a:gd name="T14" fmla="*/ 15 w 19"/>
                <a:gd name="T15" fmla="*/ 4 h 18"/>
                <a:gd name="T16" fmla="*/ 19 w 19"/>
                <a:gd name="T17" fmla="*/ 10 h 18"/>
                <a:gd name="T18" fmla="*/ 16 w 19"/>
                <a:gd name="T19" fmla="*/ 16 h 18"/>
                <a:gd name="T20" fmla="*/ 13 w 19"/>
                <a:gd name="T21" fmla="*/ 18 h 18"/>
                <a:gd name="T22" fmla="*/ 10 w 19"/>
                <a:gd name="T23" fmla="*/ 18 h 18"/>
                <a:gd name="T24" fmla="*/ 7 w 19"/>
                <a:gd name="T25" fmla="*/ 17 h 18"/>
                <a:gd name="T26" fmla="*/ 4 w 19"/>
                <a:gd name="T27" fmla="*/ 15 h 18"/>
                <a:gd name="T28" fmla="*/ 8 w 19"/>
                <a:gd name="T29" fmla="*/ 11 h 18"/>
                <a:gd name="T30" fmla="*/ 12 w 19"/>
                <a:gd name="T31" fmla="*/ 14 h 18"/>
                <a:gd name="T32" fmla="*/ 14 w 19"/>
                <a:gd name="T33" fmla="*/ 14 h 18"/>
                <a:gd name="T34" fmla="*/ 14 w 19"/>
                <a:gd name="T35" fmla="*/ 12 h 18"/>
                <a:gd name="T36" fmla="*/ 14 w 19"/>
                <a:gd name="T37" fmla="*/ 10 h 18"/>
                <a:gd name="T38" fmla="*/ 11 w 19"/>
                <a:gd name="T39" fmla="*/ 8 h 18"/>
                <a:gd name="T40" fmla="*/ 8 w 19"/>
                <a:gd name="T41" fmla="*/ 5 h 18"/>
                <a:gd name="T42" fmla="*/ 5 w 19"/>
                <a:gd name="T43" fmla="*/ 5 h 18"/>
                <a:gd name="T44" fmla="*/ 5 w 19"/>
                <a:gd name="T45" fmla="*/ 7 h 18"/>
                <a:gd name="T46" fmla="*/ 8 w 19"/>
                <a:gd name="T47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" h="18">
                  <a:moveTo>
                    <a:pt x="4" y="15"/>
                  </a:moveTo>
                  <a:cubicBezTo>
                    <a:pt x="2" y="12"/>
                    <a:pt x="1" y="10"/>
                    <a:pt x="1" y="8"/>
                  </a:cubicBezTo>
                  <a:cubicBezTo>
                    <a:pt x="0" y="6"/>
                    <a:pt x="1" y="4"/>
                    <a:pt x="3" y="3"/>
                  </a:cubicBezTo>
                  <a:cubicBezTo>
                    <a:pt x="4" y="2"/>
                    <a:pt x="5" y="1"/>
                    <a:pt x="6" y="1"/>
                  </a:cubicBezTo>
                  <a:cubicBezTo>
                    <a:pt x="6" y="0"/>
                    <a:pt x="7" y="0"/>
                    <a:pt x="8" y="0"/>
                  </a:cubicBezTo>
                  <a:cubicBezTo>
                    <a:pt x="8" y="0"/>
                    <a:pt x="9" y="0"/>
                    <a:pt x="10" y="1"/>
                  </a:cubicBezTo>
                  <a:cubicBezTo>
                    <a:pt x="10" y="1"/>
                    <a:pt x="11" y="1"/>
                    <a:pt x="12" y="1"/>
                  </a:cubicBezTo>
                  <a:cubicBezTo>
                    <a:pt x="13" y="2"/>
                    <a:pt x="14" y="3"/>
                    <a:pt x="15" y="4"/>
                  </a:cubicBezTo>
                  <a:cubicBezTo>
                    <a:pt x="17" y="6"/>
                    <a:pt x="19" y="8"/>
                    <a:pt x="19" y="10"/>
                  </a:cubicBezTo>
                  <a:cubicBezTo>
                    <a:pt x="19" y="12"/>
                    <a:pt x="18" y="14"/>
                    <a:pt x="16" y="16"/>
                  </a:cubicBezTo>
                  <a:cubicBezTo>
                    <a:pt x="15" y="17"/>
                    <a:pt x="14" y="18"/>
                    <a:pt x="13" y="18"/>
                  </a:cubicBezTo>
                  <a:cubicBezTo>
                    <a:pt x="12" y="18"/>
                    <a:pt x="11" y="18"/>
                    <a:pt x="10" y="18"/>
                  </a:cubicBezTo>
                  <a:cubicBezTo>
                    <a:pt x="9" y="18"/>
                    <a:pt x="8" y="18"/>
                    <a:pt x="7" y="17"/>
                  </a:cubicBezTo>
                  <a:cubicBezTo>
                    <a:pt x="6" y="16"/>
                    <a:pt x="5" y="16"/>
                    <a:pt x="4" y="15"/>
                  </a:cubicBezTo>
                  <a:close/>
                  <a:moveTo>
                    <a:pt x="8" y="11"/>
                  </a:moveTo>
                  <a:cubicBezTo>
                    <a:pt x="10" y="13"/>
                    <a:pt x="11" y="14"/>
                    <a:pt x="12" y="14"/>
                  </a:cubicBezTo>
                  <a:cubicBezTo>
                    <a:pt x="13" y="14"/>
                    <a:pt x="13" y="14"/>
                    <a:pt x="14" y="14"/>
                  </a:cubicBezTo>
                  <a:cubicBezTo>
                    <a:pt x="14" y="13"/>
                    <a:pt x="14" y="13"/>
                    <a:pt x="14" y="12"/>
                  </a:cubicBezTo>
                  <a:cubicBezTo>
                    <a:pt x="14" y="12"/>
                    <a:pt x="14" y="11"/>
                    <a:pt x="14" y="10"/>
                  </a:cubicBezTo>
                  <a:cubicBezTo>
                    <a:pt x="13" y="10"/>
                    <a:pt x="13" y="9"/>
                    <a:pt x="11" y="8"/>
                  </a:cubicBezTo>
                  <a:cubicBezTo>
                    <a:pt x="10" y="6"/>
                    <a:pt x="8" y="5"/>
                    <a:pt x="8" y="5"/>
                  </a:cubicBezTo>
                  <a:cubicBezTo>
                    <a:pt x="7" y="4"/>
                    <a:pt x="6" y="5"/>
                    <a:pt x="5" y="5"/>
                  </a:cubicBezTo>
                  <a:cubicBezTo>
                    <a:pt x="5" y="6"/>
                    <a:pt x="5" y="6"/>
                    <a:pt x="5" y="7"/>
                  </a:cubicBezTo>
                  <a:cubicBezTo>
                    <a:pt x="5" y="8"/>
                    <a:pt x="6" y="9"/>
                    <a:pt x="8" y="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052" name="Freeform 28"/>
            <p:cNvSpPr>
              <a:spLocks noEditPoints="1"/>
            </p:cNvSpPr>
            <p:nvPr/>
          </p:nvSpPr>
          <p:spPr bwMode="auto">
            <a:xfrm>
              <a:off x="1605" y="3157"/>
              <a:ext cx="29" cy="28"/>
            </a:xfrm>
            <a:custGeom>
              <a:avLst/>
              <a:gdLst>
                <a:gd name="T0" fmla="*/ 4 w 19"/>
                <a:gd name="T1" fmla="*/ 15 h 18"/>
                <a:gd name="T2" fmla="*/ 1 w 19"/>
                <a:gd name="T3" fmla="*/ 8 h 18"/>
                <a:gd name="T4" fmla="*/ 3 w 19"/>
                <a:gd name="T5" fmla="*/ 3 h 18"/>
                <a:gd name="T6" fmla="*/ 6 w 19"/>
                <a:gd name="T7" fmla="*/ 1 h 18"/>
                <a:gd name="T8" fmla="*/ 8 w 19"/>
                <a:gd name="T9" fmla="*/ 0 h 18"/>
                <a:gd name="T10" fmla="*/ 10 w 19"/>
                <a:gd name="T11" fmla="*/ 1 h 18"/>
                <a:gd name="T12" fmla="*/ 11 w 19"/>
                <a:gd name="T13" fmla="*/ 1 h 18"/>
                <a:gd name="T14" fmla="*/ 15 w 19"/>
                <a:gd name="T15" fmla="*/ 4 h 18"/>
                <a:gd name="T16" fmla="*/ 19 w 19"/>
                <a:gd name="T17" fmla="*/ 10 h 18"/>
                <a:gd name="T18" fmla="*/ 16 w 19"/>
                <a:gd name="T19" fmla="*/ 16 h 18"/>
                <a:gd name="T20" fmla="*/ 13 w 19"/>
                <a:gd name="T21" fmla="*/ 18 h 18"/>
                <a:gd name="T22" fmla="*/ 10 w 19"/>
                <a:gd name="T23" fmla="*/ 18 h 18"/>
                <a:gd name="T24" fmla="*/ 7 w 19"/>
                <a:gd name="T25" fmla="*/ 17 h 18"/>
                <a:gd name="T26" fmla="*/ 4 w 19"/>
                <a:gd name="T27" fmla="*/ 15 h 18"/>
                <a:gd name="T28" fmla="*/ 8 w 19"/>
                <a:gd name="T29" fmla="*/ 11 h 18"/>
                <a:gd name="T30" fmla="*/ 12 w 19"/>
                <a:gd name="T31" fmla="*/ 14 h 18"/>
                <a:gd name="T32" fmla="*/ 14 w 19"/>
                <a:gd name="T33" fmla="*/ 14 h 18"/>
                <a:gd name="T34" fmla="*/ 14 w 19"/>
                <a:gd name="T35" fmla="*/ 12 h 18"/>
                <a:gd name="T36" fmla="*/ 14 w 19"/>
                <a:gd name="T37" fmla="*/ 10 h 18"/>
                <a:gd name="T38" fmla="*/ 11 w 19"/>
                <a:gd name="T39" fmla="*/ 8 h 18"/>
                <a:gd name="T40" fmla="*/ 8 w 19"/>
                <a:gd name="T41" fmla="*/ 5 h 18"/>
                <a:gd name="T42" fmla="*/ 5 w 19"/>
                <a:gd name="T43" fmla="*/ 5 h 18"/>
                <a:gd name="T44" fmla="*/ 5 w 19"/>
                <a:gd name="T45" fmla="*/ 7 h 18"/>
                <a:gd name="T46" fmla="*/ 8 w 19"/>
                <a:gd name="T47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" h="18">
                  <a:moveTo>
                    <a:pt x="4" y="15"/>
                  </a:moveTo>
                  <a:cubicBezTo>
                    <a:pt x="2" y="12"/>
                    <a:pt x="1" y="10"/>
                    <a:pt x="1" y="8"/>
                  </a:cubicBezTo>
                  <a:cubicBezTo>
                    <a:pt x="0" y="6"/>
                    <a:pt x="1" y="4"/>
                    <a:pt x="3" y="3"/>
                  </a:cubicBezTo>
                  <a:cubicBezTo>
                    <a:pt x="4" y="2"/>
                    <a:pt x="5" y="1"/>
                    <a:pt x="6" y="1"/>
                  </a:cubicBezTo>
                  <a:cubicBezTo>
                    <a:pt x="6" y="0"/>
                    <a:pt x="7" y="0"/>
                    <a:pt x="8" y="0"/>
                  </a:cubicBezTo>
                  <a:cubicBezTo>
                    <a:pt x="8" y="0"/>
                    <a:pt x="9" y="0"/>
                    <a:pt x="10" y="1"/>
                  </a:cubicBezTo>
                  <a:cubicBezTo>
                    <a:pt x="10" y="1"/>
                    <a:pt x="11" y="1"/>
                    <a:pt x="11" y="1"/>
                  </a:cubicBezTo>
                  <a:cubicBezTo>
                    <a:pt x="13" y="2"/>
                    <a:pt x="14" y="3"/>
                    <a:pt x="15" y="4"/>
                  </a:cubicBezTo>
                  <a:cubicBezTo>
                    <a:pt x="17" y="6"/>
                    <a:pt x="18" y="8"/>
                    <a:pt x="19" y="10"/>
                  </a:cubicBezTo>
                  <a:cubicBezTo>
                    <a:pt x="19" y="12"/>
                    <a:pt x="18" y="14"/>
                    <a:pt x="16" y="16"/>
                  </a:cubicBezTo>
                  <a:cubicBezTo>
                    <a:pt x="15" y="17"/>
                    <a:pt x="14" y="18"/>
                    <a:pt x="13" y="18"/>
                  </a:cubicBezTo>
                  <a:cubicBezTo>
                    <a:pt x="12" y="18"/>
                    <a:pt x="11" y="18"/>
                    <a:pt x="10" y="18"/>
                  </a:cubicBezTo>
                  <a:cubicBezTo>
                    <a:pt x="9" y="18"/>
                    <a:pt x="8" y="18"/>
                    <a:pt x="7" y="17"/>
                  </a:cubicBezTo>
                  <a:cubicBezTo>
                    <a:pt x="6" y="16"/>
                    <a:pt x="5" y="16"/>
                    <a:pt x="4" y="15"/>
                  </a:cubicBezTo>
                  <a:close/>
                  <a:moveTo>
                    <a:pt x="8" y="11"/>
                  </a:moveTo>
                  <a:cubicBezTo>
                    <a:pt x="10" y="13"/>
                    <a:pt x="11" y="14"/>
                    <a:pt x="12" y="14"/>
                  </a:cubicBezTo>
                  <a:cubicBezTo>
                    <a:pt x="13" y="14"/>
                    <a:pt x="13" y="14"/>
                    <a:pt x="14" y="14"/>
                  </a:cubicBezTo>
                  <a:cubicBezTo>
                    <a:pt x="14" y="13"/>
                    <a:pt x="14" y="13"/>
                    <a:pt x="14" y="12"/>
                  </a:cubicBezTo>
                  <a:cubicBezTo>
                    <a:pt x="14" y="12"/>
                    <a:pt x="14" y="11"/>
                    <a:pt x="14" y="10"/>
                  </a:cubicBezTo>
                  <a:cubicBezTo>
                    <a:pt x="13" y="10"/>
                    <a:pt x="13" y="9"/>
                    <a:pt x="11" y="8"/>
                  </a:cubicBezTo>
                  <a:cubicBezTo>
                    <a:pt x="10" y="6"/>
                    <a:pt x="8" y="5"/>
                    <a:pt x="8" y="5"/>
                  </a:cubicBezTo>
                  <a:cubicBezTo>
                    <a:pt x="7" y="4"/>
                    <a:pt x="6" y="5"/>
                    <a:pt x="5" y="5"/>
                  </a:cubicBezTo>
                  <a:cubicBezTo>
                    <a:pt x="5" y="6"/>
                    <a:pt x="5" y="6"/>
                    <a:pt x="5" y="7"/>
                  </a:cubicBezTo>
                  <a:cubicBezTo>
                    <a:pt x="5" y="8"/>
                    <a:pt x="6" y="9"/>
                    <a:pt x="8" y="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053" name="Freeform 29"/>
            <p:cNvSpPr>
              <a:spLocks/>
            </p:cNvSpPr>
            <p:nvPr/>
          </p:nvSpPr>
          <p:spPr bwMode="auto">
            <a:xfrm>
              <a:off x="1248" y="3335"/>
              <a:ext cx="81" cy="81"/>
            </a:xfrm>
            <a:custGeom>
              <a:avLst/>
              <a:gdLst>
                <a:gd name="T0" fmla="*/ 42 w 52"/>
                <a:gd name="T1" fmla="*/ 10 h 52"/>
                <a:gd name="T2" fmla="*/ 42 w 52"/>
                <a:gd name="T3" fmla="*/ 43 h 52"/>
                <a:gd name="T4" fmla="*/ 9 w 52"/>
                <a:gd name="T5" fmla="*/ 43 h 52"/>
                <a:gd name="T6" fmla="*/ 9 w 52"/>
                <a:gd name="T7" fmla="*/ 10 h 52"/>
                <a:gd name="T8" fmla="*/ 42 w 52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2">
                  <a:moveTo>
                    <a:pt x="42" y="10"/>
                  </a:moveTo>
                  <a:cubicBezTo>
                    <a:pt x="52" y="19"/>
                    <a:pt x="52" y="34"/>
                    <a:pt x="42" y="43"/>
                  </a:cubicBezTo>
                  <a:cubicBezTo>
                    <a:pt x="33" y="52"/>
                    <a:pt x="18" y="52"/>
                    <a:pt x="9" y="43"/>
                  </a:cubicBezTo>
                  <a:cubicBezTo>
                    <a:pt x="0" y="34"/>
                    <a:pt x="0" y="19"/>
                    <a:pt x="9" y="10"/>
                  </a:cubicBezTo>
                  <a:cubicBezTo>
                    <a:pt x="18" y="0"/>
                    <a:pt x="33" y="0"/>
                    <a:pt x="42" y="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054" name="Freeform 30"/>
            <p:cNvSpPr>
              <a:spLocks/>
            </p:cNvSpPr>
            <p:nvPr/>
          </p:nvSpPr>
          <p:spPr bwMode="auto">
            <a:xfrm>
              <a:off x="1486" y="3096"/>
              <a:ext cx="81" cy="81"/>
            </a:xfrm>
            <a:custGeom>
              <a:avLst/>
              <a:gdLst>
                <a:gd name="T0" fmla="*/ 42 w 52"/>
                <a:gd name="T1" fmla="*/ 10 h 52"/>
                <a:gd name="T2" fmla="*/ 42 w 52"/>
                <a:gd name="T3" fmla="*/ 43 h 52"/>
                <a:gd name="T4" fmla="*/ 9 w 52"/>
                <a:gd name="T5" fmla="*/ 43 h 52"/>
                <a:gd name="T6" fmla="*/ 9 w 52"/>
                <a:gd name="T7" fmla="*/ 10 h 52"/>
                <a:gd name="T8" fmla="*/ 42 w 52"/>
                <a:gd name="T9" fmla="*/ 1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2">
                  <a:moveTo>
                    <a:pt x="42" y="10"/>
                  </a:moveTo>
                  <a:cubicBezTo>
                    <a:pt x="52" y="19"/>
                    <a:pt x="52" y="34"/>
                    <a:pt x="42" y="43"/>
                  </a:cubicBezTo>
                  <a:cubicBezTo>
                    <a:pt x="33" y="52"/>
                    <a:pt x="18" y="52"/>
                    <a:pt x="9" y="43"/>
                  </a:cubicBezTo>
                  <a:cubicBezTo>
                    <a:pt x="0" y="34"/>
                    <a:pt x="0" y="19"/>
                    <a:pt x="9" y="10"/>
                  </a:cubicBezTo>
                  <a:cubicBezTo>
                    <a:pt x="18" y="0"/>
                    <a:pt x="33" y="0"/>
                    <a:pt x="42" y="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01393" name="Group 2059"/>
          <p:cNvGrpSpPr>
            <a:grpSpLocks/>
          </p:cNvGrpSpPr>
          <p:nvPr/>
        </p:nvGrpSpPr>
        <p:grpSpPr bwMode="auto">
          <a:xfrm>
            <a:off x="1443038" y="2454275"/>
            <a:ext cx="1038225" cy="839788"/>
            <a:chOff x="1434258" y="2419349"/>
            <a:chExt cx="1080341" cy="874713"/>
          </a:xfrm>
        </p:grpSpPr>
        <p:sp>
          <p:nvSpPr>
            <p:cNvPr id="2058" name="Freeform 35"/>
            <p:cNvSpPr>
              <a:spLocks noEditPoints="1"/>
            </p:cNvSpPr>
            <p:nvPr/>
          </p:nvSpPr>
          <p:spPr bwMode="auto">
            <a:xfrm>
              <a:off x="1434258" y="2419349"/>
              <a:ext cx="1080341" cy="874713"/>
            </a:xfrm>
            <a:custGeom>
              <a:avLst/>
              <a:gdLst>
                <a:gd name="T0" fmla="*/ 92 w 430"/>
                <a:gd name="T1" fmla="*/ 49 h 348"/>
                <a:gd name="T2" fmla="*/ 71 w 430"/>
                <a:gd name="T3" fmla="*/ 31 h 348"/>
                <a:gd name="T4" fmla="*/ 32 w 430"/>
                <a:gd name="T5" fmla="*/ 11 h 348"/>
                <a:gd name="T6" fmla="*/ 24 w 430"/>
                <a:gd name="T7" fmla="*/ 31 h 348"/>
                <a:gd name="T8" fmla="*/ 134 w 430"/>
                <a:gd name="T9" fmla="*/ 240 h 348"/>
                <a:gd name="T10" fmla="*/ 155 w 430"/>
                <a:gd name="T11" fmla="*/ 289 h 348"/>
                <a:gd name="T12" fmla="*/ 141 w 430"/>
                <a:gd name="T13" fmla="*/ 314 h 348"/>
                <a:gd name="T14" fmla="*/ 140 w 430"/>
                <a:gd name="T15" fmla="*/ 320 h 348"/>
                <a:gd name="T16" fmla="*/ 195 w 430"/>
                <a:gd name="T17" fmla="*/ 317 h 348"/>
                <a:gd name="T18" fmla="*/ 181 w 430"/>
                <a:gd name="T19" fmla="*/ 295 h 348"/>
                <a:gd name="T20" fmla="*/ 340 w 430"/>
                <a:gd name="T21" fmla="*/ 291 h 348"/>
                <a:gd name="T22" fmla="*/ 381 w 430"/>
                <a:gd name="T23" fmla="*/ 320 h 348"/>
                <a:gd name="T24" fmla="*/ 387 w 430"/>
                <a:gd name="T25" fmla="*/ 289 h 348"/>
                <a:gd name="T26" fmla="*/ 393 w 430"/>
                <a:gd name="T27" fmla="*/ 274 h 348"/>
                <a:gd name="T28" fmla="*/ 390 w 430"/>
                <a:gd name="T29" fmla="*/ 273 h 348"/>
                <a:gd name="T30" fmla="*/ 135 w 430"/>
                <a:gd name="T31" fmla="*/ 272 h 348"/>
                <a:gd name="T32" fmla="*/ 154 w 430"/>
                <a:gd name="T33" fmla="*/ 234 h 348"/>
                <a:gd name="T34" fmla="*/ 180 w 430"/>
                <a:gd name="T35" fmla="*/ 238 h 348"/>
                <a:gd name="T36" fmla="*/ 405 w 430"/>
                <a:gd name="T37" fmla="*/ 218 h 348"/>
                <a:gd name="T38" fmla="*/ 430 w 430"/>
                <a:gd name="T39" fmla="*/ 81 h 348"/>
                <a:gd name="T40" fmla="*/ 140 w 430"/>
                <a:gd name="T41" fmla="*/ 79 h 348"/>
                <a:gd name="T42" fmla="*/ 118 w 430"/>
                <a:gd name="T43" fmla="*/ 101 h 348"/>
                <a:gd name="T44" fmla="*/ 134 w 430"/>
                <a:gd name="T45" fmla="*/ 113 h 348"/>
                <a:gd name="T46" fmla="*/ 351 w 430"/>
                <a:gd name="T47" fmla="*/ 125 h 348"/>
                <a:gd name="T48" fmla="*/ 311 w 430"/>
                <a:gd name="T49" fmla="*/ 90 h 348"/>
                <a:gd name="T50" fmla="*/ 302 w 430"/>
                <a:gd name="T51" fmla="*/ 99 h 348"/>
                <a:gd name="T52" fmla="*/ 211 w 430"/>
                <a:gd name="T53" fmla="*/ 111 h 348"/>
                <a:gd name="T54" fmla="*/ 185 w 430"/>
                <a:gd name="T55" fmla="*/ 85 h 348"/>
                <a:gd name="T56" fmla="*/ 171 w 430"/>
                <a:gd name="T57" fmla="*/ 99 h 348"/>
                <a:gd name="T58" fmla="*/ 166 w 430"/>
                <a:gd name="T59" fmla="*/ 207 h 348"/>
                <a:gd name="T60" fmla="*/ 171 w 430"/>
                <a:gd name="T61" fmla="*/ 202 h 348"/>
                <a:gd name="T62" fmla="*/ 160 w 430"/>
                <a:gd name="T63" fmla="*/ 139 h 348"/>
                <a:gd name="T64" fmla="*/ 185 w 430"/>
                <a:gd name="T65" fmla="*/ 216 h 348"/>
                <a:gd name="T66" fmla="*/ 174 w 430"/>
                <a:gd name="T67" fmla="*/ 176 h 348"/>
                <a:gd name="T68" fmla="*/ 185 w 430"/>
                <a:gd name="T69" fmla="*/ 136 h 348"/>
                <a:gd name="T70" fmla="*/ 185 w 430"/>
                <a:gd name="T71" fmla="*/ 136 h 348"/>
                <a:gd name="T72" fmla="*/ 222 w 430"/>
                <a:gd name="T73" fmla="*/ 202 h 348"/>
                <a:gd name="T74" fmla="*/ 211 w 430"/>
                <a:gd name="T75" fmla="*/ 139 h 348"/>
                <a:gd name="T76" fmla="*/ 225 w 430"/>
                <a:gd name="T77" fmla="*/ 176 h 348"/>
                <a:gd name="T78" fmla="*/ 236 w 430"/>
                <a:gd name="T79" fmla="*/ 136 h 348"/>
                <a:gd name="T80" fmla="*/ 236 w 430"/>
                <a:gd name="T81" fmla="*/ 136 h 348"/>
                <a:gd name="T82" fmla="*/ 251 w 430"/>
                <a:gd name="T83" fmla="*/ 99 h 348"/>
                <a:gd name="T84" fmla="*/ 251 w 430"/>
                <a:gd name="T85" fmla="*/ 202 h 348"/>
                <a:gd name="T86" fmla="*/ 262 w 430"/>
                <a:gd name="T87" fmla="*/ 162 h 348"/>
                <a:gd name="T88" fmla="*/ 262 w 430"/>
                <a:gd name="T89" fmla="*/ 162 h 348"/>
                <a:gd name="T90" fmla="*/ 299 w 430"/>
                <a:gd name="T91" fmla="*/ 176 h 348"/>
                <a:gd name="T92" fmla="*/ 288 w 430"/>
                <a:gd name="T93" fmla="*/ 113 h 348"/>
                <a:gd name="T94" fmla="*/ 311 w 430"/>
                <a:gd name="T95" fmla="*/ 211 h 348"/>
                <a:gd name="T96" fmla="*/ 316 w 430"/>
                <a:gd name="T97" fmla="*/ 211 h 348"/>
                <a:gd name="T98" fmla="*/ 325 w 430"/>
                <a:gd name="T99" fmla="*/ 150 h 348"/>
                <a:gd name="T100" fmla="*/ 339 w 430"/>
                <a:gd name="T101" fmla="*/ 164 h 348"/>
                <a:gd name="T102" fmla="*/ 360 w 430"/>
                <a:gd name="T103" fmla="*/ 209 h 348"/>
                <a:gd name="T104" fmla="*/ 370 w 430"/>
                <a:gd name="T105" fmla="*/ 208 h 348"/>
                <a:gd name="T106" fmla="*/ 376 w 430"/>
                <a:gd name="T107" fmla="*/ 150 h 348"/>
                <a:gd name="T108" fmla="*/ 359 w 430"/>
                <a:gd name="T109" fmla="*/ 93 h 348"/>
                <a:gd name="T110" fmla="*/ 396 w 430"/>
                <a:gd name="T111" fmla="*/ 182 h 348"/>
                <a:gd name="T112" fmla="*/ 398 w 430"/>
                <a:gd name="T113" fmla="*/ 172 h 348"/>
                <a:gd name="T114" fmla="*/ 390 w 430"/>
                <a:gd name="T115" fmla="*/ 113 h 348"/>
                <a:gd name="T116" fmla="*/ 404 w 430"/>
                <a:gd name="T117" fmla="*/ 99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30" h="348">
                  <a:moveTo>
                    <a:pt x="430" y="81"/>
                  </a:moveTo>
                  <a:cubicBezTo>
                    <a:pt x="430" y="78"/>
                    <a:pt x="430" y="76"/>
                    <a:pt x="428" y="74"/>
                  </a:cubicBezTo>
                  <a:cubicBezTo>
                    <a:pt x="427" y="72"/>
                    <a:pt x="424" y="71"/>
                    <a:pt x="422" y="71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89" y="48"/>
                    <a:pt x="86" y="50"/>
                    <a:pt x="84" y="52"/>
                  </a:cubicBezTo>
                  <a:cubicBezTo>
                    <a:pt x="83" y="54"/>
                    <a:pt x="82" y="57"/>
                    <a:pt x="83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71" y="31"/>
                    <a:pt x="71" y="31"/>
                    <a:pt x="71" y="31"/>
                  </a:cubicBezTo>
                  <a:cubicBezTo>
                    <a:pt x="71" y="29"/>
                    <a:pt x="69" y="27"/>
                    <a:pt x="67" y="26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0" y="4"/>
                    <a:pt x="24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2"/>
                    <a:pt x="17" y="32"/>
                  </a:cubicBezTo>
                  <a:cubicBezTo>
                    <a:pt x="19" y="32"/>
                    <a:pt x="22" y="32"/>
                    <a:pt x="24" y="3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13" y="276"/>
                    <a:pt x="113" y="276"/>
                    <a:pt x="113" y="276"/>
                  </a:cubicBezTo>
                  <a:cubicBezTo>
                    <a:pt x="111" y="279"/>
                    <a:pt x="111" y="282"/>
                    <a:pt x="113" y="284"/>
                  </a:cubicBezTo>
                  <a:cubicBezTo>
                    <a:pt x="114" y="287"/>
                    <a:pt x="117" y="289"/>
                    <a:pt x="120" y="289"/>
                  </a:cubicBezTo>
                  <a:cubicBezTo>
                    <a:pt x="155" y="289"/>
                    <a:pt x="155" y="289"/>
                    <a:pt x="155" y="289"/>
                  </a:cubicBezTo>
                  <a:cubicBezTo>
                    <a:pt x="155" y="291"/>
                    <a:pt x="155" y="291"/>
                    <a:pt x="155" y="291"/>
                  </a:cubicBezTo>
                  <a:cubicBezTo>
                    <a:pt x="155" y="295"/>
                    <a:pt x="155" y="295"/>
                    <a:pt x="155" y="295"/>
                  </a:cubicBezTo>
                  <a:cubicBezTo>
                    <a:pt x="148" y="299"/>
                    <a:pt x="143" y="306"/>
                    <a:pt x="141" y="314"/>
                  </a:cubicBezTo>
                  <a:cubicBezTo>
                    <a:pt x="141" y="314"/>
                    <a:pt x="141" y="314"/>
                    <a:pt x="141" y="314"/>
                  </a:cubicBezTo>
                  <a:cubicBezTo>
                    <a:pt x="141" y="314"/>
                    <a:pt x="141" y="314"/>
                    <a:pt x="141" y="314"/>
                  </a:cubicBezTo>
                  <a:cubicBezTo>
                    <a:pt x="141" y="315"/>
                    <a:pt x="140" y="316"/>
                    <a:pt x="140" y="316"/>
                  </a:cubicBezTo>
                  <a:cubicBezTo>
                    <a:pt x="140" y="317"/>
                    <a:pt x="140" y="317"/>
                    <a:pt x="140" y="317"/>
                  </a:cubicBezTo>
                  <a:cubicBezTo>
                    <a:pt x="140" y="318"/>
                    <a:pt x="140" y="319"/>
                    <a:pt x="140" y="320"/>
                  </a:cubicBezTo>
                  <a:cubicBezTo>
                    <a:pt x="140" y="335"/>
                    <a:pt x="153" y="348"/>
                    <a:pt x="168" y="348"/>
                  </a:cubicBezTo>
                  <a:cubicBezTo>
                    <a:pt x="183" y="348"/>
                    <a:pt x="195" y="335"/>
                    <a:pt x="195" y="320"/>
                  </a:cubicBezTo>
                  <a:cubicBezTo>
                    <a:pt x="195" y="319"/>
                    <a:pt x="195" y="318"/>
                    <a:pt x="195" y="317"/>
                  </a:cubicBezTo>
                  <a:cubicBezTo>
                    <a:pt x="195" y="317"/>
                    <a:pt x="195" y="317"/>
                    <a:pt x="195" y="317"/>
                  </a:cubicBezTo>
                  <a:cubicBezTo>
                    <a:pt x="195" y="316"/>
                    <a:pt x="195" y="315"/>
                    <a:pt x="195" y="314"/>
                  </a:cubicBezTo>
                  <a:cubicBezTo>
                    <a:pt x="195" y="314"/>
                    <a:pt x="195" y="314"/>
                    <a:pt x="195" y="314"/>
                  </a:cubicBezTo>
                  <a:cubicBezTo>
                    <a:pt x="195" y="314"/>
                    <a:pt x="195" y="314"/>
                    <a:pt x="195" y="314"/>
                  </a:cubicBezTo>
                  <a:cubicBezTo>
                    <a:pt x="193" y="306"/>
                    <a:pt x="188" y="299"/>
                    <a:pt x="181" y="295"/>
                  </a:cubicBezTo>
                  <a:cubicBezTo>
                    <a:pt x="181" y="291"/>
                    <a:pt x="181" y="291"/>
                    <a:pt x="181" y="291"/>
                  </a:cubicBezTo>
                  <a:cubicBezTo>
                    <a:pt x="181" y="289"/>
                    <a:pt x="181" y="289"/>
                    <a:pt x="181" y="289"/>
                  </a:cubicBezTo>
                  <a:cubicBezTo>
                    <a:pt x="340" y="289"/>
                    <a:pt x="340" y="289"/>
                    <a:pt x="340" y="289"/>
                  </a:cubicBezTo>
                  <a:cubicBezTo>
                    <a:pt x="340" y="291"/>
                    <a:pt x="340" y="291"/>
                    <a:pt x="340" y="291"/>
                  </a:cubicBezTo>
                  <a:cubicBezTo>
                    <a:pt x="340" y="295"/>
                    <a:pt x="340" y="295"/>
                    <a:pt x="340" y="295"/>
                  </a:cubicBezTo>
                  <a:cubicBezTo>
                    <a:pt x="331" y="300"/>
                    <a:pt x="325" y="309"/>
                    <a:pt x="325" y="320"/>
                  </a:cubicBezTo>
                  <a:cubicBezTo>
                    <a:pt x="325" y="335"/>
                    <a:pt x="338" y="348"/>
                    <a:pt x="353" y="348"/>
                  </a:cubicBezTo>
                  <a:cubicBezTo>
                    <a:pt x="368" y="348"/>
                    <a:pt x="381" y="335"/>
                    <a:pt x="381" y="320"/>
                  </a:cubicBezTo>
                  <a:cubicBezTo>
                    <a:pt x="381" y="309"/>
                    <a:pt x="375" y="300"/>
                    <a:pt x="366" y="295"/>
                  </a:cubicBezTo>
                  <a:cubicBezTo>
                    <a:pt x="366" y="291"/>
                    <a:pt x="366" y="291"/>
                    <a:pt x="366" y="291"/>
                  </a:cubicBezTo>
                  <a:cubicBezTo>
                    <a:pt x="366" y="289"/>
                    <a:pt x="366" y="289"/>
                    <a:pt x="366" y="289"/>
                  </a:cubicBezTo>
                  <a:cubicBezTo>
                    <a:pt x="387" y="289"/>
                    <a:pt x="387" y="289"/>
                    <a:pt x="387" y="289"/>
                  </a:cubicBezTo>
                  <a:cubicBezTo>
                    <a:pt x="391" y="289"/>
                    <a:pt x="395" y="285"/>
                    <a:pt x="395" y="280"/>
                  </a:cubicBezTo>
                  <a:cubicBezTo>
                    <a:pt x="395" y="278"/>
                    <a:pt x="394" y="276"/>
                    <a:pt x="393" y="275"/>
                  </a:cubicBezTo>
                  <a:cubicBezTo>
                    <a:pt x="393" y="275"/>
                    <a:pt x="393" y="275"/>
                    <a:pt x="393" y="275"/>
                  </a:cubicBezTo>
                  <a:cubicBezTo>
                    <a:pt x="393" y="274"/>
                    <a:pt x="393" y="274"/>
                    <a:pt x="393" y="274"/>
                  </a:cubicBezTo>
                  <a:cubicBezTo>
                    <a:pt x="392" y="274"/>
                    <a:pt x="392" y="274"/>
                    <a:pt x="392" y="274"/>
                  </a:cubicBezTo>
                  <a:cubicBezTo>
                    <a:pt x="392" y="274"/>
                    <a:pt x="392" y="273"/>
                    <a:pt x="391" y="273"/>
                  </a:cubicBezTo>
                  <a:cubicBezTo>
                    <a:pt x="391" y="273"/>
                    <a:pt x="391" y="273"/>
                    <a:pt x="390" y="273"/>
                  </a:cubicBezTo>
                  <a:cubicBezTo>
                    <a:pt x="390" y="273"/>
                    <a:pt x="390" y="273"/>
                    <a:pt x="390" y="273"/>
                  </a:cubicBezTo>
                  <a:cubicBezTo>
                    <a:pt x="390" y="272"/>
                    <a:pt x="389" y="272"/>
                    <a:pt x="389" y="272"/>
                  </a:cubicBezTo>
                  <a:cubicBezTo>
                    <a:pt x="389" y="272"/>
                    <a:pt x="389" y="272"/>
                    <a:pt x="388" y="272"/>
                  </a:cubicBezTo>
                  <a:cubicBezTo>
                    <a:pt x="388" y="272"/>
                    <a:pt x="387" y="272"/>
                    <a:pt x="387" y="272"/>
                  </a:cubicBezTo>
                  <a:cubicBezTo>
                    <a:pt x="135" y="272"/>
                    <a:pt x="135" y="272"/>
                    <a:pt x="135" y="272"/>
                  </a:cubicBezTo>
                  <a:cubicBezTo>
                    <a:pt x="153" y="242"/>
                    <a:pt x="153" y="242"/>
                    <a:pt x="153" y="242"/>
                  </a:cubicBezTo>
                  <a:cubicBezTo>
                    <a:pt x="153" y="242"/>
                    <a:pt x="153" y="242"/>
                    <a:pt x="153" y="242"/>
                  </a:cubicBezTo>
                  <a:cubicBezTo>
                    <a:pt x="153" y="242"/>
                    <a:pt x="153" y="242"/>
                    <a:pt x="153" y="242"/>
                  </a:cubicBezTo>
                  <a:cubicBezTo>
                    <a:pt x="154" y="240"/>
                    <a:pt x="155" y="237"/>
                    <a:pt x="154" y="234"/>
                  </a:cubicBezTo>
                  <a:cubicBezTo>
                    <a:pt x="148" y="220"/>
                    <a:pt x="148" y="220"/>
                    <a:pt x="148" y="220"/>
                  </a:cubicBezTo>
                  <a:cubicBezTo>
                    <a:pt x="148" y="220"/>
                    <a:pt x="148" y="220"/>
                    <a:pt x="148" y="220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7" y="238"/>
                    <a:pt x="178" y="238"/>
                    <a:pt x="180" y="238"/>
                  </a:cubicBezTo>
                  <a:cubicBezTo>
                    <a:pt x="180" y="238"/>
                    <a:pt x="180" y="238"/>
                    <a:pt x="180" y="238"/>
                  </a:cubicBezTo>
                  <a:cubicBezTo>
                    <a:pt x="382" y="229"/>
                    <a:pt x="382" y="229"/>
                    <a:pt x="382" y="229"/>
                  </a:cubicBezTo>
                  <a:cubicBezTo>
                    <a:pt x="383" y="229"/>
                    <a:pt x="384" y="229"/>
                    <a:pt x="385" y="228"/>
                  </a:cubicBezTo>
                  <a:cubicBezTo>
                    <a:pt x="405" y="218"/>
                    <a:pt x="405" y="218"/>
                    <a:pt x="405" y="218"/>
                  </a:cubicBezTo>
                  <a:cubicBezTo>
                    <a:pt x="407" y="217"/>
                    <a:pt x="409" y="215"/>
                    <a:pt x="409" y="212"/>
                  </a:cubicBezTo>
                  <a:cubicBezTo>
                    <a:pt x="430" y="85"/>
                    <a:pt x="430" y="85"/>
                    <a:pt x="430" y="85"/>
                  </a:cubicBezTo>
                  <a:cubicBezTo>
                    <a:pt x="430" y="84"/>
                    <a:pt x="430" y="83"/>
                    <a:pt x="430" y="82"/>
                  </a:cubicBezTo>
                  <a:lnTo>
                    <a:pt x="430" y="81"/>
                  </a:lnTo>
                  <a:close/>
                  <a:moveTo>
                    <a:pt x="140" y="79"/>
                  </a:moveTo>
                  <a:cubicBezTo>
                    <a:pt x="134" y="85"/>
                    <a:pt x="134" y="85"/>
                    <a:pt x="134" y="85"/>
                  </a:cubicBezTo>
                  <a:cubicBezTo>
                    <a:pt x="127" y="78"/>
                    <a:pt x="127" y="78"/>
                    <a:pt x="127" y="78"/>
                  </a:cubicBezTo>
                  <a:lnTo>
                    <a:pt x="140" y="79"/>
                  </a:lnTo>
                  <a:close/>
                  <a:moveTo>
                    <a:pt x="118" y="101"/>
                  </a:moveTo>
                  <a:cubicBezTo>
                    <a:pt x="116" y="95"/>
                    <a:pt x="116" y="95"/>
                    <a:pt x="116" y="95"/>
                  </a:cubicBezTo>
                  <a:cubicBezTo>
                    <a:pt x="120" y="99"/>
                    <a:pt x="120" y="99"/>
                    <a:pt x="120" y="99"/>
                  </a:cubicBezTo>
                  <a:lnTo>
                    <a:pt x="118" y="101"/>
                  </a:lnTo>
                  <a:close/>
                  <a:moveTo>
                    <a:pt x="134" y="136"/>
                  </a:moveTo>
                  <a:cubicBezTo>
                    <a:pt x="131" y="134"/>
                    <a:pt x="131" y="134"/>
                    <a:pt x="131" y="134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34" y="113"/>
                    <a:pt x="134" y="113"/>
                    <a:pt x="134" y="113"/>
                  </a:cubicBezTo>
                  <a:cubicBezTo>
                    <a:pt x="145" y="125"/>
                    <a:pt x="145" y="125"/>
                    <a:pt x="145" y="125"/>
                  </a:cubicBezTo>
                  <a:lnTo>
                    <a:pt x="134" y="136"/>
                  </a:lnTo>
                  <a:close/>
                  <a:moveTo>
                    <a:pt x="339" y="113"/>
                  </a:moveTo>
                  <a:cubicBezTo>
                    <a:pt x="351" y="125"/>
                    <a:pt x="351" y="125"/>
                    <a:pt x="351" y="125"/>
                  </a:cubicBezTo>
                  <a:cubicBezTo>
                    <a:pt x="339" y="136"/>
                    <a:pt x="339" y="136"/>
                    <a:pt x="339" y="136"/>
                  </a:cubicBezTo>
                  <a:cubicBezTo>
                    <a:pt x="327" y="125"/>
                    <a:pt x="327" y="125"/>
                    <a:pt x="327" y="125"/>
                  </a:cubicBezTo>
                  <a:lnTo>
                    <a:pt x="339" y="113"/>
                  </a:lnTo>
                  <a:close/>
                  <a:moveTo>
                    <a:pt x="311" y="90"/>
                  </a:moveTo>
                  <a:cubicBezTo>
                    <a:pt x="316" y="90"/>
                    <a:pt x="316" y="90"/>
                    <a:pt x="316" y="90"/>
                  </a:cubicBezTo>
                  <a:cubicBezTo>
                    <a:pt x="325" y="99"/>
                    <a:pt x="325" y="99"/>
                    <a:pt x="325" y="99"/>
                  </a:cubicBezTo>
                  <a:cubicBezTo>
                    <a:pt x="313" y="111"/>
                    <a:pt x="313" y="111"/>
                    <a:pt x="313" y="111"/>
                  </a:cubicBezTo>
                  <a:cubicBezTo>
                    <a:pt x="302" y="99"/>
                    <a:pt x="302" y="99"/>
                    <a:pt x="302" y="99"/>
                  </a:cubicBezTo>
                  <a:lnTo>
                    <a:pt x="311" y="90"/>
                  </a:lnTo>
                  <a:close/>
                  <a:moveTo>
                    <a:pt x="211" y="87"/>
                  </a:moveTo>
                  <a:cubicBezTo>
                    <a:pt x="222" y="99"/>
                    <a:pt x="222" y="99"/>
                    <a:pt x="222" y="99"/>
                  </a:cubicBezTo>
                  <a:cubicBezTo>
                    <a:pt x="211" y="111"/>
                    <a:pt x="211" y="111"/>
                    <a:pt x="211" y="111"/>
                  </a:cubicBezTo>
                  <a:cubicBezTo>
                    <a:pt x="199" y="99"/>
                    <a:pt x="199" y="99"/>
                    <a:pt x="199" y="99"/>
                  </a:cubicBezTo>
                  <a:lnTo>
                    <a:pt x="211" y="87"/>
                  </a:lnTo>
                  <a:close/>
                  <a:moveTo>
                    <a:pt x="188" y="82"/>
                  </a:moveTo>
                  <a:cubicBezTo>
                    <a:pt x="185" y="85"/>
                    <a:pt x="185" y="85"/>
                    <a:pt x="185" y="85"/>
                  </a:cubicBezTo>
                  <a:cubicBezTo>
                    <a:pt x="182" y="81"/>
                    <a:pt x="182" y="81"/>
                    <a:pt x="182" y="81"/>
                  </a:cubicBezTo>
                  <a:lnTo>
                    <a:pt x="188" y="82"/>
                  </a:lnTo>
                  <a:close/>
                  <a:moveTo>
                    <a:pt x="160" y="87"/>
                  </a:moveTo>
                  <a:cubicBezTo>
                    <a:pt x="171" y="99"/>
                    <a:pt x="171" y="99"/>
                    <a:pt x="171" y="99"/>
                  </a:cubicBezTo>
                  <a:cubicBezTo>
                    <a:pt x="160" y="111"/>
                    <a:pt x="160" y="111"/>
                    <a:pt x="160" y="111"/>
                  </a:cubicBezTo>
                  <a:cubicBezTo>
                    <a:pt x="148" y="99"/>
                    <a:pt x="148" y="99"/>
                    <a:pt x="148" y="99"/>
                  </a:cubicBezTo>
                  <a:lnTo>
                    <a:pt x="160" y="87"/>
                  </a:lnTo>
                  <a:close/>
                  <a:moveTo>
                    <a:pt x="166" y="207"/>
                  </a:moveTo>
                  <a:cubicBezTo>
                    <a:pt x="159" y="203"/>
                    <a:pt x="159" y="203"/>
                    <a:pt x="159" y="203"/>
                  </a:cubicBezTo>
                  <a:cubicBezTo>
                    <a:pt x="156" y="194"/>
                    <a:pt x="156" y="194"/>
                    <a:pt x="156" y="194"/>
                  </a:cubicBezTo>
                  <a:cubicBezTo>
                    <a:pt x="160" y="190"/>
                    <a:pt x="160" y="190"/>
                    <a:pt x="160" y="190"/>
                  </a:cubicBezTo>
                  <a:cubicBezTo>
                    <a:pt x="171" y="202"/>
                    <a:pt x="171" y="202"/>
                    <a:pt x="171" y="202"/>
                  </a:cubicBezTo>
                  <a:lnTo>
                    <a:pt x="166" y="207"/>
                  </a:lnTo>
                  <a:close/>
                  <a:moveTo>
                    <a:pt x="160" y="162"/>
                  </a:moveTo>
                  <a:cubicBezTo>
                    <a:pt x="148" y="150"/>
                    <a:pt x="148" y="150"/>
                    <a:pt x="148" y="150"/>
                  </a:cubicBezTo>
                  <a:cubicBezTo>
                    <a:pt x="160" y="139"/>
                    <a:pt x="160" y="139"/>
                    <a:pt x="160" y="139"/>
                  </a:cubicBezTo>
                  <a:cubicBezTo>
                    <a:pt x="171" y="150"/>
                    <a:pt x="171" y="150"/>
                    <a:pt x="171" y="150"/>
                  </a:cubicBezTo>
                  <a:lnTo>
                    <a:pt x="160" y="162"/>
                  </a:lnTo>
                  <a:close/>
                  <a:moveTo>
                    <a:pt x="185" y="216"/>
                  </a:moveTo>
                  <a:cubicBezTo>
                    <a:pt x="185" y="216"/>
                    <a:pt x="185" y="216"/>
                    <a:pt x="185" y="216"/>
                  </a:cubicBezTo>
                  <a:cubicBezTo>
                    <a:pt x="186" y="216"/>
                    <a:pt x="186" y="216"/>
                    <a:pt x="186" y="216"/>
                  </a:cubicBezTo>
                  <a:lnTo>
                    <a:pt x="185" y="216"/>
                  </a:lnTo>
                  <a:close/>
                  <a:moveTo>
                    <a:pt x="185" y="188"/>
                  </a:moveTo>
                  <a:cubicBezTo>
                    <a:pt x="174" y="176"/>
                    <a:pt x="174" y="176"/>
                    <a:pt x="174" y="176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97" y="176"/>
                    <a:pt x="197" y="176"/>
                    <a:pt x="197" y="176"/>
                  </a:cubicBezTo>
                  <a:lnTo>
                    <a:pt x="185" y="188"/>
                  </a:lnTo>
                  <a:close/>
                  <a:moveTo>
                    <a:pt x="185" y="136"/>
                  </a:moveTo>
                  <a:cubicBezTo>
                    <a:pt x="174" y="125"/>
                    <a:pt x="174" y="125"/>
                    <a:pt x="174" y="125"/>
                  </a:cubicBezTo>
                  <a:cubicBezTo>
                    <a:pt x="185" y="113"/>
                    <a:pt x="185" y="113"/>
                    <a:pt x="185" y="113"/>
                  </a:cubicBezTo>
                  <a:cubicBezTo>
                    <a:pt x="197" y="125"/>
                    <a:pt x="197" y="125"/>
                    <a:pt x="197" y="125"/>
                  </a:cubicBezTo>
                  <a:lnTo>
                    <a:pt x="185" y="136"/>
                  </a:lnTo>
                  <a:close/>
                  <a:moveTo>
                    <a:pt x="211" y="213"/>
                  </a:moveTo>
                  <a:cubicBezTo>
                    <a:pt x="199" y="202"/>
                    <a:pt x="199" y="202"/>
                    <a:pt x="199" y="202"/>
                  </a:cubicBezTo>
                  <a:cubicBezTo>
                    <a:pt x="211" y="190"/>
                    <a:pt x="211" y="190"/>
                    <a:pt x="211" y="190"/>
                  </a:cubicBezTo>
                  <a:cubicBezTo>
                    <a:pt x="222" y="202"/>
                    <a:pt x="222" y="202"/>
                    <a:pt x="222" y="202"/>
                  </a:cubicBezTo>
                  <a:lnTo>
                    <a:pt x="211" y="213"/>
                  </a:lnTo>
                  <a:close/>
                  <a:moveTo>
                    <a:pt x="211" y="162"/>
                  </a:moveTo>
                  <a:cubicBezTo>
                    <a:pt x="199" y="150"/>
                    <a:pt x="199" y="150"/>
                    <a:pt x="199" y="150"/>
                  </a:cubicBezTo>
                  <a:cubicBezTo>
                    <a:pt x="211" y="139"/>
                    <a:pt x="211" y="139"/>
                    <a:pt x="211" y="139"/>
                  </a:cubicBezTo>
                  <a:cubicBezTo>
                    <a:pt x="222" y="150"/>
                    <a:pt x="222" y="150"/>
                    <a:pt x="222" y="150"/>
                  </a:cubicBezTo>
                  <a:lnTo>
                    <a:pt x="211" y="162"/>
                  </a:lnTo>
                  <a:close/>
                  <a:moveTo>
                    <a:pt x="236" y="188"/>
                  </a:moveTo>
                  <a:cubicBezTo>
                    <a:pt x="225" y="176"/>
                    <a:pt x="225" y="176"/>
                    <a:pt x="225" y="176"/>
                  </a:cubicBezTo>
                  <a:cubicBezTo>
                    <a:pt x="236" y="164"/>
                    <a:pt x="236" y="164"/>
                    <a:pt x="236" y="164"/>
                  </a:cubicBezTo>
                  <a:cubicBezTo>
                    <a:pt x="248" y="176"/>
                    <a:pt x="248" y="176"/>
                    <a:pt x="248" y="176"/>
                  </a:cubicBezTo>
                  <a:lnTo>
                    <a:pt x="236" y="188"/>
                  </a:lnTo>
                  <a:close/>
                  <a:moveTo>
                    <a:pt x="236" y="136"/>
                  </a:moveTo>
                  <a:cubicBezTo>
                    <a:pt x="225" y="125"/>
                    <a:pt x="225" y="125"/>
                    <a:pt x="225" y="125"/>
                  </a:cubicBezTo>
                  <a:cubicBezTo>
                    <a:pt x="236" y="113"/>
                    <a:pt x="236" y="113"/>
                    <a:pt x="236" y="113"/>
                  </a:cubicBezTo>
                  <a:cubicBezTo>
                    <a:pt x="248" y="125"/>
                    <a:pt x="248" y="125"/>
                    <a:pt x="248" y="125"/>
                  </a:cubicBezTo>
                  <a:lnTo>
                    <a:pt x="236" y="136"/>
                  </a:lnTo>
                  <a:close/>
                  <a:moveTo>
                    <a:pt x="262" y="87"/>
                  </a:moveTo>
                  <a:cubicBezTo>
                    <a:pt x="274" y="99"/>
                    <a:pt x="274" y="99"/>
                    <a:pt x="274" y="99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51" y="99"/>
                    <a:pt x="251" y="99"/>
                    <a:pt x="251" y="99"/>
                  </a:cubicBezTo>
                  <a:lnTo>
                    <a:pt x="262" y="87"/>
                  </a:lnTo>
                  <a:close/>
                  <a:moveTo>
                    <a:pt x="263" y="213"/>
                  </a:moveTo>
                  <a:cubicBezTo>
                    <a:pt x="262" y="213"/>
                    <a:pt x="262" y="213"/>
                    <a:pt x="262" y="213"/>
                  </a:cubicBezTo>
                  <a:cubicBezTo>
                    <a:pt x="251" y="202"/>
                    <a:pt x="251" y="202"/>
                    <a:pt x="251" y="202"/>
                  </a:cubicBezTo>
                  <a:cubicBezTo>
                    <a:pt x="262" y="190"/>
                    <a:pt x="262" y="190"/>
                    <a:pt x="262" y="190"/>
                  </a:cubicBezTo>
                  <a:cubicBezTo>
                    <a:pt x="274" y="202"/>
                    <a:pt x="274" y="202"/>
                    <a:pt x="274" y="202"/>
                  </a:cubicBezTo>
                  <a:lnTo>
                    <a:pt x="263" y="213"/>
                  </a:lnTo>
                  <a:close/>
                  <a:moveTo>
                    <a:pt x="262" y="162"/>
                  </a:moveTo>
                  <a:cubicBezTo>
                    <a:pt x="251" y="150"/>
                    <a:pt x="251" y="150"/>
                    <a:pt x="251" y="150"/>
                  </a:cubicBezTo>
                  <a:cubicBezTo>
                    <a:pt x="262" y="139"/>
                    <a:pt x="262" y="139"/>
                    <a:pt x="262" y="139"/>
                  </a:cubicBezTo>
                  <a:cubicBezTo>
                    <a:pt x="274" y="150"/>
                    <a:pt x="274" y="150"/>
                    <a:pt x="274" y="150"/>
                  </a:cubicBezTo>
                  <a:lnTo>
                    <a:pt x="262" y="162"/>
                  </a:lnTo>
                  <a:close/>
                  <a:moveTo>
                    <a:pt x="288" y="188"/>
                  </a:moveTo>
                  <a:cubicBezTo>
                    <a:pt x="276" y="176"/>
                    <a:pt x="276" y="176"/>
                    <a:pt x="276" y="176"/>
                  </a:cubicBezTo>
                  <a:cubicBezTo>
                    <a:pt x="288" y="164"/>
                    <a:pt x="288" y="164"/>
                    <a:pt x="288" y="164"/>
                  </a:cubicBezTo>
                  <a:cubicBezTo>
                    <a:pt x="299" y="176"/>
                    <a:pt x="299" y="176"/>
                    <a:pt x="299" y="176"/>
                  </a:cubicBezTo>
                  <a:lnTo>
                    <a:pt x="288" y="188"/>
                  </a:lnTo>
                  <a:close/>
                  <a:moveTo>
                    <a:pt x="288" y="136"/>
                  </a:moveTo>
                  <a:cubicBezTo>
                    <a:pt x="276" y="125"/>
                    <a:pt x="276" y="125"/>
                    <a:pt x="276" y="125"/>
                  </a:cubicBezTo>
                  <a:cubicBezTo>
                    <a:pt x="288" y="113"/>
                    <a:pt x="288" y="113"/>
                    <a:pt x="288" y="113"/>
                  </a:cubicBezTo>
                  <a:cubicBezTo>
                    <a:pt x="299" y="125"/>
                    <a:pt x="299" y="125"/>
                    <a:pt x="299" y="125"/>
                  </a:cubicBezTo>
                  <a:lnTo>
                    <a:pt x="288" y="136"/>
                  </a:lnTo>
                  <a:close/>
                  <a:moveTo>
                    <a:pt x="316" y="211"/>
                  </a:moveTo>
                  <a:cubicBezTo>
                    <a:pt x="311" y="211"/>
                    <a:pt x="311" y="211"/>
                    <a:pt x="311" y="211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13" y="190"/>
                    <a:pt x="313" y="190"/>
                    <a:pt x="313" y="190"/>
                  </a:cubicBezTo>
                  <a:cubicBezTo>
                    <a:pt x="325" y="202"/>
                    <a:pt x="325" y="202"/>
                    <a:pt x="325" y="202"/>
                  </a:cubicBezTo>
                  <a:lnTo>
                    <a:pt x="316" y="211"/>
                  </a:lnTo>
                  <a:close/>
                  <a:moveTo>
                    <a:pt x="313" y="162"/>
                  </a:moveTo>
                  <a:cubicBezTo>
                    <a:pt x="302" y="150"/>
                    <a:pt x="302" y="150"/>
                    <a:pt x="302" y="150"/>
                  </a:cubicBezTo>
                  <a:cubicBezTo>
                    <a:pt x="313" y="139"/>
                    <a:pt x="313" y="139"/>
                    <a:pt x="313" y="139"/>
                  </a:cubicBezTo>
                  <a:cubicBezTo>
                    <a:pt x="325" y="150"/>
                    <a:pt x="325" y="150"/>
                    <a:pt x="325" y="150"/>
                  </a:cubicBezTo>
                  <a:lnTo>
                    <a:pt x="313" y="162"/>
                  </a:lnTo>
                  <a:close/>
                  <a:moveTo>
                    <a:pt x="339" y="188"/>
                  </a:moveTo>
                  <a:cubicBezTo>
                    <a:pt x="327" y="176"/>
                    <a:pt x="327" y="176"/>
                    <a:pt x="327" y="176"/>
                  </a:cubicBezTo>
                  <a:cubicBezTo>
                    <a:pt x="339" y="164"/>
                    <a:pt x="339" y="164"/>
                    <a:pt x="339" y="164"/>
                  </a:cubicBezTo>
                  <a:cubicBezTo>
                    <a:pt x="351" y="176"/>
                    <a:pt x="351" y="176"/>
                    <a:pt x="351" y="176"/>
                  </a:cubicBezTo>
                  <a:lnTo>
                    <a:pt x="339" y="188"/>
                  </a:lnTo>
                  <a:close/>
                  <a:moveTo>
                    <a:pt x="370" y="208"/>
                  </a:moveTo>
                  <a:cubicBezTo>
                    <a:pt x="360" y="209"/>
                    <a:pt x="360" y="209"/>
                    <a:pt x="360" y="209"/>
                  </a:cubicBezTo>
                  <a:cubicBezTo>
                    <a:pt x="353" y="202"/>
                    <a:pt x="353" y="202"/>
                    <a:pt x="353" y="202"/>
                  </a:cubicBezTo>
                  <a:cubicBezTo>
                    <a:pt x="365" y="190"/>
                    <a:pt x="365" y="190"/>
                    <a:pt x="365" y="190"/>
                  </a:cubicBezTo>
                  <a:cubicBezTo>
                    <a:pt x="376" y="202"/>
                    <a:pt x="376" y="202"/>
                    <a:pt x="376" y="202"/>
                  </a:cubicBezTo>
                  <a:lnTo>
                    <a:pt x="370" y="208"/>
                  </a:lnTo>
                  <a:close/>
                  <a:moveTo>
                    <a:pt x="365" y="162"/>
                  </a:moveTo>
                  <a:cubicBezTo>
                    <a:pt x="353" y="150"/>
                    <a:pt x="353" y="150"/>
                    <a:pt x="353" y="150"/>
                  </a:cubicBezTo>
                  <a:cubicBezTo>
                    <a:pt x="365" y="139"/>
                    <a:pt x="365" y="139"/>
                    <a:pt x="365" y="139"/>
                  </a:cubicBezTo>
                  <a:cubicBezTo>
                    <a:pt x="376" y="150"/>
                    <a:pt x="376" y="150"/>
                    <a:pt x="376" y="150"/>
                  </a:cubicBezTo>
                  <a:lnTo>
                    <a:pt x="365" y="162"/>
                  </a:lnTo>
                  <a:close/>
                  <a:moveTo>
                    <a:pt x="365" y="111"/>
                  </a:moveTo>
                  <a:cubicBezTo>
                    <a:pt x="353" y="99"/>
                    <a:pt x="353" y="99"/>
                    <a:pt x="353" y="99"/>
                  </a:cubicBezTo>
                  <a:cubicBezTo>
                    <a:pt x="359" y="93"/>
                    <a:pt x="359" y="93"/>
                    <a:pt x="359" y="93"/>
                  </a:cubicBezTo>
                  <a:cubicBezTo>
                    <a:pt x="371" y="94"/>
                    <a:pt x="371" y="94"/>
                    <a:pt x="371" y="94"/>
                  </a:cubicBezTo>
                  <a:cubicBezTo>
                    <a:pt x="376" y="99"/>
                    <a:pt x="376" y="99"/>
                    <a:pt x="376" y="99"/>
                  </a:cubicBezTo>
                  <a:lnTo>
                    <a:pt x="365" y="111"/>
                  </a:lnTo>
                  <a:close/>
                  <a:moveTo>
                    <a:pt x="396" y="182"/>
                  </a:moveTo>
                  <a:cubicBezTo>
                    <a:pt x="390" y="188"/>
                    <a:pt x="390" y="188"/>
                    <a:pt x="390" y="188"/>
                  </a:cubicBezTo>
                  <a:cubicBezTo>
                    <a:pt x="379" y="176"/>
                    <a:pt x="379" y="176"/>
                    <a:pt x="379" y="176"/>
                  </a:cubicBezTo>
                  <a:cubicBezTo>
                    <a:pt x="390" y="164"/>
                    <a:pt x="390" y="164"/>
                    <a:pt x="390" y="164"/>
                  </a:cubicBezTo>
                  <a:cubicBezTo>
                    <a:pt x="398" y="172"/>
                    <a:pt x="398" y="172"/>
                    <a:pt x="398" y="172"/>
                  </a:cubicBezTo>
                  <a:lnTo>
                    <a:pt x="396" y="182"/>
                  </a:lnTo>
                  <a:close/>
                  <a:moveTo>
                    <a:pt x="390" y="136"/>
                  </a:moveTo>
                  <a:cubicBezTo>
                    <a:pt x="379" y="125"/>
                    <a:pt x="379" y="125"/>
                    <a:pt x="379" y="125"/>
                  </a:cubicBezTo>
                  <a:cubicBezTo>
                    <a:pt x="390" y="113"/>
                    <a:pt x="390" y="113"/>
                    <a:pt x="390" y="113"/>
                  </a:cubicBezTo>
                  <a:cubicBezTo>
                    <a:pt x="402" y="125"/>
                    <a:pt x="402" y="125"/>
                    <a:pt x="402" y="125"/>
                  </a:cubicBezTo>
                  <a:lnTo>
                    <a:pt x="390" y="136"/>
                  </a:lnTo>
                  <a:close/>
                  <a:moveTo>
                    <a:pt x="409" y="103"/>
                  </a:moveTo>
                  <a:cubicBezTo>
                    <a:pt x="404" y="99"/>
                    <a:pt x="404" y="99"/>
                    <a:pt x="404" y="99"/>
                  </a:cubicBezTo>
                  <a:cubicBezTo>
                    <a:pt x="407" y="96"/>
                    <a:pt x="407" y="96"/>
                    <a:pt x="407" y="96"/>
                  </a:cubicBezTo>
                  <a:cubicBezTo>
                    <a:pt x="410" y="97"/>
                    <a:pt x="410" y="97"/>
                    <a:pt x="410" y="97"/>
                  </a:cubicBezTo>
                  <a:lnTo>
                    <a:pt x="409" y="10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1406" name="Oval 2058"/>
            <p:cNvSpPr>
              <a:spLocks noChangeArrowheads="1"/>
            </p:cNvSpPr>
            <p:nvPr/>
          </p:nvSpPr>
          <p:spPr bwMode="auto">
            <a:xfrm>
              <a:off x="1804624" y="3174940"/>
              <a:ext cx="108186" cy="108186"/>
            </a:xfrm>
            <a:prstGeom prst="ellipse">
              <a:avLst/>
            </a:prstGeom>
            <a:noFill/>
            <a:ln w="38100" algn="ctr">
              <a:solidFill>
                <a:schemeClr val="tx2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1407" name="Oval 108"/>
            <p:cNvSpPr>
              <a:spLocks noChangeArrowheads="1"/>
            </p:cNvSpPr>
            <p:nvPr/>
          </p:nvSpPr>
          <p:spPr bwMode="auto">
            <a:xfrm>
              <a:off x="2268174" y="3174943"/>
              <a:ext cx="108186" cy="108186"/>
            </a:xfrm>
            <a:prstGeom prst="ellipse">
              <a:avLst/>
            </a:prstGeom>
            <a:noFill/>
            <a:ln w="38100" algn="ctr">
              <a:solidFill>
                <a:schemeClr val="tx2"/>
              </a:solidFill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01396" name="Freeform 6"/>
          <p:cNvSpPr>
            <a:spLocks/>
          </p:cNvSpPr>
          <p:nvPr/>
        </p:nvSpPr>
        <p:spPr bwMode="auto">
          <a:xfrm>
            <a:off x="4202113" y="1504950"/>
            <a:ext cx="217487" cy="1006475"/>
          </a:xfrm>
          <a:custGeom>
            <a:avLst/>
            <a:gdLst>
              <a:gd name="T0" fmla="*/ 402 w 402"/>
              <a:gd name="T1" fmla="*/ 2287 h 2287"/>
              <a:gd name="T2" fmla="*/ 0 w 402"/>
              <a:gd name="T3" fmla="*/ 2287 h 2287"/>
              <a:gd name="T4" fmla="*/ 0 w 402"/>
              <a:gd name="T5" fmla="*/ 0 h 2287"/>
              <a:gd name="T6" fmla="*/ 402 w 402"/>
              <a:gd name="T7" fmla="*/ 0 h 2287"/>
              <a:gd name="T8" fmla="*/ 0 60000 65536"/>
              <a:gd name="T9" fmla="*/ 0 60000 65536"/>
              <a:gd name="T10" fmla="*/ 0 60000 65536"/>
              <a:gd name="T11" fmla="*/ 0 60000 65536"/>
              <a:gd name="T12" fmla="*/ 0 w 402"/>
              <a:gd name="T13" fmla="*/ 0 h 2287"/>
              <a:gd name="T14" fmla="*/ 402 w 402"/>
              <a:gd name="T15" fmla="*/ 2287 h 228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02" h="2287">
                <a:moveTo>
                  <a:pt x="402" y="2287"/>
                </a:moveTo>
                <a:lnTo>
                  <a:pt x="0" y="2287"/>
                </a:lnTo>
                <a:lnTo>
                  <a:pt x="0" y="0"/>
                </a:lnTo>
                <a:lnTo>
                  <a:pt x="402" y="0"/>
                </a:lnTo>
              </a:path>
            </a:pathLst>
          </a:custGeom>
          <a:noFill/>
          <a:ln w="12700" cap="flat">
            <a:solidFill>
              <a:schemeClr val="accent2"/>
            </a:solidFill>
            <a:prstDash val="sysDot"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6" name="Freeform 6"/>
          <p:cNvSpPr>
            <a:spLocks/>
          </p:cNvSpPr>
          <p:nvPr/>
        </p:nvSpPr>
        <p:spPr bwMode="auto">
          <a:xfrm>
            <a:off x="4202113" y="2647950"/>
            <a:ext cx="217487" cy="868363"/>
          </a:xfrm>
          <a:custGeom>
            <a:avLst/>
            <a:gdLst/>
            <a:ahLst/>
            <a:cxnLst>
              <a:cxn ang="0">
                <a:pos x="402" y="2287"/>
              </a:cxn>
              <a:cxn ang="0">
                <a:pos x="0" y="2287"/>
              </a:cxn>
              <a:cxn ang="0">
                <a:pos x="0" y="0"/>
              </a:cxn>
              <a:cxn ang="0">
                <a:pos x="402" y="0"/>
              </a:cxn>
            </a:cxnLst>
            <a:rect l="0" t="0" r="r" b="b"/>
            <a:pathLst>
              <a:path w="402" h="2287">
                <a:moveTo>
                  <a:pt x="402" y="2287"/>
                </a:moveTo>
                <a:lnTo>
                  <a:pt x="0" y="2287"/>
                </a:lnTo>
                <a:lnTo>
                  <a:pt x="0" y="0"/>
                </a:lnTo>
                <a:lnTo>
                  <a:pt x="402" y="0"/>
                </a:lnTo>
              </a:path>
            </a:pathLst>
          </a:custGeom>
          <a:noFill/>
          <a:ln w="12700" cap="flat">
            <a:solidFill>
              <a:schemeClr val="accent3"/>
            </a:solidFill>
            <a:prstDash val="sysDot"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1398" name="Freeform 6"/>
          <p:cNvSpPr>
            <a:spLocks/>
          </p:cNvSpPr>
          <p:nvPr/>
        </p:nvSpPr>
        <p:spPr bwMode="auto">
          <a:xfrm>
            <a:off x="4202113" y="3663950"/>
            <a:ext cx="217487" cy="1006475"/>
          </a:xfrm>
          <a:custGeom>
            <a:avLst/>
            <a:gdLst>
              <a:gd name="T0" fmla="*/ 402 w 402"/>
              <a:gd name="T1" fmla="*/ 2287 h 2287"/>
              <a:gd name="T2" fmla="*/ 0 w 402"/>
              <a:gd name="T3" fmla="*/ 2287 h 2287"/>
              <a:gd name="T4" fmla="*/ 0 w 402"/>
              <a:gd name="T5" fmla="*/ 0 h 2287"/>
              <a:gd name="T6" fmla="*/ 402 w 402"/>
              <a:gd name="T7" fmla="*/ 0 h 2287"/>
              <a:gd name="T8" fmla="*/ 0 60000 65536"/>
              <a:gd name="T9" fmla="*/ 0 60000 65536"/>
              <a:gd name="T10" fmla="*/ 0 60000 65536"/>
              <a:gd name="T11" fmla="*/ 0 60000 65536"/>
              <a:gd name="T12" fmla="*/ 0 w 402"/>
              <a:gd name="T13" fmla="*/ 0 h 2287"/>
              <a:gd name="T14" fmla="*/ 402 w 402"/>
              <a:gd name="T15" fmla="*/ 2287 h 228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02" h="2287">
                <a:moveTo>
                  <a:pt x="402" y="2287"/>
                </a:moveTo>
                <a:lnTo>
                  <a:pt x="0" y="2287"/>
                </a:lnTo>
                <a:lnTo>
                  <a:pt x="0" y="0"/>
                </a:lnTo>
                <a:lnTo>
                  <a:pt x="402" y="0"/>
                </a:lnTo>
              </a:path>
            </a:pathLst>
          </a:custGeom>
          <a:noFill/>
          <a:ln w="12700" cap="flat">
            <a:solidFill>
              <a:schemeClr val="accent1"/>
            </a:solidFill>
            <a:prstDash val="sysDot"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9" name="Freeform 6"/>
          <p:cNvSpPr>
            <a:spLocks/>
          </p:cNvSpPr>
          <p:nvPr/>
        </p:nvSpPr>
        <p:spPr bwMode="auto">
          <a:xfrm>
            <a:off x="4202113" y="4806950"/>
            <a:ext cx="217487" cy="822325"/>
          </a:xfrm>
          <a:custGeom>
            <a:avLst/>
            <a:gdLst/>
            <a:ahLst/>
            <a:cxnLst>
              <a:cxn ang="0">
                <a:pos x="402" y="2287"/>
              </a:cxn>
              <a:cxn ang="0">
                <a:pos x="0" y="2287"/>
              </a:cxn>
              <a:cxn ang="0">
                <a:pos x="0" y="0"/>
              </a:cxn>
              <a:cxn ang="0">
                <a:pos x="402" y="0"/>
              </a:cxn>
            </a:cxnLst>
            <a:rect l="0" t="0" r="r" b="b"/>
            <a:pathLst>
              <a:path w="402" h="2287">
                <a:moveTo>
                  <a:pt x="402" y="2287"/>
                </a:moveTo>
                <a:lnTo>
                  <a:pt x="0" y="2287"/>
                </a:lnTo>
                <a:lnTo>
                  <a:pt x="0" y="0"/>
                </a:lnTo>
                <a:lnTo>
                  <a:pt x="402" y="0"/>
                </a:lnTo>
              </a:path>
            </a:pathLst>
          </a:custGeom>
          <a:noFill/>
          <a:ln w="12700" cap="flat">
            <a:solidFill>
              <a:schemeClr val="accent4"/>
            </a:solidFill>
            <a:prstDash val="sysDot"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54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50150841"/>
              </p:ext>
            </p:extLst>
          </p:nvPr>
        </p:nvGraphicFramePr>
        <p:xfrm>
          <a:off x="4242817" y="1511809"/>
          <a:ext cx="4443984" cy="42412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55" name="Group 55"/>
          <p:cNvGrpSpPr>
            <a:grpSpLocks noChangeAspect="1"/>
          </p:cNvGrpSpPr>
          <p:nvPr/>
        </p:nvGrpSpPr>
        <p:grpSpPr bwMode="auto">
          <a:xfrm>
            <a:off x="1498750" y="1736724"/>
            <a:ext cx="1092050" cy="549275"/>
            <a:chOff x="952" y="1104"/>
            <a:chExt cx="696" cy="338"/>
          </a:xfrm>
        </p:grpSpPr>
        <p:sp>
          <p:nvSpPr>
            <p:cNvPr id="57" name="Freeform 57"/>
            <p:cNvSpPr>
              <a:spLocks noEditPoints="1"/>
            </p:cNvSpPr>
            <p:nvPr/>
          </p:nvSpPr>
          <p:spPr bwMode="auto">
            <a:xfrm>
              <a:off x="1028" y="1116"/>
              <a:ext cx="491" cy="326"/>
            </a:xfrm>
            <a:custGeom>
              <a:avLst/>
              <a:gdLst>
                <a:gd name="T0" fmla="*/ 120 w 208"/>
                <a:gd name="T1" fmla="*/ 136 h 138"/>
                <a:gd name="T2" fmla="*/ 96 w 208"/>
                <a:gd name="T3" fmla="*/ 128 h 138"/>
                <a:gd name="T4" fmla="*/ 17 w 208"/>
                <a:gd name="T5" fmla="*/ 87 h 138"/>
                <a:gd name="T6" fmla="*/ 8 w 208"/>
                <a:gd name="T7" fmla="*/ 81 h 138"/>
                <a:gd name="T8" fmla="*/ 4 w 208"/>
                <a:gd name="T9" fmla="*/ 0 h 138"/>
                <a:gd name="T10" fmla="*/ 24 w 208"/>
                <a:gd name="T11" fmla="*/ 9 h 138"/>
                <a:gd name="T12" fmla="*/ 38 w 208"/>
                <a:gd name="T13" fmla="*/ 12 h 138"/>
                <a:gd name="T14" fmla="*/ 51 w 208"/>
                <a:gd name="T15" fmla="*/ 13 h 138"/>
                <a:gd name="T16" fmla="*/ 85 w 208"/>
                <a:gd name="T17" fmla="*/ 2 h 138"/>
                <a:gd name="T18" fmla="*/ 197 w 208"/>
                <a:gd name="T19" fmla="*/ 71 h 138"/>
                <a:gd name="T20" fmla="*/ 187 w 208"/>
                <a:gd name="T21" fmla="*/ 102 h 138"/>
                <a:gd name="T22" fmla="*/ 170 w 208"/>
                <a:gd name="T23" fmla="*/ 117 h 138"/>
                <a:gd name="T24" fmla="*/ 164 w 208"/>
                <a:gd name="T25" fmla="*/ 123 h 138"/>
                <a:gd name="T26" fmla="*/ 146 w 208"/>
                <a:gd name="T27" fmla="*/ 129 h 138"/>
                <a:gd name="T28" fmla="*/ 143 w 208"/>
                <a:gd name="T29" fmla="*/ 127 h 138"/>
                <a:gd name="T30" fmla="*/ 129 w 208"/>
                <a:gd name="T31" fmla="*/ 138 h 138"/>
                <a:gd name="T32" fmla="*/ 103 w 208"/>
                <a:gd name="T33" fmla="*/ 120 h 138"/>
                <a:gd name="T34" fmla="*/ 129 w 208"/>
                <a:gd name="T35" fmla="*/ 130 h 138"/>
                <a:gd name="T36" fmla="*/ 135 w 208"/>
                <a:gd name="T37" fmla="*/ 113 h 138"/>
                <a:gd name="T38" fmla="*/ 151 w 208"/>
                <a:gd name="T39" fmla="*/ 122 h 138"/>
                <a:gd name="T40" fmla="*/ 158 w 208"/>
                <a:gd name="T41" fmla="*/ 118 h 138"/>
                <a:gd name="T42" fmla="*/ 158 w 208"/>
                <a:gd name="T43" fmla="*/ 104 h 138"/>
                <a:gd name="T44" fmla="*/ 170 w 208"/>
                <a:gd name="T45" fmla="*/ 109 h 138"/>
                <a:gd name="T46" fmla="*/ 179 w 208"/>
                <a:gd name="T47" fmla="*/ 98 h 138"/>
                <a:gd name="T48" fmla="*/ 184 w 208"/>
                <a:gd name="T49" fmla="*/ 94 h 138"/>
                <a:gd name="T50" fmla="*/ 194 w 208"/>
                <a:gd name="T51" fmla="*/ 90 h 138"/>
                <a:gd name="T52" fmla="*/ 192 w 208"/>
                <a:gd name="T53" fmla="*/ 77 h 138"/>
                <a:gd name="T54" fmla="*/ 84 w 208"/>
                <a:gd name="T55" fmla="*/ 10 h 138"/>
                <a:gd name="T56" fmla="*/ 56 w 208"/>
                <a:gd name="T57" fmla="*/ 20 h 138"/>
                <a:gd name="T58" fmla="*/ 35 w 208"/>
                <a:gd name="T59" fmla="*/ 19 h 138"/>
                <a:gd name="T60" fmla="*/ 30 w 208"/>
                <a:gd name="T61" fmla="*/ 20 h 138"/>
                <a:gd name="T62" fmla="*/ 12 w 208"/>
                <a:gd name="T63" fmla="*/ 13 h 138"/>
                <a:gd name="T64" fmla="*/ 17 w 208"/>
                <a:gd name="T65" fmla="*/ 76 h 138"/>
                <a:gd name="T66" fmla="*/ 21 w 208"/>
                <a:gd name="T67" fmla="*/ 80 h 138"/>
                <a:gd name="T68" fmla="*/ 42 w 208"/>
                <a:gd name="T69" fmla="*/ 90 h 138"/>
                <a:gd name="T70" fmla="*/ 100 w 208"/>
                <a:gd name="T71" fmla="*/ 12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08" h="138">
                  <a:moveTo>
                    <a:pt x="129" y="138"/>
                  </a:moveTo>
                  <a:cubicBezTo>
                    <a:pt x="128" y="138"/>
                    <a:pt x="125" y="138"/>
                    <a:pt x="120" y="136"/>
                  </a:cubicBezTo>
                  <a:cubicBezTo>
                    <a:pt x="102" y="128"/>
                    <a:pt x="102" y="128"/>
                    <a:pt x="102" y="128"/>
                  </a:cubicBezTo>
                  <a:cubicBezTo>
                    <a:pt x="100" y="128"/>
                    <a:pt x="99" y="128"/>
                    <a:pt x="96" y="128"/>
                  </a:cubicBezTo>
                  <a:cubicBezTo>
                    <a:pt x="87" y="128"/>
                    <a:pt x="67" y="124"/>
                    <a:pt x="37" y="96"/>
                  </a:cubicBezTo>
                  <a:cubicBezTo>
                    <a:pt x="33" y="95"/>
                    <a:pt x="19" y="88"/>
                    <a:pt x="17" y="87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8" y="81"/>
                    <a:pt x="8" y="81"/>
                    <a:pt x="8" y="81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6" y="6"/>
                    <a:pt x="24" y="9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8" y="12"/>
                    <a:pt x="43" y="14"/>
                    <a:pt x="47" y="14"/>
                  </a:cubicBezTo>
                  <a:cubicBezTo>
                    <a:pt x="49" y="14"/>
                    <a:pt x="50" y="14"/>
                    <a:pt x="51" y="13"/>
                  </a:cubicBezTo>
                  <a:cubicBezTo>
                    <a:pt x="53" y="12"/>
                    <a:pt x="68" y="2"/>
                    <a:pt x="82" y="2"/>
                  </a:cubicBezTo>
                  <a:cubicBezTo>
                    <a:pt x="83" y="2"/>
                    <a:pt x="84" y="2"/>
                    <a:pt x="85" y="2"/>
                  </a:cubicBezTo>
                  <a:cubicBezTo>
                    <a:pt x="107" y="5"/>
                    <a:pt x="107" y="5"/>
                    <a:pt x="107" y="5"/>
                  </a:cubicBezTo>
                  <a:cubicBezTo>
                    <a:pt x="197" y="71"/>
                    <a:pt x="197" y="71"/>
                    <a:pt x="197" y="71"/>
                  </a:cubicBezTo>
                  <a:cubicBezTo>
                    <a:pt x="201" y="75"/>
                    <a:pt x="208" y="85"/>
                    <a:pt x="200" y="94"/>
                  </a:cubicBezTo>
                  <a:cubicBezTo>
                    <a:pt x="199" y="96"/>
                    <a:pt x="195" y="102"/>
                    <a:pt x="187" y="102"/>
                  </a:cubicBezTo>
                  <a:cubicBezTo>
                    <a:pt x="186" y="105"/>
                    <a:pt x="185" y="109"/>
                    <a:pt x="182" y="112"/>
                  </a:cubicBezTo>
                  <a:cubicBezTo>
                    <a:pt x="181" y="113"/>
                    <a:pt x="177" y="117"/>
                    <a:pt x="170" y="117"/>
                  </a:cubicBezTo>
                  <a:cubicBezTo>
                    <a:pt x="169" y="117"/>
                    <a:pt x="168" y="117"/>
                    <a:pt x="167" y="117"/>
                  </a:cubicBezTo>
                  <a:cubicBezTo>
                    <a:pt x="167" y="119"/>
                    <a:pt x="166" y="121"/>
                    <a:pt x="164" y="123"/>
                  </a:cubicBezTo>
                  <a:cubicBezTo>
                    <a:pt x="163" y="125"/>
                    <a:pt x="159" y="130"/>
                    <a:pt x="151" y="130"/>
                  </a:cubicBezTo>
                  <a:cubicBezTo>
                    <a:pt x="150" y="130"/>
                    <a:pt x="148" y="130"/>
                    <a:pt x="146" y="129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3" y="127"/>
                    <a:pt x="143" y="127"/>
                    <a:pt x="143" y="127"/>
                  </a:cubicBezTo>
                  <a:cubicBezTo>
                    <a:pt x="142" y="132"/>
                    <a:pt x="138" y="136"/>
                    <a:pt x="130" y="138"/>
                  </a:cubicBezTo>
                  <a:lnTo>
                    <a:pt x="129" y="138"/>
                  </a:lnTo>
                  <a:close/>
                  <a:moveTo>
                    <a:pt x="102" y="119"/>
                  </a:moveTo>
                  <a:cubicBezTo>
                    <a:pt x="103" y="120"/>
                    <a:pt x="103" y="120"/>
                    <a:pt x="103" y="120"/>
                  </a:cubicBezTo>
                  <a:cubicBezTo>
                    <a:pt x="124" y="128"/>
                    <a:pt x="124" y="128"/>
                    <a:pt x="124" y="128"/>
                  </a:cubicBezTo>
                  <a:cubicBezTo>
                    <a:pt x="126" y="130"/>
                    <a:pt x="128" y="130"/>
                    <a:pt x="129" y="130"/>
                  </a:cubicBezTo>
                  <a:cubicBezTo>
                    <a:pt x="137" y="128"/>
                    <a:pt x="136" y="122"/>
                    <a:pt x="136" y="121"/>
                  </a:cubicBezTo>
                  <a:cubicBezTo>
                    <a:pt x="135" y="113"/>
                    <a:pt x="135" y="113"/>
                    <a:pt x="135" y="113"/>
                  </a:cubicBezTo>
                  <a:cubicBezTo>
                    <a:pt x="149" y="122"/>
                    <a:pt x="149" y="122"/>
                    <a:pt x="149" y="122"/>
                  </a:cubicBezTo>
                  <a:cubicBezTo>
                    <a:pt x="150" y="122"/>
                    <a:pt x="151" y="122"/>
                    <a:pt x="151" y="122"/>
                  </a:cubicBezTo>
                  <a:cubicBezTo>
                    <a:pt x="155" y="122"/>
                    <a:pt x="158" y="119"/>
                    <a:pt x="158" y="119"/>
                  </a:cubicBezTo>
                  <a:cubicBezTo>
                    <a:pt x="158" y="118"/>
                    <a:pt x="158" y="118"/>
                    <a:pt x="158" y="118"/>
                  </a:cubicBezTo>
                  <a:cubicBezTo>
                    <a:pt x="160" y="116"/>
                    <a:pt x="160" y="112"/>
                    <a:pt x="160" y="112"/>
                  </a:cubicBezTo>
                  <a:cubicBezTo>
                    <a:pt x="158" y="104"/>
                    <a:pt x="158" y="104"/>
                    <a:pt x="158" y="104"/>
                  </a:cubicBezTo>
                  <a:cubicBezTo>
                    <a:pt x="166" y="108"/>
                    <a:pt x="166" y="108"/>
                    <a:pt x="166" y="108"/>
                  </a:cubicBezTo>
                  <a:cubicBezTo>
                    <a:pt x="167" y="109"/>
                    <a:pt x="168" y="109"/>
                    <a:pt x="170" y="109"/>
                  </a:cubicBezTo>
                  <a:cubicBezTo>
                    <a:pt x="173" y="109"/>
                    <a:pt x="176" y="107"/>
                    <a:pt x="176" y="107"/>
                  </a:cubicBezTo>
                  <a:cubicBezTo>
                    <a:pt x="180" y="103"/>
                    <a:pt x="179" y="98"/>
                    <a:pt x="179" y="98"/>
                  </a:cubicBezTo>
                  <a:cubicBezTo>
                    <a:pt x="178" y="92"/>
                    <a:pt x="178" y="92"/>
                    <a:pt x="178" y="92"/>
                  </a:cubicBezTo>
                  <a:cubicBezTo>
                    <a:pt x="184" y="94"/>
                    <a:pt x="184" y="94"/>
                    <a:pt x="184" y="94"/>
                  </a:cubicBezTo>
                  <a:cubicBezTo>
                    <a:pt x="185" y="94"/>
                    <a:pt x="185" y="94"/>
                    <a:pt x="186" y="94"/>
                  </a:cubicBezTo>
                  <a:cubicBezTo>
                    <a:pt x="191" y="94"/>
                    <a:pt x="194" y="90"/>
                    <a:pt x="194" y="90"/>
                  </a:cubicBezTo>
                  <a:cubicBezTo>
                    <a:pt x="194" y="89"/>
                    <a:pt x="194" y="89"/>
                    <a:pt x="194" y="89"/>
                  </a:cubicBezTo>
                  <a:cubicBezTo>
                    <a:pt x="199" y="84"/>
                    <a:pt x="193" y="78"/>
                    <a:pt x="192" y="77"/>
                  </a:cubicBezTo>
                  <a:cubicBezTo>
                    <a:pt x="104" y="12"/>
                    <a:pt x="104" y="12"/>
                    <a:pt x="104" y="12"/>
                  </a:cubicBezTo>
                  <a:cubicBezTo>
                    <a:pt x="84" y="10"/>
                    <a:pt x="84" y="10"/>
                    <a:pt x="84" y="10"/>
                  </a:cubicBezTo>
                  <a:cubicBezTo>
                    <a:pt x="83" y="10"/>
                    <a:pt x="83" y="10"/>
                    <a:pt x="82" y="10"/>
                  </a:cubicBezTo>
                  <a:cubicBezTo>
                    <a:pt x="73" y="10"/>
                    <a:pt x="61" y="16"/>
                    <a:pt x="56" y="20"/>
                  </a:cubicBezTo>
                  <a:cubicBezTo>
                    <a:pt x="53" y="21"/>
                    <a:pt x="50" y="22"/>
                    <a:pt x="47" y="22"/>
                  </a:cubicBezTo>
                  <a:cubicBezTo>
                    <a:pt x="42" y="22"/>
                    <a:pt x="37" y="20"/>
                    <a:pt x="35" y="19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0" y="16"/>
                    <a:pt x="15" y="14"/>
                    <a:pt x="12" y="13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17" y="76"/>
                    <a:pt x="17" y="76"/>
                    <a:pt x="17" y="76"/>
                  </a:cubicBezTo>
                  <a:cubicBezTo>
                    <a:pt x="17" y="78"/>
                    <a:pt x="17" y="78"/>
                    <a:pt x="17" y="78"/>
                  </a:cubicBezTo>
                  <a:cubicBezTo>
                    <a:pt x="21" y="80"/>
                    <a:pt x="21" y="80"/>
                    <a:pt x="21" y="80"/>
                  </a:cubicBezTo>
                  <a:cubicBezTo>
                    <a:pt x="22" y="80"/>
                    <a:pt x="32" y="85"/>
                    <a:pt x="41" y="89"/>
                  </a:cubicBezTo>
                  <a:cubicBezTo>
                    <a:pt x="42" y="90"/>
                    <a:pt x="42" y="90"/>
                    <a:pt x="42" y="90"/>
                  </a:cubicBezTo>
                  <a:cubicBezTo>
                    <a:pt x="71" y="116"/>
                    <a:pt x="88" y="120"/>
                    <a:pt x="96" y="120"/>
                  </a:cubicBezTo>
                  <a:cubicBezTo>
                    <a:pt x="99" y="120"/>
                    <a:pt x="100" y="120"/>
                    <a:pt x="100" y="120"/>
                  </a:cubicBezTo>
                  <a:lnTo>
                    <a:pt x="102" y="119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8" name="Freeform 58"/>
            <p:cNvSpPr>
              <a:spLocks/>
            </p:cNvSpPr>
            <p:nvPr/>
          </p:nvSpPr>
          <p:spPr bwMode="auto">
            <a:xfrm>
              <a:off x="1167" y="1322"/>
              <a:ext cx="149" cy="120"/>
            </a:xfrm>
            <a:custGeom>
              <a:avLst/>
              <a:gdLst>
                <a:gd name="T0" fmla="*/ 57 w 63"/>
                <a:gd name="T1" fmla="*/ 20 h 51"/>
                <a:gd name="T2" fmla="*/ 47 w 63"/>
                <a:gd name="T3" fmla="*/ 19 h 51"/>
                <a:gd name="T4" fmla="*/ 42 w 63"/>
                <a:gd name="T5" fmla="*/ 11 h 51"/>
                <a:gd name="T6" fmla="*/ 30 w 63"/>
                <a:gd name="T7" fmla="*/ 12 h 51"/>
                <a:gd name="T8" fmla="*/ 24 w 63"/>
                <a:gd name="T9" fmla="*/ 3 h 51"/>
                <a:gd name="T10" fmla="*/ 10 w 63"/>
                <a:gd name="T11" fmla="*/ 7 h 51"/>
                <a:gd name="T12" fmla="*/ 3 w 63"/>
                <a:gd name="T13" fmla="*/ 22 h 51"/>
                <a:gd name="T14" fmla="*/ 8 w 63"/>
                <a:gd name="T15" fmla="*/ 36 h 51"/>
                <a:gd name="T16" fmla="*/ 20 w 63"/>
                <a:gd name="T17" fmla="*/ 35 h 51"/>
                <a:gd name="T18" fmla="*/ 25 w 63"/>
                <a:gd name="T19" fmla="*/ 42 h 51"/>
                <a:gd name="T20" fmla="*/ 37 w 63"/>
                <a:gd name="T21" fmla="*/ 42 h 51"/>
                <a:gd name="T22" fmla="*/ 42 w 63"/>
                <a:gd name="T23" fmla="*/ 48 h 51"/>
                <a:gd name="T24" fmla="*/ 54 w 63"/>
                <a:gd name="T25" fmla="*/ 45 h 51"/>
                <a:gd name="T26" fmla="*/ 61 w 63"/>
                <a:gd name="T27" fmla="*/ 32 h 51"/>
                <a:gd name="T28" fmla="*/ 57 w 63"/>
                <a:gd name="T29" fmla="*/ 2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3" h="51">
                  <a:moveTo>
                    <a:pt x="57" y="20"/>
                  </a:moveTo>
                  <a:cubicBezTo>
                    <a:pt x="54" y="18"/>
                    <a:pt x="50" y="18"/>
                    <a:pt x="47" y="19"/>
                  </a:cubicBezTo>
                  <a:cubicBezTo>
                    <a:pt x="47" y="16"/>
                    <a:pt x="45" y="13"/>
                    <a:pt x="42" y="11"/>
                  </a:cubicBezTo>
                  <a:cubicBezTo>
                    <a:pt x="38" y="9"/>
                    <a:pt x="33" y="10"/>
                    <a:pt x="30" y="12"/>
                  </a:cubicBezTo>
                  <a:cubicBezTo>
                    <a:pt x="30" y="8"/>
                    <a:pt x="28" y="5"/>
                    <a:pt x="24" y="3"/>
                  </a:cubicBezTo>
                  <a:cubicBezTo>
                    <a:pt x="19" y="0"/>
                    <a:pt x="13" y="2"/>
                    <a:pt x="10" y="7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0" y="26"/>
                    <a:pt x="3" y="33"/>
                    <a:pt x="8" y="36"/>
                  </a:cubicBezTo>
                  <a:cubicBezTo>
                    <a:pt x="12" y="38"/>
                    <a:pt x="17" y="37"/>
                    <a:pt x="20" y="35"/>
                  </a:cubicBezTo>
                  <a:cubicBezTo>
                    <a:pt x="21" y="38"/>
                    <a:pt x="23" y="41"/>
                    <a:pt x="25" y="42"/>
                  </a:cubicBezTo>
                  <a:cubicBezTo>
                    <a:pt x="29" y="44"/>
                    <a:pt x="34" y="44"/>
                    <a:pt x="37" y="42"/>
                  </a:cubicBezTo>
                  <a:cubicBezTo>
                    <a:pt x="38" y="44"/>
                    <a:pt x="39" y="47"/>
                    <a:pt x="42" y="48"/>
                  </a:cubicBezTo>
                  <a:cubicBezTo>
                    <a:pt x="46" y="51"/>
                    <a:pt x="52" y="49"/>
                    <a:pt x="54" y="45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3" y="28"/>
                    <a:pt x="61" y="22"/>
                    <a:pt x="57" y="2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0" name="Freeform 59"/>
            <p:cNvSpPr>
              <a:spLocks/>
            </p:cNvSpPr>
            <p:nvPr/>
          </p:nvSpPr>
          <p:spPr bwMode="auto">
            <a:xfrm>
              <a:off x="1176" y="1114"/>
              <a:ext cx="387" cy="208"/>
            </a:xfrm>
            <a:custGeom>
              <a:avLst/>
              <a:gdLst>
                <a:gd name="T0" fmla="*/ 163 w 164"/>
                <a:gd name="T1" fmla="*/ 67 h 88"/>
                <a:gd name="T2" fmla="*/ 161 w 164"/>
                <a:gd name="T3" fmla="*/ 4 h 88"/>
                <a:gd name="T4" fmla="*/ 114 w 164"/>
                <a:gd name="T5" fmla="*/ 17 h 88"/>
                <a:gd name="T6" fmla="*/ 89 w 164"/>
                <a:gd name="T7" fmla="*/ 9 h 88"/>
                <a:gd name="T8" fmla="*/ 48 w 164"/>
                <a:gd name="T9" fmla="*/ 0 h 88"/>
                <a:gd name="T10" fmla="*/ 38 w 164"/>
                <a:gd name="T11" fmla="*/ 4 h 88"/>
                <a:gd name="T12" fmla="*/ 22 w 164"/>
                <a:gd name="T13" fmla="*/ 19 h 88"/>
                <a:gd name="T14" fmla="*/ 1 w 164"/>
                <a:gd name="T15" fmla="*/ 35 h 88"/>
                <a:gd name="T16" fmla="*/ 1 w 164"/>
                <a:gd name="T17" fmla="*/ 38 h 88"/>
                <a:gd name="T18" fmla="*/ 50 w 164"/>
                <a:gd name="T19" fmla="*/ 31 h 88"/>
                <a:gd name="T20" fmla="*/ 52 w 164"/>
                <a:gd name="T21" fmla="*/ 30 h 88"/>
                <a:gd name="T22" fmla="*/ 77 w 164"/>
                <a:gd name="T23" fmla="*/ 40 h 88"/>
                <a:gd name="T24" fmla="*/ 129 w 164"/>
                <a:gd name="T25" fmla="*/ 78 h 88"/>
                <a:gd name="T26" fmla="*/ 132 w 164"/>
                <a:gd name="T27" fmla="*/ 85 h 88"/>
                <a:gd name="T28" fmla="*/ 137 w 164"/>
                <a:gd name="T29" fmla="*/ 85 h 88"/>
                <a:gd name="T30" fmla="*/ 156 w 164"/>
                <a:gd name="T31" fmla="*/ 75 h 88"/>
                <a:gd name="T32" fmla="*/ 158 w 164"/>
                <a:gd name="T33" fmla="*/ 75 h 88"/>
                <a:gd name="T34" fmla="*/ 163 w 164"/>
                <a:gd name="T35" fmla="*/ 6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4" h="88">
                  <a:moveTo>
                    <a:pt x="163" y="67"/>
                  </a:moveTo>
                  <a:cubicBezTo>
                    <a:pt x="161" y="4"/>
                    <a:pt x="161" y="4"/>
                    <a:pt x="161" y="4"/>
                  </a:cubicBezTo>
                  <a:cubicBezTo>
                    <a:pt x="161" y="4"/>
                    <a:pt x="124" y="15"/>
                    <a:pt x="114" y="17"/>
                  </a:cubicBezTo>
                  <a:cubicBezTo>
                    <a:pt x="105" y="19"/>
                    <a:pt x="89" y="9"/>
                    <a:pt x="89" y="9"/>
                  </a:cubicBezTo>
                  <a:cubicBezTo>
                    <a:pt x="77" y="0"/>
                    <a:pt x="54" y="0"/>
                    <a:pt x="48" y="0"/>
                  </a:cubicBezTo>
                  <a:cubicBezTo>
                    <a:pt x="43" y="0"/>
                    <a:pt x="38" y="4"/>
                    <a:pt x="38" y="4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10" y="26"/>
                    <a:pt x="1" y="35"/>
                    <a:pt x="1" y="35"/>
                  </a:cubicBezTo>
                  <a:cubicBezTo>
                    <a:pt x="0" y="36"/>
                    <a:pt x="1" y="38"/>
                    <a:pt x="1" y="38"/>
                  </a:cubicBezTo>
                  <a:cubicBezTo>
                    <a:pt x="23" y="62"/>
                    <a:pt x="46" y="35"/>
                    <a:pt x="50" y="31"/>
                  </a:cubicBezTo>
                  <a:cubicBezTo>
                    <a:pt x="51" y="31"/>
                    <a:pt x="51" y="30"/>
                    <a:pt x="52" y="30"/>
                  </a:cubicBezTo>
                  <a:cubicBezTo>
                    <a:pt x="62" y="29"/>
                    <a:pt x="77" y="40"/>
                    <a:pt x="77" y="40"/>
                  </a:cubicBezTo>
                  <a:cubicBezTo>
                    <a:pt x="129" y="78"/>
                    <a:pt x="129" y="78"/>
                    <a:pt x="129" y="78"/>
                  </a:cubicBezTo>
                  <a:cubicBezTo>
                    <a:pt x="132" y="81"/>
                    <a:pt x="132" y="85"/>
                    <a:pt x="132" y="85"/>
                  </a:cubicBezTo>
                  <a:cubicBezTo>
                    <a:pt x="132" y="88"/>
                    <a:pt x="137" y="85"/>
                    <a:pt x="137" y="85"/>
                  </a:cubicBezTo>
                  <a:cubicBezTo>
                    <a:pt x="140" y="83"/>
                    <a:pt x="150" y="78"/>
                    <a:pt x="156" y="75"/>
                  </a:cubicBezTo>
                  <a:cubicBezTo>
                    <a:pt x="157" y="75"/>
                    <a:pt x="157" y="75"/>
                    <a:pt x="158" y="75"/>
                  </a:cubicBezTo>
                  <a:cubicBezTo>
                    <a:pt x="163" y="76"/>
                    <a:pt x="164" y="73"/>
                    <a:pt x="163" y="6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1" name="Freeform 60"/>
            <p:cNvSpPr>
              <a:spLocks/>
            </p:cNvSpPr>
            <p:nvPr/>
          </p:nvSpPr>
          <p:spPr bwMode="auto">
            <a:xfrm>
              <a:off x="1483" y="1104"/>
              <a:ext cx="165" cy="237"/>
            </a:xfrm>
            <a:custGeom>
              <a:avLst/>
              <a:gdLst>
                <a:gd name="T0" fmla="*/ 0 w 70"/>
                <a:gd name="T1" fmla="*/ 12 h 100"/>
                <a:gd name="T2" fmla="*/ 20 w 70"/>
                <a:gd name="T3" fmla="*/ 92 h 100"/>
                <a:gd name="T4" fmla="*/ 39 w 70"/>
                <a:gd name="T5" fmla="*/ 94 h 100"/>
                <a:gd name="T6" fmla="*/ 70 w 70"/>
                <a:gd name="T7" fmla="*/ 85 h 100"/>
                <a:gd name="T8" fmla="*/ 33 w 70"/>
                <a:gd name="T9" fmla="*/ 0 h 100"/>
                <a:gd name="T10" fmla="*/ 0 w 70"/>
                <a:gd name="T11" fmla="*/ 1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100">
                  <a:moveTo>
                    <a:pt x="0" y="12"/>
                  </a:moveTo>
                  <a:cubicBezTo>
                    <a:pt x="0" y="12"/>
                    <a:pt x="2" y="56"/>
                    <a:pt x="20" y="92"/>
                  </a:cubicBezTo>
                  <a:cubicBezTo>
                    <a:pt x="20" y="92"/>
                    <a:pt x="24" y="100"/>
                    <a:pt x="39" y="94"/>
                  </a:cubicBezTo>
                  <a:cubicBezTo>
                    <a:pt x="43" y="93"/>
                    <a:pt x="70" y="85"/>
                    <a:pt x="70" y="85"/>
                  </a:cubicBezTo>
                  <a:cubicBezTo>
                    <a:pt x="33" y="0"/>
                    <a:pt x="33" y="0"/>
                    <a:pt x="33" y="0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auto">
            <a:xfrm>
              <a:off x="952" y="1114"/>
              <a:ext cx="165" cy="236"/>
            </a:xfrm>
            <a:custGeom>
              <a:avLst/>
              <a:gdLst>
                <a:gd name="T0" fmla="*/ 70 w 70"/>
                <a:gd name="T1" fmla="*/ 12 h 100"/>
                <a:gd name="T2" fmla="*/ 49 w 70"/>
                <a:gd name="T3" fmla="*/ 92 h 100"/>
                <a:gd name="T4" fmla="*/ 30 w 70"/>
                <a:gd name="T5" fmla="*/ 94 h 100"/>
                <a:gd name="T6" fmla="*/ 0 w 70"/>
                <a:gd name="T7" fmla="*/ 84 h 100"/>
                <a:gd name="T8" fmla="*/ 36 w 70"/>
                <a:gd name="T9" fmla="*/ 0 h 100"/>
                <a:gd name="T10" fmla="*/ 70 w 70"/>
                <a:gd name="T11" fmla="*/ 1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100">
                  <a:moveTo>
                    <a:pt x="70" y="12"/>
                  </a:moveTo>
                  <a:cubicBezTo>
                    <a:pt x="70" y="12"/>
                    <a:pt x="67" y="56"/>
                    <a:pt x="49" y="92"/>
                  </a:cubicBezTo>
                  <a:cubicBezTo>
                    <a:pt x="49" y="92"/>
                    <a:pt x="45" y="100"/>
                    <a:pt x="30" y="94"/>
                  </a:cubicBezTo>
                  <a:cubicBezTo>
                    <a:pt x="26" y="92"/>
                    <a:pt x="0" y="84"/>
                    <a:pt x="0" y="84"/>
                  </a:cubicBezTo>
                  <a:cubicBezTo>
                    <a:pt x="36" y="0"/>
                    <a:pt x="36" y="0"/>
                    <a:pt x="36" y="0"/>
                  </a:cubicBezTo>
                  <a:lnTo>
                    <a:pt x="70" y="1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63" name="Freeform 56"/>
          <p:cNvSpPr>
            <a:spLocks/>
          </p:cNvSpPr>
          <p:nvPr/>
        </p:nvSpPr>
        <p:spPr bwMode="auto">
          <a:xfrm rot="20526664">
            <a:off x="1781968" y="2066926"/>
            <a:ext cx="131763" cy="131763"/>
          </a:xfrm>
          <a:custGeom>
            <a:avLst/>
            <a:gdLst>
              <a:gd name="T0" fmla="*/ 31 w 35"/>
              <a:gd name="T1" fmla="*/ 6 h 35"/>
              <a:gd name="T2" fmla="*/ 17 w 35"/>
              <a:gd name="T3" fmla="*/ 4 h 35"/>
              <a:gd name="T4" fmla="*/ 4 w 35"/>
              <a:gd name="T5" fmla="*/ 14 h 35"/>
              <a:gd name="T6" fmla="*/ 3 w 35"/>
              <a:gd name="T7" fmla="*/ 29 h 35"/>
              <a:gd name="T8" fmla="*/ 18 w 35"/>
              <a:gd name="T9" fmla="*/ 32 h 35"/>
              <a:gd name="T10" fmla="*/ 30 w 35"/>
              <a:gd name="T11" fmla="*/ 21 h 35"/>
              <a:gd name="T12" fmla="*/ 31 w 35"/>
              <a:gd name="T13" fmla="*/ 6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5" h="35">
                <a:moveTo>
                  <a:pt x="31" y="6"/>
                </a:moveTo>
                <a:cubicBezTo>
                  <a:pt x="27" y="1"/>
                  <a:pt x="21" y="0"/>
                  <a:pt x="17" y="4"/>
                </a:cubicBezTo>
                <a:cubicBezTo>
                  <a:pt x="4" y="14"/>
                  <a:pt x="4" y="14"/>
                  <a:pt x="4" y="14"/>
                </a:cubicBezTo>
                <a:cubicBezTo>
                  <a:pt x="0" y="18"/>
                  <a:pt x="0" y="25"/>
                  <a:pt x="3" y="29"/>
                </a:cubicBezTo>
                <a:cubicBezTo>
                  <a:pt x="7" y="34"/>
                  <a:pt x="14" y="35"/>
                  <a:pt x="18" y="32"/>
                </a:cubicBezTo>
                <a:cubicBezTo>
                  <a:pt x="30" y="21"/>
                  <a:pt x="30" y="21"/>
                  <a:pt x="30" y="21"/>
                </a:cubicBezTo>
                <a:cubicBezTo>
                  <a:pt x="35" y="17"/>
                  <a:pt x="34" y="10"/>
                  <a:pt x="31" y="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64" name="Group 5"/>
          <p:cNvGrpSpPr>
            <a:grpSpLocks noChangeAspect="1"/>
          </p:cNvGrpSpPr>
          <p:nvPr/>
        </p:nvGrpSpPr>
        <p:grpSpPr bwMode="auto">
          <a:xfrm>
            <a:off x="1632981" y="3468157"/>
            <a:ext cx="857066" cy="998539"/>
            <a:chOff x="348" y="886"/>
            <a:chExt cx="624" cy="727"/>
          </a:xfrm>
        </p:grpSpPr>
        <p:sp>
          <p:nvSpPr>
            <p:cNvPr id="65" name="Freeform 6"/>
            <p:cNvSpPr>
              <a:spLocks/>
            </p:cNvSpPr>
            <p:nvPr/>
          </p:nvSpPr>
          <p:spPr bwMode="auto">
            <a:xfrm>
              <a:off x="621" y="886"/>
              <a:ext cx="281" cy="291"/>
            </a:xfrm>
            <a:custGeom>
              <a:avLst/>
              <a:gdLst>
                <a:gd name="T0" fmla="*/ 192 w 192"/>
                <a:gd name="T1" fmla="*/ 77 h 199"/>
                <a:gd name="T2" fmla="*/ 96 w 192"/>
                <a:gd name="T3" fmla="*/ 0 h 199"/>
                <a:gd name="T4" fmla="*/ 0 w 192"/>
                <a:gd name="T5" fmla="*/ 77 h 199"/>
                <a:gd name="T6" fmla="*/ 54 w 192"/>
                <a:gd name="T7" fmla="*/ 146 h 199"/>
                <a:gd name="T8" fmla="*/ 29 w 192"/>
                <a:gd name="T9" fmla="*/ 194 h 199"/>
                <a:gd name="T10" fmla="*/ 101 w 192"/>
                <a:gd name="T11" fmla="*/ 153 h 199"/>
                <a:gd name="T12" fmla="*/ 192 w 192"/>
                <a:gd name="T13" fmla="*/ 77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199">
                  <a:moveTo>
                    <a:pt x="192" y="77"/>
                  </a:moveTo>
                  <a:cubicBezTo>
                    <a:pt x="192" y="34"/>
                    <a:pt x="149" y="0"/>
                    <a:pt x="96" y="0"/>
                  </a:cubicBezTo>
                  <a:cubicBezTo>
                    <a:pt x="43" y="0"/>
                    <a:pt x="0" y="34"/>
                    <a:pt x="0" y="77"/>
                  </a:cubicBezTo>
                  <a:cubicBezTo>
                    <a:pt x="0" y="107"/>
                    <a:pt x="22" y="133"/>
                    <a:pt x="54" y="146"/>
                  </a:cubicBezTo>
                  <a:cubicBezTo>
                    <a:pt x="51" y="164"/>
                    <a:pt x="34" y="189"/>
                    <a:pt x="29" y="194"/>
                  </a:cubicBezTo>
                  <a:cubicBezTo>
                    <a:pt x="42" y="199"/>
                    <a:pt x="96" y="171"/>
                    <a:pt x="101" y="153"/>
                  </a:cubicBezTo>
                  <a:cubicBezTo>
                    <a:pt x="152" y="151"/>
                    <a:pt x="192" y="118"/>
                    <a:pt x="192" y="7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6" name="Freeform 7"/>
            <p:cNvSpPr>
              <a:spLocks/>
            </p:cNvSpPr>
            <p:nvPr/>
          </p:nvSpPr>
          <p:spPr bwMode="auto">
            <a:xfrm>
              <a:off x="348" y="1102"/>
              <a:ext cx="339" cy="511"/>
            </a:xfrm>
            <a:custGeom>
              <a:avLst/>
              <a:gdLst>
                <a:gd name="T0" fmla="*/ 209 w 232"/>
                <a:gd name="T1" fmla="*/ 310 h 349"/>
                <a:gd name="T2" fmla="*/ 207 w 232"/>
                <a:gd name="T3" fmla="*/ 308 h 349"/>
                <a:gd name="T4" fmla="*/ 206 w 232"/>
                <a:gd name="T5" fmla="*/ 305 h 349"/>
                <a:gd name="T6" fmla="*/ 205 w 232"/>
                <a:gd name="T7" fmla="*/ 293 h 349"/>
                <a:gd name="T8" fmla="*/ 205 w 232"/>
                <a:gd name="T9" fmla="*/ 252 h 349"/>
                <a:gd name="T10" fmla="*/ 228 w 232"/>
                <a:gd name="T11" fmla="*/ 201 h 349"/>
                <a:gd name="T12" fmla="*/ 232 w 232"/>
                <a:gd name="T13" fmla="*/ 195 h 349"/>
                <a:gd name="T14" fmla="*/ 215 w 232"/>
                <a:gd name="T15" fmla="*/ 176 h 349"/>
                <a:gd name="T16" fmla="*/ 177 w 232"/>
                <a:gd name="T17" fmla="*/ 150 h 349"/>
                <a:gd name="T18" fmla="*/ 204 w 232"/>
                <a:gd name="T19" fmla="*/ 85 h 349"/>
                <a:gd name="T20" fmla="*/ 127 w 232"/>
                <a:gd name="T21" fmla="*/ 0 h 349"/>
                <a:gd name="T22" fmla="*/ 49 w 232"/>
                <a:gd name="T23" fmla="*/ 85 h 349"/>
                <a:gd name="T24" fmla="*/ 77 w 232"/>
                <a:gd name="T25" fmla="*/ 150 h 349"/>
                <a:gd name="T26" fmla="*/ 25 w 232"/>
                <a:gd name="T27" fmla="*/ 192 h 349"/>
                <a:gd name="T28" fmla="*/ 0 w 232"/>
                <a:gd name="T29" fmla="*/ 248 h 349"/>
                <a:gd name="T30" fmla="*/ 0 w 232"/>
                <a:gd name="T31" fmla="*/ 296 h 349"/>
                <a:gd name="T32" fmla="*/ 2 w 232"/>
                <a:gd name="T33" fmla="*/ 309 h 349"/>
                <a:gd name="T34" fmla="*/ 127 w 232"/>
                <a:gd name="T35" fmla="*/ 349 h 349"/>
                <a:gd name="T36" fmla="*/ 230 w 232"/>
                <a:gd name="T37" fmla="*/ 324 h 349"/>
                <a:gd name="T38" fmla="*/ 209 w 232"/>
                <a:gd name="T39" fmla="*/ 310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2" h="349">
                  <a:moveTo>
                    <a:pt x="209" y="310"/>
                  </a:moveTo>
                  <a:cubicBezTo>
                    <a:pt x="207" y="308"/>
                    <a:pt x="207" y="308"/>
                    <a:pt x="207" y="308"/>
                  </a:cubicBezTo>
                  <a:cubicBezTo>
                    <a:pt x="206" y="305"/>
                    <a:pt x="206" y="305"/>
                    <a:pt x="206" y="305"/>
                  </a:cubicBezTo>
                  <a:cubicBezTo>
                    <a:pt x="206" y="301"/>
                    <a:pt x="205" y="297"/>
                    <a:pt x="205" y="293"/>
                  </a:cubicBezTo>
                  <a:cubicBezTo>
                    <a:pt x="205" y="252"/>
                    <a:pt x="205" y="252"/>
                    <a:pt x="205" y="252"/>
                  </a:cubicBezTo>
                  <a:cubicBezTo>
                    <a:pt x="205" y="232"/>
                    <a:pt x="221" y="210"/>
                    <a:pt x="228" y="201"/>
                  </a:cubicBezTo>
                  <a:cubicBezTo>
                    <a:pt x="229" y="199"/>
                    <a:pt x="230" y="197"/>
                    <a:pt x="232" y="195"/>
                  </a:cubicBezTo>
                  <a:cubicBezTo>
                    <a:pt x="226" y="188"/>
                    <a:pt x="221" y="181"/>
                    <a:pt x="215" y="176"/>
                  </a:cubicBezTo>
                  <a:cubicBezTo>
                    <a:pt x="204" y="165"/>
                    <a:pt x="191" y="156"/>
                    <a:pt x="177" y="150"/>
                  </a:cubicBezTo>
                  <a:cubicBezTo>
                    <a:pt x="194" y="134"/>
                    <a:pt x="204" y="111"/>
                    <a:pt x="204" y="85"/>
                  </a:cubicBezTo>
                  <a:cubicBezTo>
                    <a:pt x="204" y="38"/>
                    <a:pt x="169" y="0"/>
                    <a:pt x="127" y="0"/>
                  </a:cubicBezTo>
                  <a:cubicBezTo>
                    <a:pt x="84" y="0"/>
                    <a:pt x="49" y="38"/>
                    <a:pt x="49" y="85"/>
                  </a:cubicBezTo>
                  <a:cubicBezTo>
                    <a:pt x="49" y="111"/>
                    <a:pt x="60" y="134"/>
                    <a:pt x="77" y="150"/>
                  </a:cubicBezTo>
                  <a:cubicBezTo>
                    <a:pt x="55" y="159"/>
                    <a:pt x="37" y="174"/>
                    <a:pt x="25" y="192"/>
                  </a:cubicBezTo>
                  <a:cubicBezTo>
                    <a:pt x="11" y="210"/>
                    <a:pt x="0" y="231"/>
                    <a:pt x="0" y="248"/>
                  </a:cubicBezTo>
                  <a:cubicBezTo>
                    <a:pt x="0" y="260"/>
                    <a:pt x="0" y="296"/>
                    <a:pt x="0" y="296"/>
                  </a:cubicBezTo>
                  <a:cubicBezTo>
                    <a:pt x="0" y="301"/>
                    <a:pt x="1" y="305"/>
                    <a:pt x="2" y="309"/>
                  </a:cubicBezTo>
                  <a:cubicBezTo>
                    <a:pt x="32" y="334"/>
                    <a:pt x="77" y="349"/>
                    <a:pt x="127" y="349"/>
                  </a:cubicBezTo>
                  <a:cubicBezTo>
                    <a:pt x="166" y="349"/>
                    <a:pt x="202" y="340"/>
                    <a:pt x="230" y="324"/>
                  </a:cubicBezTo>
                  <a:cubicBezTo>
                    <a:pt x="223" y="320"/>
                    <a:pt x="216" y="315"/>
                    <a:pt x="209" y="3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7" name="Freeform 8"/>
            <p:cNvSpPr>
              <a:spLocks noEditPoints="1"/>
            </p:cNvSpPr>
            <p:nvPr/>
          </p:nvSpPr>
          <p:spPr bwMode="auto">
            <a:xfrm>
              <a:off x="659" y="1176"/>
              <a:ext cx="313" cy="422"/>
            </a:xfrm>
            <a:custGeom>
              <a:avLst/>
              <a:gdLst>
                <a:gd name="T0" fmla="*/ 107 w 214"/>
                <a:gd name="T1" fmla="*/ 289 h 289"/>
                <a:gd name="T2" fmla="*/ 4 w 214"/>
                <a:gd name="T3" fmla="*/ 256 h 289"/>
                <a:gd name="T4" fmla="*/ 2 w 214"/>
                <a:gd name="T5" fmla="*/ 254 h 289"/>
                <a:gd name="T6" fmla="*/ 1 w 214"/>
                <a:gd name="T7" fmla="*/ 252 h 289"/>
                <a:gd name="T8" fmla="*/ 0 w 214"/>
                <a:gd name="T9" fmla="*/ 240 h 289"/>
                <a:gd name="T10" fmla="*/ 0 w 214"/>
                <a:gd name="T11" fmla="*/ 202 h 289"/>
                <a:gd name="T12" fmla="*/ 21 w 214"/>
                <a:gd name="T13" fmla="*/ 153 h 289"/>
                <a:gd name="T14" fmla="*/ 55 w 214"/>
                <a:gd name="T15" fmla="*/ 123 h 289"/>
                <a:gd name="T16" fmla="*/ 39 w 214"/>
                <a:gd name="T17" fmla="*/ 74 h 289"/>
                <a:gd name="T18" fmla="*/ 107 w 214"/>
                <a:gd name="T19" fmla="*/ 0 h 289"/>
                <a:gd name="T20" fmla="*/ 176 w 214"/>
                <a:gd name="T21" fmla="*/ 74 h 289"/>
                <a:gd name="T22" fmla="*/ 159 w 214"/>
                <a:gd name="T23" fmla="*/ 123 h 289"/>
                <a:gd name="T24" fmla="*/ 182 w 214"/>
                <a:gd name="T25" fmla="*/ 140 h 289"/>
                <a:gd name="T26" fmla="*/ 214 w 214"/>
                <a:gd name="T27" fmla="*/ 202 h 289"/>
                <a:gd name="T28" fmla="*/ 214 w 214"/>
                <a:gd name="T29" fmla="*/ 240 h 289"/>
                <a:gd name="T30" fmla="*/ 213 w 214"/>
                <a:gd name="T31" fmla="*/ 252 h 289"/>
                <a:gd name="T32" fmla="*/ 212 w 214"/>
                <a:gd name="T33" fmla="*/ 254 h 289"/>
                <a:gd name="T34" fmla="*/ 210 w 214"/>
                <a:gd name="T35" fmla="*/ 256 h 289"/>
                <a:gd name="T36" fmla="*/ 107 w 214"/>
                <a:gd name="T37" fmla="*/ 289 h 289"/>
                <a:gd name="T38" fmla="*/ 16 w 214"/>
                <a:gd name="T39" fmla="*/ 246 h 289"/>
                <a:gd name="T40" fmla="*/ 107 w 214"/>
                <a:gd name="T41" fmla="*/ 274 h 289"/>
                <a:gd name="T42" fmla="*/ 199 w 214"/>
                <a:gd name="T43" fmla="*/ 246 h 289"/>
                <a:gd name="T44" fmla="*/ 199 w 214"/>
                <a:gd name="T45" fmla="*/ 240 h 289"/>
                <a:gd name="T46" fmla="*/ 199 w 214"/>
                <a:gd name="T47" fmla="*/ 202 h 289"/>
                <a:gd name="T48" fmla="*/ 171 w 214"/>
                <a:gd name="T49" fmla="*/ 150 h 289"/>
                <a:gd name="T50" fmla="*/ 144 w 214"/>
                <a:gd name="T51" fmla="*/ 132 h 289"/>
                <a:gd name="T52" fmla="*/ 133 w 214"/>
                <a:gd name="T53" fmla="*/ 127 h 289"/>
                <a:gd name="T54" fmla="*/ 142 w 214"/>
                <a:gd name="T55" fmla="*/ 119 h 289"/>
                <a:gd name="T56" fmla="*/ 161 w 214"/>
                <a:gd name="T57" fmla="*/ 74 h 289"/>
                <a:gd name="T58" fmla="*/ 107 w 214"/>
                <a:gd name="T59" fmla="*/ 15 h 289"/>
                <a:gd name="T60" fmla="*/ 54 w 214"/>
                <a:gd name="T61" fmla="*/ 74 h 289"/>
                <a:gd name="T62" fmla="*/ 73 w 214"/>
                <a:gd name="T63" fmla="*/ 119 h 289"/>
                <a:gd name="T64" fmla="*/ 81 w 214"/>
                <a:gd name="T65" fmla="*/ 127 h 289"/>
                <a:gd name="T66" fmla="*/ 71 w 214"/>
                <a:gd name="T67" fmla="*/ 132 h 289"/>
                <a:gd name="T68" fmla="*/ 34 w 214"/>
                <a:gd name="T69" fmla="*/ 162 h 289"/>
                <a:gd name="T70" fmla="*/ 33 w 214"/>
                <a:gd name="T71" fmla="*/ 162 h 289"/>
                <a:gd name="T72" fmla="*/ 15 w 214"/>
                <a:gd name="T73" fmla="*/ 202 h 289"/>
                <a:gd name="T74" fmla="*/ 15 w 214"/>
                <a:gd name="T75" fmla="*/ 240 h 289"/>
                <a:gd name="T76" fmla="*/ 16 w 214"/>
                <a:gd name="T77" fmla="*/ 246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4" h="289">
                  <a:moveTo>
                    <a:pt x="107" y="289"/>
                  </a:moveTo>
                  <a:cubicBezTo>
                    <a:pt x="68" y="289"/>
                    <a:pt x="30" y="277"/>
                    <a:pt x="4" y="256"/>
                  </a:cubicBezTo>
                  <a:cubicBezTo>
                    <a:pt x="2" y="254"/>
                    <a:pt x="2" y="254"/>
                    <a:pt x="2" y="254"/>
                  </a:cubicBezTo>
                  <a:cubicBezTo>
                    <a:pt x="1" y="252"/>
                    <a:pt x="1" y="252"/>
                    <a:pt x="1" y="252"/>
                  </a:cubicBezTo>
                  <a:cubicBezTo>
                    <a:pt x="1" y="248"/>
                    <a:pt x="0" y="244"/>
                    <a:pt x="0" y="240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0" y="183"/>
                    <a:pt x="15" y="162"/>
                    <a:pt x="21" y="153"/>
                  </a:cubicBezTo>
                  <a:cubicBezTo>
                    <a:pt x="30" y="141"/>
                    <a:pt x="42" y="130"/>
                    <a:pt x="55" y="123"/>
                  </a:cubicBezTo>
                  <a:cubicBezTo>
                    <a:pt x="45" y="109"/>
                    <a:pt x="39" y="92"/>
                    <a:pt x="39" y="74"/>
                  </a:cubicBezTo>
                  <a:cubicBezTo>
                    <a:pt x="39" y="33"/>
                    <a:pt x="69" y="0"/>
                    <a:pt x="107" y="0"/>
                  </a:cubicBezTo>
                  <a:cubicBezTo>
                    <a:pt x="145" y="0"/>
                    <a:pt x="176" y="33"/>
                    <a:pt x="176" y="74"/>
                  </a:cubicBezTo>
                  <a:cubicBezTo>
                    <a:pt x="176" y="92"/>
                    <a:pt x="170" y="109"/>
                    <a:pt x="159" y="123"/>
                  </a:cubicBezTo>
                  <a:cubicBezTo>
                    <a:pt x="168" y="127"/>
                    <a:pt x="175" y="133"/>
                    <a:pt x="182" y="140"/>
                  </a:cubicBezTo>
                  <a:cubicBezTo>
                    <a:pt x="198" y="155"/>
                    <a:pt x="214" y="182"/>
                    <a:pt x="214" y="202"/>
                  </a:cubicBezTo>
                  <a:cubicBezTo>
                    <a:pt x="214" y="240"/>
                    <a:pt x="214" y="240"/>
                    <a:pt x="214" y="240"/>
                  </a:cubicBezTo>
                  <a:cubicBezTo>
                    <a:pt x="214" y="244"/>
                    <a:pt x="214" y="248"/>
                    <a:pt x="213" y="252"/>
                  </a:cubicBezTo>
                  <a:cubicBezTo>
                    <a:pt x="212" y="254"/>
                    <a:pt x="212" y="254"/>
                    <a:pt x="212" y="254"/>
                  </a:cubicBezTo>
                  <a:cubicBezTo>
                    <a:pt x="210" y="256"/>
                    <a:pt x="210" y="256"/>
                    <a:pt x="210" y="256"/>
                  </a:cubicBezTo>
                  <a:cubicBezTo>
                    <a:pt x="184" y="277"/>
                    <a:pt x="147" y="289"/>
                    <a:pt x="107" y="289"/>
                  </a:cubicBezTo>
                  <a:close/>
                  <a:moveTo>
                    <a:pt x="16" y="246"/>
                  </a:moveTo>
                  <a:cubicBezTo>
                    <a:pt x="39" y="264"/>
                    <a:pt x="72" y="274"/>
                    <a:pt x="107" y="274"/>
                  </a:cubicBezTo>
                  <a:cubicBezTo>
                    <a:pt x="142" y="274"/>
                    <a:pt x="175" y="264"/>
                    <a:pt x="199" y="246"/>
                  </a:cubicBezTo>
                  <a:cubicBezTo>
                    <a:pt x="199" y="244"/>
                    <a:pt x="199" y="242"/>
                    <a:pt x="199" y="240"/>
                  </a:cubicBezTo>
                  <a:cubicBezTo>
                    <a:pt x="199" y="202"/>
                    <a:pt x="199" y="202"/>
                    <a:pt x="199" y="202"/>
                  </a:cubicBezTo>
                  <a:cubicBezTo>
                    <a:pt x="199" y="188"/>
                    <a:pt x="187" y="166"/>
                    <a:pt x="171" y="150"/>
                  </a:cubicBezTo>
                  <a:cubicBezTo>
                    <a:pt x="164" y="143"/>
                    <a:pt x="154" y="136"/>
                    <a:pt x="144" y="132"/>
                  </a:cubicBezTo>
                  <a:cubicBezTo>
                    <a:pt x="133" y="127"/>
                    <a:pt x="133" y="127"/>
                    <a:pt x="133" y="127"/>
                  </a:cubicBezTo>
                  <a:cubicBezTo>
                    <a:pt x="142" y="119"/>
                    <a:pt x="142" y="119"/>
                    <a:pt x="142" y="119"/>
                  </a:cubicBezTo>
                  <a:cubicBezTo>
                    <a:pt x="154" y="108"/>
                    <a:pt x="161" y="92"/>
                    <a:pt x="161" y="74"/>
                  </a:cubicBezTo>
                  <a:cubicBezTo>
                    <a:pt x="161" y="41"/>
                    <a:pt x="137" y="15"/>
                    <a:pt x="107" y="15"/>
                  </a:cubicBezTo>
                  <a:cubicBezTo>
                    <a:pt x="78" y="15"/>
                    <a:pt x="54" y="41"/>
                    <a:pt x="54" y="74"/>
                  </a:cubicBezTo>
                  <a:cubicBezTo>
                    <a:pt x="54" y="92"/>
                    <a:pt x="61" y="108"/>
                    <a:pt x="73" y="119"/>
                  </a:cubicBezTo>
                  <a:cubicBezTo>
                    <a:pt x="81" y="127"/>
                    <a:pt x="81" y="127"/>
                    <a:pt x="81" y="127"/>
                  </a:cubicBezTo>
                  <a:cubicBezTo>
                    <a:pt x="71" y="132"/>
                    <a:pt x="71" y="132"/>
                    <a:pt x="71" y="132"/>
                  </a:cubicBezTo>
                  <a:cubicBezTo>
                    <a:pt x="55" y="138"/>
                    <a:pt x="42" y="149"/>
                    <a:pt x="34" y="162"/>
                  </a:cubicBezTo>
                  <a:cubicBezTo>
                    <a:pt x="33" y="162"/>
                    <a:pt x="33" y="162"/>
                    <a:pt x="33" y="162"/>
                  </a:cubicBezTo>
                  <a:cubicBezTo>
                    <a:pt x="22" y="177"/>
                    <a:pt x="15" y="192"/>
                    <a:pt x="15" y="202"/>
                  </a:cubicBezTo>
                  <a:cubicBezTo>
                    <a:pt x="15" y="240"/>
                    <a:pt x="15" y="240"/>
                    <a:pt x="15" y="240"/>
                  </a:cubicBezTo>
                  <a:cubicBezTo>
                    <a:pt x="15" y="242"/>
                    <a:pt x="15" y="244"/>
                    <a:pt x="16" y="24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55128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809" name="Picture 2" descr="Z:\GGL\22944_smartphone_country_report_dai\Source\JPG\DIVIDERS\GREEN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270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9810" name="Subtitle 1"/>
          <p:cNvSpPr>
            <a:spLocks noGrp="1"/>
          </p:cNvSpPr>
          <p:nvPr>
            <p:ph type="subTitle" idx="1"/>
          </p:nvPr>
        </p:nvSpPr>
        <p:spPr>
          <a:xfrm>
            <a:off x="565150" y="3954463"/>
            <a:ext cx="3494088" cy="352425"/>
          </a:xfrm>
          <a:ln/>
        </p:spPr>
        <p:txBody>
          <a:bodyPr>
            <a:noAutofit/>
          </a:bodyPr>
          <a:lstStyle/>
          <a:p>
            <a:pPr marL="0" indent="0"/>
            <a:r>
              <a:rPr lang="hu-HU" smtClean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565150" y="2986817"/>
            <a:ext cx="3494088" cy="1300163"/>
          </a:xfrm>
        </p:spPr>
        <p:txBody>
          <a:bodyPr>
            <a:noAutofit/>
          </a:bodyPr>
          <a:lstStyle/>
          <a:p>
            <a:r>
              <a:rPr lang="hu-HU" dirty="0" smtClean="0">
                <a:solidFill>
                  <a:srgbClr val="3F3F3F"/>
                </a:solidFill>
              </a:rPr>
              <a:t>Az okostelefonok</a:t>
            </a:r>
            <a:r>
              <a:rPr lang="hu-HU" dirty="0" smtClean="0"/>
              <a:t/>
            </a:r>
            <a:br>
              <a:rPr lang="hu-HU" dirty="0" smtClean="0"/>
            </a:br>
            <a:r>
              <a:rPr lang="hu-HU" sz="2000" b="1" dirty="0" smtClean="0">
                <a:solidFill>
                  <a:srgbClr val="009925"/>
                </a:solidFill>
              </a:rPr>
              <a:t>segítségével a hirdetők kapcsolatba léphetnek ügyfeleikkel</a:t>
            </a:r>
          </a:p>
        </p:txBody>
      </p:sp>
      <p:sp>
        <p:nvSpPr>
          <p:cNvPr id="119812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EA0251B1-41F9-443F-BA44-3628C4A142CF}" type="slidenum">
              <a:rPr lang="hu-HU"/>
              <a:pPr/>
              <a:t>21</a:t>
            </a:fld>
            <a:endParaRPr lang="hu-HU"/>
          </a:p>
        </p:txBody>
      </p:sp>
      <p:grpSp>
        <p:nvGrpSpPr>
          <p:cNvPr id="119813" name="Group 36"/>
          <p:cNvGrpSpPr>
            <a:grpSpLocks/>
          </p:cNvGrpSpPr>
          <p:nvPr/>
        </p:nvGrpSpPr>
        <p:grpSpPr bwMode="auto">
          <a:xfrm>
            <a:off x="6443663" y="3000375"/>
            <a:ext cx="569912" cy="1235075"/>
            <a:chOff x="-6672764" y="2824163"/>
            <a:chExt cx="485775" cy="1054099"/>
          </a:xfrm>
        </p:grpSpPr>
        <p:sp>
          <p:nvSpPr>
            <p:cNvPr id="119816" name="Freeform 29"/>
            <p:cNvSpPr>
              <a:spLocks/>
            </p:cNvSpPr>
            <p:nvPr/>
          </p:nvSpPr>
          <p:spPr bwMode="auto">
            <a:xfrm>
              <a:off x="-6556877" y="3067050"/>
              <a:ext cx="369888" cy="811212"/>
            </a:xfrm>
            <a:custGeom>
              <a:avLst/>
              <a:gdLst>
                <a:gd name="T0" fmla="*/ 91 w 134"/>
                <a:gd name="T1" fmla="*/ 0 h 294"/>
                <a:gd name="T2" fmla="*/ 0 w 134"/>
                <a:gd name="T3" fmla="*/ 0 h 294"/>
                <a:gd name="T4" fmla="*/ 6 w 134"/>
                <a:gd name="T5" fmla="*/ 47 h 294"/>
                <a:gd name="T6" fmla="*/ 6 w 134"/>
                <a:gd name="T7" fmla="*/ 47 h 294"/>
                <a:gd name="T8" fmla="*/ 6 w 134"/>
                <a:gd name="T9" fmla="*/ 275 h 294"/>
                <a:gd name="T10" fmla="*/ 25 w 134"/>
                <a:gd name="T11" fmla="*/ 294 h 294"/>
                <a:gd name="T12" fmla="*/ 44 w 134"/>
                <a:gd name="T13" fmla="*/ 275 h 294"/>
                <a:gd name="T14" fmla="*/ 44 w 134"/>
                <a:gd name="T15" fmla="*/ 163 h 294"/>
                <a:gd name="T16" fmla="*/ 57 w 134"/>
                <a:gd name="T17" fmla="*/ 163 h 294"/>
                <a:gd name="T18" fmla="*/ 57 w 134"/>
                <a:gd name="T19" fmla="*/ 275 h 294"/>
                <a:gd name="T20" fmla="*/ 76 w 134"/>
                <a:gd name="T21" fmla="*/ 294 h 294"/>
                <a:gd name="T22" fmla="*/ 95 w 134"/>
                <a:gd name="T23" fmla="*/ 275 h 294"/>
                <a:gd name="T24" fmla="*/ 95 w 134"/>
                <a:gd name="T25" fmla="*/ 47 h 294"/>
                <a:gd name="T26" fmla="*/ 108 w 134"/>
                <a:gd name="T27" fmla="*/ 47 h 294"/>
                <a:gd name="T28" fmla="*/ 108 w 134"/>
                <a:gd name="T29" fmla="*/ 120 h 294"/>
                <a:gd name="T30" fmla="*/ 134 w 134"/>
                <a:gd name="T31" fmla="*/ 120 h 294"/>
                <a:gd name="T32" fmla="*/ 134 w 134"/>
                <a:gd name="T33" fmla="*/ 44 h 294"/>
                <a:gd name="T34" fmla="*/ 91 w 134"/>
                <a:gd name="T35" fmla="*/ 0 h 29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4"/>
                <a:gd name="T55" fmla="*/ 0 h 294"/>
                <a:gd name="T56" fmla="*/ 134 w 134"/>
                <a:gd name="T57" fmla="*/ 294 h 29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4" h="294">
                  <a:moveTo>
                    <a:pt x="9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275"/>
                    <a:pt x="6" y="275"/>
                    <a:pt x="6" y="275"/>
                  </a:cubicBezTo>
                  <a:cubicBezTo>
                    <a:pt x="6" y="286"/>
                    <a:pt x="14" y="294"/>
                    <a:pt x="25" y="294"/>
                  </a:cubicBezTo>
                  <a:cubicBezTo>
                    <a:pt x="35" y="294"/>
                    <a:pt x="44" y="286"/>
                    <a:pt x="44" y="275"/>
                  </a:cubicBezTo>
                  <a:cubicBezTo>
                    <a:pt x="44" y="163"/>
                    <a:pt x="44" y="163"/>
                    <a:pt x="44" y="163"/>
                  </a:cubicBezTo>
                  <a:cubicBezTo>
                    <a:pt x="57" y="163"/>
                    <a:pt x="57" y="163"/>
                    <a:pt x="57" y="163"/>
                  </a:cubicBezTo>
                  <a:cubicBezTo>
                    <a:pt x="57" y="275"/>
                    <a:pt x="57" y="275"/>
                    <a:pt x="57" y="275"/>
                  </a:cubicBezTo>
                  <a:cubicBezTo>
                    <a:pt x="57" y="286"/>
                    <a:pt x="65" y="294"/>
                    <a:pt x="76" y="294"/>
                  </a:cubicBezTo>
                  <a:cubicBezTo>
                    <a:pt x="86" y="294"/>
                    <a:pt x="95" y="286"/>
                    <a:pt x="95" y="275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108" y="47"/>
                    <a:pt x="108" y="47"/>
                    <a:pt x="108" y="47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08" y="140"/>
                    <a:pt x="134" y="140"/>
                    <a:pt x="134" y="120"/>
                  </a:cubicBezTo>
                  <a:cubicBezTo>
                    <a:pt x="134" y="44"/>
                    <a:pt x="134" y="44"/>
                    <a:pt x="134" y="44"/>
                  </a:cubicBezTo>
                  <a:cubicBezTo>
                    <a:pt x="134" y="20"/>
                    <a:pt x="115" y="0"/>
                    <a:pt x="9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9817" name="Oval 30"/>
            <p:cNvSpPr>
              <a:spLocks noChangeArrowheads="1"/>
            </p:cNvSpPr>
            <p:nvPr/>
          </p:nvSpPr>
          <p:spPr bwMode="auto">
            <a:xfrm>
              <a:off x="-6512427" y="2859088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9818" name="Freeform 31"/>
            <p:cNvSpPr>
              <a:spLocks/>
            </p:cNvSpPr>
            <p:nvPr/>
          </p:nvSpPr>
          <p:spPr bwMode="auto">
            <a:xfrm>
              <a:off x="-6650539" y="2914650"/>
              <a:ext cx="111125" cy="280987"/>
            </a:xfrm>
            <a:custGeom>
              <a:avLst/>
              <a:gdLst>
                <a:gd name="T0" fmla="*/ 40 w 40"/>
                <a:gd name="T1" fmla="*/ 102 h 102"/>
                <a:gd name="T2" fmla="*/ 0 w 40"/>
                <a:gd name="T3" fmla="*/ 58 h 102"/>
                <a:gd name="T4" fmla="*/ 0 w 40"/>
                <a:gd name="T5" fmla="*/ 21 h 102"/>
                <a:gd name="T6" fmla="*/ 27 w 40"/>
                <a:gd name="T7" fmla="*/ 21 h 102"/>
                <a:gd name="T8" fmla="*/ 27 w 40"/>
                <a:gd name="T9" fmla="*/ 55 h 102"/>
                <a:gd name="T10" fmla="*/ 35 w 40"/>
                <a:gd name="T11" fmla="*/ 55 h 102"/>
                <a:gd name="T12" fmla="*/ 40 w 40"/>
                <a:gd name="T13" fmla="*/ 102 h 1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0"/>
                <a:gd name="T22" fmla="*/ 0 h 102"/>
                <a:gd name="T23" fmla="*/ 40 w 40"/>
                <a:gd name="T24" fmla="*/ 102 h 10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0" h="102">
                  <a:moveTo>
                    <a:pt x="40" y="102"/>
                  </a:moveTo>
                  <a:cubicBezTo>
                    <a:pt x="19" y="101"/>
                    <a:pt x="0" y="78"/>
                    <a:pt x="0" y="5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0"/>
                    <a:pt x="27" y="0"/>
                    <a:pt x="27" y="21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35" y="55"/>
                    <a:pt x="35" y="55"/>
                    <a:pt x="35" y="55"/>
                  </a:cubicBezTo>
                  <a:lnTo>
                    <a:pt x="40" y="102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52" name="Freeform 32"/>
            <p:cNvSpPr>
              <a:spLocks/>
            </p:cNvSpPr>
            <p:nvPr/>
          </p:nvSpPr>
          <p:spPr bwMode="auto">
            <a:xfrm>
              <a:off x="-6665999" y="2825518"/>
              <a:ext cx="97426" cy="14632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46"/>
                </a:cxn>
                <a:cxn ang="0">
                  <a:pos x="4" y="50"/>
                </a:cxn>
                <a:cxn ang="0">
                  <a:pos x="12" y="53"/>
                </a:cxn>
                <a:cxn ang="0">
                  <a:pos x="20" y="53"/>
                </a:cxn>
                <a:cxn ang="0">
                  <a:pos x="27" y="53"/>
                </a:cxn>
                <a:cxn ang="0">
                  <a:pos x="32" y="50"/>
                </a:cxn>
                <a:cxn ang="0">
                  <a:pos x="36" y="46"/>
                </a:cxn>
                <a:cxn ang="0">
                  <a:pos x="36" y="40"/>
                </a:cxn>
                <a:cxn ang="0">
                  <a:pos x="36" y="2"/>
                </a:cxn>
                <a:cxn ang="0">
                  <a:pos x="27" y="0"/>
                </a:cxn>
                <a:cxn ang="0">
                  <a:pos x="8" y="0"/>
                </a:cxn>
                <a:cxn ang="0">
                  <a:pos x="0" y="2"/>
                </a:cxn>
              </a:cxnLst>
              <a:rect l="0" t="0" r="r" b="b"/>
              <a:pathLst>
                <a:path w="36" h="53">
                  <a:moveTo>
                    <a:pt x="0" y="2"/>
                  </a:moveTo>
                  <a:cubicBezTo>
                    <a:pt x="2" y="46"/>
                    <a:pt x="2" y="46"/>
                    <a:pt x="2" y="46"/>
                  </a:cubicBezTo>
                  <a:cubicBezTo>
                    <a:pt x="4" y="50"/>
                    <a:pt x="4" y="50"/>
                    <a:pt x="4" y="50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9" y="53"/>
                    <a:pt x="20" y="53"/>
                  </a:cubicBezTo>
                  <a:cubicBezTo>
                    <a:pt x="21" y="53"/>
                    <a:pt x="27" y="53"/>
                    <a:pt x="27" y="53"/>
                  </a:cubicBezTo>
                  <a:cubicBezTo>
                    <a:pt x="27" y="53"/>
                    <a:pt x="31" y="51"/>
                    <a:pt x="32" y="50"/>
                  </a:cubicBezTo>
                  <a:cubicBezTo>
                    <a:pt x="32" y="50"/>
                    <a:pt x="36" y="46"/>
                    <a:pt x="36" y="46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53" name="Freeform 33"/>
            <p:cNvSpPr>
              <a:spLocks noEditPoints="1"/>
            </p:cNvSpPr>
            <p:nvPr/>
          </p:nvSpPr>
          <p:spPr bwMode="auto">
            <a:xfrm>
              <a:off x="-6672764" y="2824163"/>
              <a:ext cx="108251" cy="154457"/>
            </a:xfrm>
            <a:custGeom>
              <a:avLst/>
              <a:gdLst/>
              <a:ahLst/>
              <a:cxnLst>
                <a:cxn ang="0">
                  <a:pos x="20" y="46"/>
                </a:cxn>
                <a:cxn ang="0">
                  <a:pos x="17" y="48"/>
                </a:cxn>
                <a:cxn ang="0">
                  <a:pos x="20" y="50"/>
                </a:cxn>
                <a:cxn ang="0">
                  <a:pos x="22" y="48"/>
                </a:cxn>
                <a:cxn ang="0">
                  <a:pos x="20" y="46"/>
                </a:cxn>
                <a:cxn ang="0">
                  <a:pos x="33" y="0"/>
                </a:cxn>
                <a:cxn ang="0">
                  <a:pos x="7" y="0"/>
                </a:cxn>
                <a:cxn ang="0">
                  <a:pos x="0" y="6"/>
                </a:cxn>
                <a:cxn ang="0">
                  <a:pos x="0" y="26"/>
                </a:cxn>
                <a:cxn ang="0">
                  <a:pos x="0" y="48"/>
                </a:cxn>
                <a:cxn ang="0">
                  <a:pos x="7" y="54"/>
                </a:cxn>
                <a:cxn ang="0">
                  <a:pos x="19" y="56"/>
                </a:cxn>
                <a:cxn ang="0">
                  <a:pos x="33" y="54"/>
                </a:cxn>
                <a:cxn ang="0">
                  <a:pos x="39" y="48"/>
                </a:cxn>
                <a:cxn ang="0">
                  <a:pos x="39" y="14"/>
                </a:cxn>
                <a:cxn ang="0">
                  <a:pos x="39" y="6"/>
                </a:cxn>
                <a:cxn ang="0">
                  <a:pos x="33" y="0"/>
                </a:cxn>
                <a:cxn ang="0">
                  <a:pos x="8" y="48"/>
                </a:cxn>
                <a:cxn ang="0">
                  <a:pos x="5" y="46"/>
                </a:cxn>
                <a:cxn ang="0">
                  <a:pos x="8" y="44"/>
                </a:cxn>
                <a:cxn ang="0">
                  <a:pos x="10" y="46"/>
                </a:cxn>
                <a:cxn ang="0">
                  <a:pos x="8" y="48"/>
                </a:cxn>
                <a:cxn ang="0">
                  <a:pos x="20" y="53"/>
                </a:cxn>
                <a:cxn ang="0">
                  <a:pos x="15" y="48"/>
                </a:cxn>
                <a:cxn ang="0">
                  <a:pos x="20" y="43"/>
                </a:cxn>
                <a:cxn ang="0">
                  <a:pos x="24" y="48"/>
                </a:cxn>
                <a:cxn ang="0">
                  <a:pos x="20" y="53"/>
                </a:cxn>
                <a:cxn ang="0">
                  <a:pos x="32" y="48"/>
                </a:cxn>
                <a:cxn ang="0">
                  <a:pos x="29" y="46"/>
                </a:cxn>
                <a:cxn ang="0">
                  <a:pos x="32" y="44"/>
                </a:cxn>
                <a:cxn ang="0">
                  <a:pos x="34" y="46"/>
                </a:cxn>
                <a:cxn ang="0">
                  <a:pos x="32" y="48"/>
                </a:cxn>
                <a:cxn ang="0">
                  <a:pos x="35" y="16"/>
                </a:cxn>
                <a:cxn ang="0">
                  <a:pos x="35" y="37"/>
                </a:cxn>
                <a:cxn ang="0">
                  <a:pos x="31" y="41"/>
                </a:cxn>
                <a:cxn ang="0">
                  <a:pos x="8" y="41"/>
                </a:cxn>
                <a:cxn ang="0">
                  <a:pos x="4" y="37"/>
                </a:cxn>
                <a:cxn ang="0">
                  <a:pos x="4" y="26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31" y="4"/>
                </a:cxn>
                <a:cxn ang="0">
                  <a:pos x="35" y="8"/>
                </a:cxn>
                <a:cxn ang="0">
                  <a:pos x="35" y="16"/>
                </a:cxn>
              </a:cxnLst>
              <a:rect l="0" t="0" r="r" b="b"/>
              <a:pathLst>
                <a:path w="39" h="56">
                  <a:moveTo>
                    <a:pt x="20" y="46"/>
                  </a:moveTo>
                  <a:cubicBezTo>
                    <a:pt x="18" y="46"/>
                    <a:pt x="17" y="47"/>
                    <a:pt x="17" y="48"/>
                  </a:cubicBezTo>
                  <a:cubicBezTo>
                    <a:pt x="17" y="49"/>
                    <a:pt x="18" y="50"/>
                    <a:pt x="20" y="50"/>
                  </a:cubicBezTo>
                  <a:cubicBezTo>
                    <a:pt x="21" y="50"/>
                    <a:pt x="22" y="49"/>
                    <a:pt x="22" y="48"/>
                  </a:cubicBezTo>
                  <a:cubicBezTo>
                    <a:pt x="22" y="47"/>
                    <a:pt x="21" y="46"/>
                    <a:pt x="20" y="46"/>
                  </a:cubicBezTo>
                  <a:close/>
                  <a:moveTo>
                    <a:pt x="33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2"/>
                    <a:pt x="3" y="53"/>
                    <a:pt x="7" y="54"/>
                  </a:cubicBezTo>
                  <a:cubicBezTo>
                    <a:pt x="9" y="55"/>
                    <a:pt x="11" y="56"/>
                    <a:pt x="19" y="56"/>
                  </a:cubicBezTo>
                  <a:cubicBezTo>
                    <a:pt x="27" y="56"/>
                    <a:pt x="29" y="55"/>
                    <a:pt x="33" y="54"/>
                  </a:cubicBezTo>
                  <a:cubicBezTo>
                    <a:pt x="36" y="53"/>
                    <a:pt x="39" y="52"/>
                    <a:pt x="39" y="48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3"/>
                    <a:pt x="36" y="0"/>
                    <a:pt x="33" y="0"/>
                  </a:cubicBezTo>
                  <a:close/>
                  <a:moveTo>
                    <a:pt x="8" y="48"/>
                  </a:moveTo>
                  <a:cubicBezTo>
                    <a:pt x="6" y="48"/>
                    <a:pt x="5" y="47"/>
                    <a:pt x="5" y="46"/>
                  </a:cubicBezTo>
                  <a:cubicBezTo>
                    <a:pt x="5" y="45"/>
                    <a:pt x="6" y="44"/>
                    <a:pt x="8" y="44"/>
                  </a:cubicBezTo>
                  <a:cubicBezTo>
                    <a:pt x="9" y="44"/>
                    <a:pt x="10" y="45"/>
                    <a:pt x="10" y="46"/>
                  </a:cubicBezTo>
                  <a:cubicBezTo>
                    <a:pt x="10" y="47"/>
                    <a:pt x="9" y="48"/>
                    <a:pt x="8" y="48"/>
                  </a:cubicBezTo>
                  <a:close/>
                  <a:moveTo>
                    <a:pt x="20" y="53"/>
                  </a:moveTo>
                  <a:cubicBezTo>
                    <a:pt x="17" y="53"/>
                    <a:pt x="15" y="51"/>
                    <a:pt x="15" y="48"/>
                  </a:cubicBezTo>
                  <a:cubicBezTo>
                    <a:pt x="15" y="46"/>
                    <a:pt x="17" y="43"/>
                    <a:pt x="20" y="43"/>
                  </a:cubicBezTo>
                  <a:cubicBezTo>
                    <a:pt x="22" y="43"/>
                    <a:pt x="24" y="46"/>
                    <a:pt x="24" y="48"/>
                  </a:cubicBezTo>
                  <a:cubicBezTo>
                    <a:pt x="24" y="51"/>
                    <a:pt x="22" y="53"/>
                    <a:pt x="20" y="53"/>
                  </a:cubicBezTo>
                  <a:close/>
                  <a:moveTo>
                    <a:pt x="32" y="48"/>
                  </a:moveTo>
                  <a:cubicBezTo>
                    <a:pt x="30" y="48"/>
                    <a:pt x="29" y="47"/>
                    <a:pt x="29" y="46"/>
                  </a:cubicBezTo>
                  <a:cubicBezTo>
                    <a:pt x="29" y="45"/>
                    <a:pt x="30" y="44"/>
                    <a:pt x="32" y="44"/>
                  </a:cubicBezTo>
                  <a:cubicBezTo>
                    <a:pt x="33" y="44"/>
                    <a:pt x="34" y="45"/>
                    <a:pt x="34" y="46"/>
                  </a:cubicBezTo>
                  <a:cubicBezTo>
                    <a:pt x="34" y="47"/>
                    <a:pt x="33" y="48"/>
                    <a:pt x="32" y="48"/>
                  </a:cubicBezTo>
                  <a:close/>
                  <a:moveTo>
                    <a:pt x="35" y="16"/>
                  </a:moveTo>
                  <a:cubicBezTo>
                    <a:pt x="35" y="37"/>
                    <a:pt x="35" y="37"/>
                    <a:pt x="35" y="37"/>
                  </a:cubicBezTo>
                  <a:cubicBezTo>
                    <a:pt x="35" y="39"/>
                    <a:pt x="33" y="41"/>
                    <a:pt x="31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6" y="41"/>
                    <a:pt x="4" y="39"/>
                    <a:pt x="4" y="37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5"/>
                    <a:pt x="6" y="4"/>
                    <a:pt x="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3" y="4"/>
                    <a:pt x="35" y="5"/>
                    <a:pt x="35" y="8"/>
                  </a:cubicBezTo>
                  <a:lnTo>
                    <a:pt x="35" y="16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19814" name="Rectangle 11"/>
          <p:cNvSpPr>
            <a:spLocks noChangeArrowheads="1"/>
          </p:cNvSpPr>
          <p:nvPr/>
        </p:nvSpPr>
        <p:spPr bwMode="auto">
          <a:xfrm>
            <a:off x="276225" y="5559425"/>
            <a:ext cx="3149600" cy="935038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9815" name="Rectangle 12"/>
          <p:cNvSpPr>
            <a:spLocks noChangeArrowheads="1"/>
          </p:cNvSpPr>
          <p:nvPr/>
        </p:nvSpPr>
        <p:spPr bwMode="auto">
          <a:xfrm>
            <a:off x="12700" y="677863"/>
            <a:ext cx="3149600" cy="935037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Text Box 54"/>
          <p:cNvSpPr txBox="1">
            <a:spLocks noChangeArrowheads="1"/>
          </p:cNvSpPr>
          <p:nvPr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no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hu-HU" sz="800" baseline="0" noProof="0" dirty="0" smtClean="0">
                <a:solidFill>
                  <a:srgbClr val="7D7D7D"/>
                </a:solidFill>
                <a:ea typeface="Arial Unicode MS" pitchFamily="34" charset="-128"/>
                <a:cs typeface="Arial Unicode MS" pitchFamily="34" charset="-128"/>
              </a:rPr>
              <a:t>A Google bizalmas és saját tulajdonú információi</a:t>
            </a:r>
            <a:endParaRPr lang="hu-HU" sz="800" baseline="0" noProof="0" dirty="0">
              <a:solidFill>
                <a:srgbClr val="7D7D7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7" name="Title 2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476250"/>
          </a:xfrm>
        </p:spPr>
        <p:txBody>
          <a:bodyPr>
            <a:noAutofit/>
          </a:bodyPr>
          <a:lstStyle/>
          <a:p>
            <a:r>
              <a:rPr lang="hu-HU" smtClean="0"/>
              <a:t>Az offline hirdetésmegjelenítések mobilkeresésekhez vezetnek</a:t>
            </a:r>
          </a:p>
        </p:txBody>
      </p:sp>
      <p:sp>
        <p:nvSpPr>
          <p:cNvPr id="121858" name="Slide Number Placeholder 1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C975F98A-5DEC-430F-A0EE-7924BF07EFF1}" type="slidenum">
              <a:rPr lang="hu-HU"/>
              <a:pPr/>
              <a:t>22</a:t>
            </a:fld>
            <a:endParaRPr lang="hu-HU"/>
          </a:p>
        </p:txBody>
      </p:sp>
      <p:sp>
        <p:nvSpPr>
          <p:cNvPr id="121859" name="TextBox 7"/>
          <p:cNvSpPr txBox="1">
            <a:spLocks noChangeArrowheads="1"/>
          </p:cNvSpPr>
          <p:nvPr/>
        </p:nvSpPr>
        <p:spPr bwMode="auto">
          <a:xfrm>
            <a:off x="500702" y="6370638"/>
            <a:ext cx="8316913" cy="43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5000"/>
              </a:lnSpc>
              <a:tabLst>
                <a:tab pos="603250" algn="l"/>
              </a:tabLst>
            </a:pP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Alapja:	Okostelefon-használók</a:t>
            </a: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, akik az internetet általánosságban használják, </a:t>
            </a: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n=1000</a:t>
            </a:r>
          </a:p>
          <a:p>
            <a:pPr defTabSz="609600">
              <a:lnSpc>
                <a:spcPct val="95000"/>
              </a:lnSpc>
              <a:tabLst>
                <a:tab pos="344488" algn="l"/>
              </a:tabLst>
            </a:pP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43/a </a:t>
            </a: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kérdés: 	Visszagondolva az elmúlt 6 hónapra, milyen gyakran végzett keresést okostelefonja segítségével </a:t>
            </a:r>
          </a:p>
          <a:p>
            <a:pPr>
              <a:lnSpc>
                <a:spcPct val="95000"/>
              </a:lnSpc>
              <a:tabLst>
                <a:tab pos="609600" algn="l"/>
              </a:tabLst>
            </a:pP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	egy magazinban, plakáton, Tv-ben vagy üzletben látott hirdetésre reagálva?</a:t>
            </a:r>
          </a:p>
        </p:txBody>
      </p:sp>
      <p:sp>
        <p:nvSpPr>
          <p:cNvPr id="6" name="Oval 5"/>
          <p:cNvSpPr/>
          <p:nvPr/>
        </p:nvSpPr>
        <p:spPr bwMode="auto">
          <a:xfrm>
            <a:off x="5260975" y="1885950"/>
            <a:ext cx="1143000" cy="11430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7007225" y="1885950"/>
            <a:ext cx="1143000" cy="11430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Oval 7"/>
          <p:cNvSpPr/>
          <p:nvPr/>
        </p:nvSpPr>
        <p:spPr bwMode="auto">
          <a:xfrm>
            <a:off x="5264150" y="3843338"/>
            <a:ext cx="1143000" cy="11430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7008813" y="3843338"/>
            <a:ext cx="1143000" cy="1143000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Content Placeholder 6"/>
          <p:cNvSpPr txBox="1">
            <a:spLocks/>
          </p:cNvSpPr>
          <p:nvPr/>
        </p:nvSpPr>
        <p:spPr bwMode="auto">
          <a:xfrm>
            <a:off x="4705019" y="1139825"/>
            <a:ext cx="4022725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noAutofit/>
          </a:bodyPr>
          <a:lstStyle/>
          <a:p>
            <a:pPr algn="ctr">
              <a:lnSpc>
                <a:spcPct val="95000"/>
              </a:lnSpc>
              <a:spcBef>
                <a:spcPct val="100000"/>
              </a:spcBef>
              <a:spcAft>
                <a:spcPct val="5000"/>
              </a:spcAft>
              <a:defRPr/>
            </a:pPr>
            <a:r>
              <a:rPr lang="hu-HU" sz="2400" kern="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Hirdetés helye</a:t>
            </a:r>
            <a:endParaRPr lang="hu-HU" sz="2400" kern="0">
              <a:solidFill>
                <a:schemeClr val="bg2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1" name="Content Placeholder 6"/>
          <p:cNvSpPr txBox="1">
            <a:spLocks/>
          </p:cNvSpPr>
          <p:nvPr/>
        </p:nvSpPr>
        <p:spPr bwMode="auto">
          <a:xfrm>
            <a:off x="4971102" y="3092450"/>
            <a:ext cx="17319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noAutofit/>
          </a:bodyPr>
          <a:lstStyle/>
          <a:p>
            <a:pPr algn="ctr">
              <a:lnSpc>
                <a:spcPct val="95000"/>
              </a:lnSpc>
              <a:spcBef>
                <a:spcPct val="100000"/>
              </a:spcBef>
              <a:spcAft>
                <a:spcPct val="5000"/>
              </a:spcAft>
            </a:pPr>
            <a:r>
              <a:rPr lang="hu-HU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Tv</a:t>
            </a:r>
            <a:r>
              <a:rPr lang="hu-HU"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>
                <a:ea typeface="Arial Unicode MS" pitchFamily="34" charset="-128"/>
                <a:cs typeface="Arial Unicode MS" pitchFamily="34" charset="-128"/>
              </a:rPr>
            </a:br>
            <a:r>
              <a:rPr lang="hu-HU" sz="2000" b="1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54%</a:t>
            </a:r>
          </a:p>
        </p:txBody>
      </p:sp>
      <p:sp>
        <p:nvSpPr>
          <p:cNvPr id="22" name="Content Placeholder 6"/>
          <p:cNvSpPr txBox="1">
            <a:spLocks/>
          </p:cNvSpPr>
          <p:nvPr/>
        </p:nvSpPr>
        <p:spPr bwMode="auto">
          <a:xfrm>
            <a:off x="6714177" y="3092450"/>
            <a:ext cx="17319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noAutofit/>
          </a:bodyPr>
          <a:lstStyle/>
          <a:p>
            <a:pPr algn="ctr">
              <a:lnSpc>
                <a:spcPct val="95000"/>
              </a:lnSpc>
              <a:spcBef>
                <a:spcPct val="100000"/>
              </a:spcBef>
              <a:spcAft>
                <a:spcPct val="5000"/>
              </a:spcAft>
              <a:defRPr/>
            </a:pPr>
            <a:r>
              <a:rPr lang="hu-HU" kern="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Üzlet/vállalkozás</a:t>
            </a:r>
            <a:r>
              <a:rPr lang="hu-HU" smtClean="0"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mtClean="0">
                <a:ea typeface="Arial Unicode MS" pitchFamily="34" charset="-128"/>
                <a:cs typeface="Arial Unicode MS" pitchFamily="34" charset="-128"/>
              </a:rPr>
            </a:br>
            <a:r>
              <a:rPr lang="hu-HU" sz="2000" b="1" kern="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52%</a:t>
            </a:r>
            <a:endParaRPr lang="hu-HU" sz="2000" b="1" kern="0">
              <a:solidFill>
                <a:schemeClr val="bg2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3" name="Content Placeholder 6"/>
          <p:cNvSpPr txBox="1">
            <a:spLocks/>
          </p:cNvSpPr>
          <p:nvPr/>
        </p:nvSpPr>
        <p:spPr bwMode="auto">
          <a:xfrm>
            <a:off x="4971102" y="5049838"/>
            <a:ext cx="1731963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noAutofit/>
          </a:bodyPr>
          <a:lstStyle/>
          <a:p>
            <a:pPr algn="ctr">
              <a:lnSpc>
                <a:spcPct val="95000"/>
              </a:lnSpc>
              <a:spcBef>
                <a:spcPct val="100000"/>
              </a:spcBef>
              <a:spcAft>
                <a:spcPct val="5000"/>
              </a:spcAft>
              <a:defRPr/>
            </a:pPr>
            <a:r>
              <a:rPr lang="hu-HU" kern="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Magazinok</a:t>
            </a:r>
            <a:r>
              <a:rPr lang="hu-HU" smtClean="0"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mtClean="0">
                <a:ea typeface="Arial Unicode MS" pitchFamily="34" charset="-128"/>
                <a:cs typeface="Arial Unicode MS" pitchFamily="34" charset="-128"/>
              </a:rPr>
            </a:br>
            <a:r>
              <a:rPr lang="hu-HU" sz="2000" b="1" kern="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46%</a:t>
            </a:r>
            <a:endParaRPr lang="hu-HU" sz="2000" b="1" kern="0">
              <a:solidFill>
                <a:schemeClr val="bg2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4" name="Content Placeholder 6"/>
          <p:cNvSpPr txBox="1">
            <a:spLocks/>
          </p:cNvSpPr>
          <p:nvPr/>
        </p:nvSpPr>
        <p:spPr bwMode="auto">
          <a:xfrm>
            <a:off x="6506282" y="5049838"/>
            <a:ext cx="215265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noAutofit/>
          </a:bodyPr>
          <a:lstStyle/>
          <a:p>
            <a:pPr algn="ctr">
              <a:lnSpc>
                <a:spcPct val="95000"/>
              </a:lnSpc>
              <a:spcBef>
                <a:spcPct val="100000"/>
              </a:spcBef>
              <a:spcAft>
                <a:spcPct val="5000"/>
              </a:spcAft>
              <a:defRPr/>
            </a:pPr>
            <a:r>
              <a:rPr lang="hu-HU" kern="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Plakátok/hirdetőtáblák</a:t>
            </a:r>
            <a:r>
              <a:rPr lang="hu-HU" smtClean="0"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mtClean="0">
                <a:ea typeface="Arial Unicode MS" pitchFamily="34" charset="-128"/>
                <a:cs typeface="Arial Unicode MS" pitchFamily="34" charset="-128"/>
              </a:rPr>
            </a:br>
            <a:r>
              <a:rPr lang="hu-HU" sz="2000" b="1" kern="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36%</a:t>
            </a:r>
            <a:endParaRPr lang="hu-HU" sz="2000" b="1" kern="0">
              <a:solidFill>
                <a:schemeClr val="bg2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41" name="Freeform 29"/>
          <p:cNvSpPr>
            <a:spLocks noEditPoints="1"/>
          </p:cNvSpPr>
          <p:nvPr/>
        </p:nvSpPr>
        <p:spPr bwMode="auto">
          <a:xfrm>
            <a:off x="7275513" y="4165600"/>
            <a:ext cx="588962" cy="566738"/>
          </a:xfrm>
          <a:custGeom>
            <a:avLst/>
            <a:gdLst>
              <a:gd name="T0" fmla="*/ 705 w 710"/>
              <a:gd name="T1" fmla="*/ 63 h 683"/>
              <a:gd name="T2" fmla="*/ 643 w 710"/>
              <a:gd name="T3" fmla="*/ 0 h 683"/>
              <a:gd name="T4" fmla="*/ 62 w 710"/>
              <a:gd name="T5" fmla="*/ 0 h 683"/>
              <a:gd name="T6" fmla="*/ 0 w 710"/>
              <a:gd name="T7" fmla="*/ 63 h 683"/>
              <a:gd name="T8" fmla="*/ 0 w 710"/>
              <a:gd name="T9" fmla="*/ 429 h 683"/>
              <a:gd name="T10" fmla="*/ 72 w 710"/>
              <a:gd name="T11" fmla="*/ 528 h 683"/>
              <a:gd name="T12" fmla="*/ 656 w 710"/>
              <a:gd name="T13" fmla="*/ 681 h 683"/>
              <a:gd name="T14" fmla="*/ 676 w 710"/>
              <a:gd name="T15" fmla="*/ 683 h 683"/>
              <a:gd name="T16" fmla="*/ 701 w 710"/>
              <a:gd name="T17" fmla="*/ 674 h 683"/>
              <a:gd name="T18" fmla="*/ 710 w 710"/>
              <a:gd name="T19" fmla="*/ 632 h 683"/>
              <a:gd name="T20" fmla="*/ 705 w 710"/>
              <a:gd name="T21" fmla="*/ 63 h 683"/>
              <a:gd name="T22" fmla="*/ 36 w 710"/>
              <a:gd name="T23" fmla="*/ 63 h 683"/>
              <a:gd name="T24" fmla="*/ 62 w 710"/>
              <a:gd name="T25" fmla="*/ 37 h 683"/>
              <a:gd name="T26" fmla="*/ 643 w 710"/>
              <a:gd name="T27" fmla="*/ 37 h 683"/>
              <a:gd name="T28" fmla="*/ 671 w 710"/>
              <a:gd name="T29" fmla="*/ 63 h 683"/>
              <a:gd name="T30" fmla="*/ 671 w 710"/>
              <a:gd name="T31" fmla="*/ 650 h 683"/>
              <a:gd name="T32" fmla="*/ 250 w 710"/>
              <a:gd name="T33" fmla="*/ 384 h 683"/>
              <a:gd name="T34" fmla="*/ 184 w 710"/>
              <a:gd name="T35" fmla="*/ 411 h 683"/>
              <a:gd name="T36" fmla="*/ 37 w 710"/>
              <a:gd name="T37" fmla="*/ 438 h 683"/>
              <a:gd name="T38" fmla="*/ 36 w 710"/>
              <a:gd name="T39" fmla="*/ 63 h 683"/>
              <a:gd name="T40" fmla="*/ 37 w 710"/>
              <a:gd name="T41" fmla="*/ 446 h 683"/>
              <a:gd name="T42" fmla="*/ 37 w 710"/>
              <a:gd name="T43" fmla="*/ 444 h 683"/>
              <a:gd name="T44" fmla="*/ 37 w 710"/>
              <a:gd name="T45" fmla="*/ 446 h 6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710" h="683">
                <a:moveTo>
                  <a:pt x="705" y="63"/>
                </a:moveTo>
                <a:cubicBezTo>
                  <a:pt x="705" y="17"/>
                  <a:pt x="689" y="0"/>
                  <a:pt x="643" y="0"/>
                </a:cubicBezTo>
                <a:cubicBezTo>
                  <a:pt x="62" y="0"/>
                  <a:pt x="62" y="0"/>
                  <a:pt x="62" y="0"/>
                </a:cubicBezTo>
                <a:cubicBezTo>
                  <a:pt x="16" y="0"/>
                  <a:pt x="0" y="17"/>
                  <a:pt x="0" y="63"/>
                </a:cubicBezTo>
                <a:cubicBezTo>
                  <a:pt x="0" y="429"/>
                  <a:pt x="0" y="429"/>
                  <a:pt x="0" y="429"/>
                </a:cubicBezTo>
                <a:cubicBezTo>
                  <a:pt x="0" y="486"/>
                  <a:pt x="29" y="514"/>
                  <a:pt x="72" y="528"/>
                </a:cubicBezTo>
                <a:cubicBezTo>
                  <a:pt x="115" y="542"/>
                  <a:pt x="656" y="681"/>
                  <a:pt x="656" y="681"/>
                </a:cubicBezTo>
                <a:cubicBezTo>
                  <a:pt x="664" y="682"/>
                  <a:pt x="671" y="683"/>
                  <a:pt x="676" y="683"/>
                </a:cubicBezTo>
                <a:cubicBezTo>
                  <a:pt x="680" y="683"/>
                  <a:pt x="692" y="683"/>
                  <a:pt x="701" y="674"/>
                </a:cubicBezTo>
                <a:cubicBezTo>
                  <a:pt x="710" y="664"/>
                  <a:pt x="710" y="651"/>
                  <a:pt x="710" y="632"/>
                </a:cubicBezTo>
                <a:lnTo>
                  <a:pt x="705" y="63"/>
                </a:lnTo>
                <a:close/>
                <a:moveTo>
                  <a:pt x="36" y="63"/>
                </a:moveTo>
                <a:cubicBezTo>
                  <a:pt x="36" y="37"/>
                  <a:pt x="36" y="37"/>
                  <a:pt x="62" y="37"/>
                </a:cubicBezTo>
                <a:cubicBezTo>
                  <a:pt x="643" y="37"/>
                  <a:pt x="643" y="37"/>
                  <a:pt x="643" y="37"/>
                </a:cubicBezTo>
                <a:cubicBezTo>
                  <a:pt x="669" y="37"/>
                  <a:pt x="671" y="37"/>
                  <a:pt x="671" y="63"/>
                </a:cubicBezTo>
                <a:cubicBezTo>
                  <a:pt x="671" y="63"/>
                  <a:pt x="671" y="646"/>
                  <a:pt x="671" y="650"/>
                </a:cubicBezTo>
                <a:cubicBezTo>
                  <a:pt x="670" y="649"/>
                  <a:pt x="267" y="393"/>
                  <a:pt x="250" y="384"/>
                </a:cubicBezTo>
                <a:cubicBezTo>
                  <a:pt x="230" y="373"/>
                  <a:pt x="202" y="374"/>
                  <a:pt x="184" y="411"/>
                </a:cubicBezTo>
                <a:cubicBezTo>
                  <a:pt x="146" y="490"/>
                  <a:pt x="39" y="524"/>
                  <a:pt x="37" y="438"/>
                </a:cubicBezTo>
                <a:cubicBezTo>
                  <a:pt x="36" y="435"/>
                  <a:pt x="36" y="63"/>
                  <a:pt x="36" y="63"/>
                </a:cubicBezTo>
                <a:close/>
                <a:moveTo>
                  <a:pt x="37" y="446"/>
                </a:moveTo>
                <a:cubicBezTo>
                  <a:pt x="37" y="445"/>
                  <a:pt x="37" y="445"/>
                  <a:pt x="37" y="444"/>
                </a:cubicBezTo>
                <a:lnTo>
                  <a:pt x="37" y="446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44" name="Freeform 34"/>
          <p:cNvSpPr>
            <a:spLocks noEditPoints="1"/>
          </p:cNvSpPr>
          <p:nvPr/>
        </p:nvSpPr>
        <p:spPr bwMode="auto">
          <a:xfrm>
            <a:off x="7216775" y="2063750"/>
            <a:ext cx="647700" cy="681038"/>
          </a:xfrm>
          <a:custGeom>
            <a:avLst/>
            <a:gdLst>
              <a:gd name="T0" fmla="*/ 36 w 531"/>
              <a:gd name="T1" fmla="*/ 249 h 559"/>
              <a:gd name="T2" fmla="*/ 0 w 531"/>
              <a:gd name="T3" fmla="*/ 559 h 559"/>
              <a:gd name="T4" fmla="*/ 310 w 531"/>
              <a:gd name="T5" fmla="*/ 559 h 559"/>
              <a:gd name="T6" fmla="*/ 274 w 531"/>
              <a:gd name="T7" fmla="*/ 249 h 559"/>
              <a:gd name="T8" fmla="*/ 36 w 531"/>
              <a:gd name="T9" fmla="*/ 249 h 559"/>
              <a:gd name="T10" fmla="*/ 98 w 531"/>
              <a:gd name="T11" fmla="*/ 273 h 559"/>
              <a:gd name="T12" fmla="*/ 116 w 531"/>
              <a:gd name="T13" fmla="*/ 291 h 559"/>
              <a:gd name="T14" fmla="*/ 103 w 531"/>
              <a:gd name="T15" fmla="*/ 309 h 559"/>
              <a:gd name="T16" fmla="*/ 117 w 531"/>
              <a:gd name="T17" fmla="*/ 369 h 559"/>
              <a:gd name="T18" fmla="*/ 160 w 531"/>
              <a:gd name="T19" fmla="*/ 386 h 559"/>
              <a:gd name="T20" fmla="*/ 188 w 531"/>
              <a:gd name="T21" fmla="*/ 369 h 559"/>
              <a:gd name="T22" fmla="*/ 206 w 531"/>
              <a:gd name="T23" fmla="*/ 309 h 559"/>
              <a:gd name="T24" fmla="*/ 193 w 531"/>
              <a:gd name="T25" fmla="*/ 291 h 559"/>
              <a:gd name="T26" fmla="*/ 211 w 531"/>
              <a:gd name="T27" fmla="*/ 273 h 559"/>
              <a:gd name="T28" fmla="*/ 230 w 531"/>
              <a:gd name="T29" fmla="*/ 291 h 559"/>
              <a:gd name="T30" fmla="*/ 218 w 531"/>
              <a:gd name="T31" fmla="*/ 308 h 559"/>
              <a:gd name="T32" fmla="*/ 198 w 531"/>
              <a:gd name="T33" fmla="*/ 377 h 559"/>
              <a:gd name="T34" fmla="*/ 160 w 531"/>
              <a:gd name="T35" fmla="*/ 398 h 559"/>
              <a:gd name="T36" fmla="*/ 107 w 531"/>
              <a:gd name="T37" fmla="*/ 376 h 559"/>
              <a:gd name="T38" fmla="*/ 91 w 531"/>
              <a:gd name="T39" fmla="*/ 308 h 559"/>
              <a:gd name="T40" fmla="*/ 79 w 531"/>
              <a:gd name="T41" fmla="*/ 291 h 559"/>
              <a:gd name="T42" fmla="*/ 98 w 531"/>
              <a:gd name="T43" fmla="*/ 273 h 559"/>
              <a:gd name="T44" fmla="*/ 298 w 531"/>
              <a:gd name="T45" fmla="*/ 538 h 559"/>
              <a:gd name="T46" fmla="*/ 291 w 531"/>
              <a:gd name="T47" fmla="*/ 545 h 559"/>
              <a:gd name="T48" fmla="*/ 17 w 531"/>
              <a:gd name="T49" fmla="*/ 545 h 559"/>
              <a:gd name="T50" fmla="*/ 49 w 531"/>
              <a:gd name="T51" fmla="*/ 264 h 559"/>
              <a:gd name="T52" fmla="*/ 56 w 531"/>
              <a:gd name="T53" fmla="*/ 258 h 559"/>
              <a:gd name="T54" fmla="*/ 62 w 531"/>
              <a:gd name="T55" fmla="*/ 266 h 559"/>
              <a:gd name="T56" fmla="*/ 32 w 531"/>
              <a:gd name="T57" fmla="*/ 532 h 559"/>
              <a:gd name="T58" fmla="*/ 291 w 531"/>
              <a:gd name="T59" fmla="*/ 532 h 559"/>
              <a:gd name="T60" fmla="*/ 298 w 531"/>
              <a:gd name="T61" fmla="*/ 538 h 559"/>
              <a:gd name="T62" fmla="*/ 424 w 531"/>
              <a:gd name="T63" fmla="*/ 133 h 559"/>
              <a:gd name="T64" fmla="*/ 403 w 531"/>
              <a:gd name="T65" fmla="*/ 30 h 559"/>
              <a:gd name="T66" fmla="*/ 333 w 531"/>
              <a:gd name="T67" fmla="*/ 2 h 559"/>
              <a:gd name="T68" fmla="*/ 285 w 531"/>
              <a:gd name="T69" fmla="*/ 29 h 559"/>
              <a:gd name="T70" fmla="*/ 257 w 531"/>
              <a:gd name="T71" fmla="*/ 133 h 559"/>
              <a:gd name="T72" fmla="*/ 147 w 531"/>
              <a:gd name="T73" fmla="*/ 133 h 559"/>
              <a:gd name="T74" fmla="*/ 147 w 531"/>
              <a:gd name="T75" fmla="*/ 222 h 559"/>
              <a:gd name="T76" fmla="*/ 298 w 531"/>
              <a:gd name="T77" fmla="*/ 222 h 559"/>
              <a:gd name="T78" fmla="*/ 337 w 531"/>
              <a:gd name="T79" fmla="*/ 559 h 559"/>
              <a:gd name="T80" fmla="*/ 531 w 531"/>
              <a:gd name="T81" fmla="*/ 559 h 559"/>
              <a:gd name="T82" fmla="*/ 531 w 531"/>
              <a:gd name="T83" fmla="*/ 133 h 559"/>
              <a:gd name="T84" fmla="*/ 424 w 531"/>
              <a:gd name="T85" fmla="*/ 133 h 559"/>
              <a:gd name="T86" fmla="*/ 268 w 531"/>
              <a:gd name="T87" fmla="*/ 207 h 559"/>
              <a:gd name="T88" fmla="*/ 245 w 531"/>
              <a:gd name="T89" fmla="*/ 185 h 559"/>
              <a:gd name="T90" fmla="*/ 268 w 531"/>
              <a:gd name="T91" fmla="*/ 163 h 559"/>
              <a:gd name="T92" fmla="*/ 290 w 531"/>
              <a:gd name="T93" fmla="*/ 185 h 559"/>
              <a:gd name="T94" fmla="*/ 268 w 531"/>
              <a:gd name="T95" fmla="*/ 207 h 559"/>
              <a:gd name="T96" fmla="*/ 273 w 531"/>
              <a:gd name="T97" fmla="*/ 133 h 559"/>
              <a:gd name="T98" fmla="*/ 297 w 531"/>
              <a:gd name="T99" fmla="*/ 39 h 559"/>
              <a:gd name="T100" fmla="*/ 334 w 531"/>
              <a:gd name="T101" fmla="*/ 17 h 559"/>
              <a:gd name="T102" fmla="*/ 391 w 531"/>
              <a:gd name="T103" fmla="*/ 40 h 559"/>
              <a:gd name="T104" fmla="*/ 409 w 531"/>
              <a:gd name="T105" fmla="*/ 133 h 559"/>
              <a:gd name="T106" fmla="*/ 273 w 531"/>
              <a:gd name="T107" fmla="*/ 133 h 559"/>
              <a:gd name="T108" fmla="*/ 409 w 531"/>
              <a:gd name="T109" fmla="*/ 207 h 559"/>
              <a:gd name="T110" fmla="*/ 386 w 531"/>
              <a:gd name="T111" fmla="*/ 185 h 559"/>
              <a:gd name="T112" fmla="*/ 409 w 531"/>
              <a:gd name="T113" fmla="*/ 163 h 559"/>
              <a:gd name="T114" fmla="*/ 431 w 531"/>
              <a:gd name="T115" fmla="*/ 185 h 559"/>
              <a:gd name="T116" fmla="*/ 409 w 531"/>
              <a:gd name="T117" fmla="*/ 207 h 5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31" h="559">
                <a:moveTo>
                  <a:pt x="36" y="249"/>
                </a:moveTo>
                <a:cubicBezTo>
                  <a:pt x="0" y="559"/>
                  <a:pt x="0" y="559"/>
                  <a:pt x="0" y="559"/>
                </a:cubicBezTo>
                <a:cubicBezTo>
                  <a:pt x="310" y="559"/>
                  <a:pt x="310" y="559"/>
                  <a:pt x="310" y="559"/>
                </a:cubicBezTo>
                <a:cubicBezTo>
                  <a:pt x="274" y="249"/>
                  <a:pt x="274" y="249"/>
                  <a:pt x="274" y="249"/>
                </a:cubicBezTo>
                <a:lnTo>
                  <a:pt x="36" y="249"/>
                </a:lnTo>
                <a:close/>
                <a:moveTo>
                  <a:pt x="98" y="273"/>
                </a:moveTo>
                <a:cubicBezTo>
                  <a:pt x="108" y="273"/>
                  <a:pt x="116" y="281"/>
                  <a:pt x="116" y="291"/>
                </a:cubicBezTo>
                <a:cubicBezTo>
                  <a:pt x="116" y="300"/>
                  <a:pt x="110" y="307"/>
                  <a:pt x="103" y="309"/>
                </a:cubicBezTo>
                <a:cubicBezTo>
                  <a:pt x="102" y="332"/>
                  <a:pt x="106" y="354"/>
                  <a:pt x="117" y="369"/>
                </a:cubicBezTo>
                <a:cubicBezTo>
                  <a:pt x="126" y="381"/>
                  <a:pt x="141" y="387"/>
                  <a:pt x="160" y="386"/>
                </a:cubicBezTo>
                <a:cubicBezTo>
                  <a:pt x="171" y="385"/>
                  <a:pt x="180" y="380"/>
                  <a:pt x="188" y="369"/>
                </a:cubicBezTo>
                <a:cubicBezTo>
                  <a:pt x="198" y="356"/>
                  <a:pt x="204" y="334"/>
                  <a:pt x="206" y="309"/>
                </a:cubicBezTo>
                <a:cubicBezTo>
                  <a:pt x="199" y="306"/>
                  <a:pt x="193" y="299"/>
                  <a:pt x="193" y="291"/>
                </a:cubicBezTo>
                <a:cubicBezTo>
                  <a:pt x="193" y="281"/>
                  <a:pt x="201" y="273"/>
                  <a:pt x="211" y="273"/>
                </a:cubicBezTo>
                <a:cubicBezTo>
                  <a:pt x="222" y="273"/>
                  <a:pt x="230" y="281"/>
                  <a:pt x="230" y="291"/>
                </a:cubicBezTo>
                <a:cubicBezTo>
                  <a:pt x="230" y="299"/>
                  <a:pt x="225" y="306"/>
                  <a:pt x="218" y="308"/>
                </a:cubicBezTo>
                <a:cubicBezTo>
                  <a:pt x="216" y="336"/>
                  <a:pt x="210" y="361"/>
                  <a:pt x="198" y="377"/>
                </a:cubicBezTo>
                <a:cubicBezTo>
                  <a:pt x="188" y="390"/>
                  <a:pt x="175" y="397"/>
                  <a:pt x="160" y="398"/>
                </a:cubicBezTo>
                <a:cubicBezTo>
                  <a:pt x="137" y="399"/>
                  <a:pt x="119" y="392"/>
                  <a:pt x="107" y="376"/>
                </a:cubicBezTo>
                <a:cubicBezTo>
                  <a:pt x="94" y="359"/>
                  <a:pt x="90" y="334"/>
                  <a:pt x="91" y="308"/>
                </a:cubicBezTo>
                <a:cubicBezTo>
                  <a:pt x="84" y="305"/>
                  <a:pt x="79" y="299"/>
                  <a:pt x="79" y="291"/>
                </a:cubicBezTo>
                <a:cubicBezTo>
                  <a:pt x="79" y="281"/>
                  <a:pt x="87" y="273"/>
                  <a:pt x="98" y="273"/>
                </a:cubicBezTo>
                <a:close/>
                <a:moveTo>
                  <a:pt x="298" y="538"/>
                </a:moveTo>
                <a:cubicBezTo>
                  <a:pt x="298" y="542"/>
                  <a:pt x="295" y="545"/>
                  <a:pt x="291" y="545"/>
                </a:cubicBezTo>
                <a:cubicBezTo>
                  <a:pt x="17" y="545"/>
                  <a:pt x="17" y="545"/>
                  <a:pt x="17" y="545"/>
                </a:cubicBezTo>
                <a:cubicBezTo>
                  <a:pt x="49" y="264"/>
                  <a:pt x="49" y="264"/>
                  <a:pt x="49" y="264"/>
                </a:cubicBezTo>
                <a:cubicBezTo>
                  <a:pt x="49" y="260"/>
                  <a:pt x="53" y="258"/>
                  <a:pt x="56" y="258"/>
                </a:cubicBezTo>
                <a:cubicBezTo>
                  <a:pt x="60" y="259"/>
                  <a:pt x="63" y="262"/>
                  <a:pt x="62" y="266"/>
                </a:cubicBezTo>
                <a:cubicBezTo>
                  <a:pt x="32" y="532"/>
                  <a:pt x="32" y="532"/>
                  <a:pt x="32" y="532"/>
                </a:cubicBezTo>
                <a:cubicBezTo>
                  <a:pt x="291" y="532"/>
                  <a:pt x="291" y="532"/>
                  <a:pt x="291" y="532"/>
                </a:cubicBezTo>
                <a:cubicBezTo>
                  <a:pt x="295" y="532"/>
                  <a:pt x="298" y="535"/>
                  <a:pt x="298" y="538"/>
                </a:cubicBezTo>
                <a:close/>
                <a:moveTo>
                  <a:pt x="424" y="133"/>
                </a:moveTo>
                <a:cubicBezTo>
                  <a:pt x="428" y="94"/>
                  <a:pt x="423" y="55"/>
                  <a:pt x="403" y="30"/>
                </a:cubicBezTo>
                <a:cubicBezTo>
                  <a:pt x="387" y="9"/>
                  <a:pt x="364" y="0"/>
                  <a:pt x="333" y="2"/>
                </a:cubicBezTo>
                <a:cubicBezTo>
                  <a:pt x="314" y="3"/>
                  <a:pt x="297" y="12"/>
                  <a:pt x="285" y="29"/>
                </a:cubicBezTo>
                <a:cubicBezTo>
                  <a:pt x="267" y="53"/>
                  <a:pt x="257" y="91"/>
                  <a:pt x="257" y="133"/>
                </a:cubicBezTo>
                <a:cubicBezTo>
                  <a:pt x="147" y="133"/>
                  <a:pt x="147" y="133"/>
                  <a:pt x="147" y="133"/>
                </a:cubicBezTo>
                <a:cubicBezTo>
                  <a:pt x="147" y="222"/>
                  <a:pt x="147" y="222"/>
                  <a:pt x="147" y="222"/>
                </a:cubicBezTo>
                <a:cubicBezTo>
                  <a:pt x="298" y="222"/>
                  <a:pt x="298" y="222"/>
                  <a:pt x="298" y="222"/>
                </a:cubicBezTo>
                <a:cubicBezTo>
                  <a:pt x="337" y="559"/>
                  <a:pt x="337" y="559"/>
                  <a:pt x="337" y="559"/>
                </a:cubicBezTo>
                <a:cubicBezTo>
                  <a:pt x="531" y="559"/>
                  <a:pt x="531" y="559"/>
                  <a:pt x="531" y="559"/>
                </a:cubicBezTo>
                <a:cubicBezTo>
                  <a:pt x="531" y="133"/>
                  <a:pt x="531" y="133"/>
                  <a:pt x="531" y="133"/>
                </a:cubicBezTo>
                <a:lnTo>
                  <a:pt x="424" y="133"/>
                </a:lnTo>
                <a:close/>
                <a:moveTo>
                  <a:pt x="268" y="207"/>
                </a:moveTo>
                <a:cubicBezTo>
                  <a:pt x="255" y="207"/>
                  <a:pt x="245" y="197"/>
                  <a:pt x="245" y="185"/>
                </a:cubicBezTo>
                <a:cubicBezTo>
                  <a:pt x="245" y="173"/>
                  <a:pt x="255" y="163"/>
                  <a:pt x="268" y="163"/>
                </a:cubicBezTo>
                <a:cubicBezTo>
                  <a:pt x="280" y="163"/>
                  <a:pt x="290" y="173"/>
                  <a:pt x="290" y="185"/>
                </a:cubicBezTo>
                <a:cubicBezTo>
                  <a:pt x="290" y="197"/>
                  <a:pt x="280" y="207"/>
                  <a:pt x="268" y="207"/>
                </a:cubicBezTo>
                <a:close/>
                <a:moveTo>
                  <a:pt x="273" y="133"/>
                </a:moveTo>
                <a:cubicBezTo>
                  <a:pt x="273" y="94"/>
                  <a:pt x="282" y="60"/>
                  <a:pt x="297" y="39"/>
                </a:cubicBezTo>
                <a:cubicBezTo>
                  <a:pt x="307" y="26"/>
                  <a:pt x="320" y="18"/>
                  <a:pt x="334" y="17"/>
                </a:cubicBezTo>
                <a:cubicBezTo>
                  <a:pt x="359" y="16"/>
                  <a:pt x="378" y="23"/>
                  <a:pt x="391" y="40"/>
                </a:cubicBezTo>
                <a:cubicBezTo>
                  <a:pt x="408" y="62"/>
                  <a:pt x="412" y="97"/>
                  <a:pt x="409" y="133"/>
                </a:cubicBezTo>
                <a:lnTo>
                  <a:pt x="273" y="133"/>
                </a:lnTo>
                <a:close/>
                <a:moveTo>
                  <a:pt x="409" y="207"/>
                </a:moveTo>
                <a:cubicBezTo>
                  <a:pt x="396" y="207"/>
                  <a:pt x="386" y="197"/>
                  <a:pt x="386" y="185"/>
                </a:cubicBezTo>
                <a:cubicBezTo>
                  <a:pt x="386" y="173"/>
                  <a:pt x="396" y="163"/>
                  <a:pt x="409" y="163"/>
                </a:cubicBezTo>
                <a:cubicBezTo>
                  <a:pt x="421" y="163"/>
                  <a:pt x="431" y="173"/>
                  <a:pt x="431" y="185"/>
                </a:cubicBezTo>
                <a:cubicBezTo>
                  <a:pt x="431" y="197"/>
                  <a:pt x="421" y="207"/>
                  <a:pt x="409" y="207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47" name="Freeform 39"/>
          <p:cNvSpPr>
            <a:spLocks noEditPoints="1"/>
          </p:cNvSpPr>
          <p:nvPr/>
        </p:nvSpPr>
        <p:spPr bwMode="auto">
          <a:xfrm>
            <a:off x="5511800" y="2184400"/>
            <a:ext cx="638175" cy="561975"/>
          </a:xfrm>
          <a:custGeom>
            <a:avLst/>
            <a:gdLst>
              <a:gd name="T0" fmla="*/ 281 w 300"/>
              <a:gd name="T1" fmla="*/ 0 h 264"/>
              <a:gd name="T2" fmla="*/ 19 w 300"/>
              <a:gd name="T3" fmla="*/ 0 h 264"/>
              <a:gd name="T4" fmla="*/ 0 w 300"/>
              <a:gd name="T5" fmla="*/ 20 h 264"/>
              <a:gd name="T6" fmla="*/ 0 w 300"/>
              <a:gd name="T7" fmla="*/ 203 h 264"/>
              <a:gd name="T8" fmla="*/ 19 w 300"/>
              <a:gd name="T9" fmla="*/ 222 h 264"/>
              <a:gd name="T10" fmla="*/ 112 w 300"/>
              <a:gd name="T11" fmla="*/ 222 h 264"/>
              <a:gd name="T12" fmla="*/ 112 w 300"/>
              <a:gd name="T13" fmla="*/ 242 h 264"/>
              <a:gd name="T14" fmla="*/ 68 w 300"/>
              <a:gd name="T15" fmla="*/ 253 h 264"/>
              <a:gd name="T16" fmla="*/ 68 w 300"/>
              <a:gd name="T17" fmla="*/ 264 h 264"/>
              <a:gd name="T18" fmla="*/ 232 w 300"/>
              <a:gd name="T19" fmla="*/ 264 h 264"/>
              <a:gd name="T20" fmla="*/ 232 w 300"/>
              <a:gd name="T21" fmla="*/ 253 h 264"/>
              <a:gd name="T22" fmla="*/ 188 w 300"/>
              <a:gd name="T23" fmla="*/ 242 h 264"/>
              <a:gd name="T24" fmla="*/ 188 w 300"/>
              <a:gd name="T25" fmla="*/ 222 h 264"/>
              <a:gd name="T26" fmla="*/ 281 w 300"/>
              <a:gd name="T27" fmla="*/ 222 h 264"/>
              <a:gd name="T28" fmla="*/ 300 w 300"/>
              <a:gd name="T29" fmla="*/ 203 h 264"/>
              <a:gd name="T30" fmla="*/ 300 w 300"/>
              <a:gd name="T31" fmla="*/ 20 h 264"/>
              <a:gd name="T32" fmla="*/ 281 w 300"/>
              <a:gd name="T33" fmla="*/ 0 h 264"/>
              <a:gd name="T34" fmla="*/ 272 w 300"/>
              <a:gd name="T35" fmla="*/ 195 h 264"/>
              <a:gd name="T36" fmla="*/ 28 w 300"/>
              <a:gd name="T37" fmla="*/ 195 h 264"/>
              <a:gd name="T38" fmla="*/ 28 w 300"/>
              <a:gd name="T39" fmla="*/ 27 h 264"/>
              <a:gd name="T40" fmla="*/ 272 w 300"/>
              <a:gd name="T41" fmla="*/ 27 h 264"/>
              <a:gd name="T42" fmla="*/ 272 w 300"/>
              <a:gd name="T43" fmla="*/ 195 h 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00" h="264">
                <a:moveTo>
                  <a:pt x="281" y="0"/>
                </a:moveTo>
                <a:cubicBezTo>
                  <a:pt x="19" y="0"/>
                  <a:pt x="19" y="0"/>
                  <a:pt x="19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213"/>
                  <a:pt x="9" y="222"/>
                  <a:pt x="19" y="222"/>
                </a:cubicBezTo>
                <a:cubicBezTo>
                  <a:pt x="112" y="222"/>
                  <a:pt x="112" y="222"/>
                  <a:pt x="112" y="222"/>
                </a:cubicBezTo>
                <a:cubicBezTo>
                  <a:pt x="112" y="242"/>
                  <a:pt x="112" y="242"/>
                  <a:pt x="112" y="242"/>
                </a:cubicBezTo>
                <a:cubicBezTo>
                  <a:pt x="92" y="244"/>
                  <a:pt x="76" y="248"/>
                  <a:pt x="68" y="253"/>
                </a:cubicBezTo>
                <a:cubicBezTo>
                  <a:pt x="68" y="256"/>
                  <a:pt x="68" y="264"/>
                  <a:pt x="68" y="264"/>
                </a:cubicBezTo>
                <a:cubicBezTo>
                  <a:pt x="232" y="264"/>
                  <a:pt x="232" y="264"/>
                  <a:pt x="232" y="264"/>
                </a:cubicBezTo>
                <a:cubicBezTo>
                  <a:pt x="232" y="264"/>
                  <a:pt x="232" y="259"/>
                  <a:pt x="232" y="253"/>
                </a:cubicBezTo>
                <a:cubicBezTo>
                  <a:pt x="225" y="248"/>
                  <a:pt x="208" y="244"/>
                  <a:pt x="188" y="242"/>
                </a:cubicBezTo>
                <a:cubicBezTo>
                  <a:pt x="188" y="222"/>
                  <a:pt x="188" y="222"/>
                  <a:pt x="188" y="222"/>
                </a:cubicBezTo>
                <a:cubicBezTo>
                  <a:pt x="281" y="222"/>
                  <a:pt x="281" y="222"/>
                  <a:pt x="281" y="222"/>
                </a:cubicBezTo>
                <a:cubicBezTo>
                  <a:pt x="291" y="222"/>
                  <a:pt x="300" y="213"/>
                  <a:pt x="300" y="203"/>
                </a:cubicBezTo>
                <a:cubicBezTo>
                  <a:pt x="300" y="20"/>
                  <a:pt x="300" y="20"/>
                  <a:pt x="300" y="20"/>
                </a:cubicBezTo>
                <a:cubicBezTo>
                  <a:pt x="300" y="9"/>
                  <a:pt x="291" y="0"/>
                  <a:pt x="281" y="0"/>
                </a:cubicBezTo>
                <a:close/>
                <a:moveTo>
                  <a:pt x="272" y="195"/>
                </a:moveTo>
                <a:cubicBezTo>
                  <a:pt x="28" y="195"/>
                  <a:pt x="28" y="195"/>
                  <a:pt x="28" y="195"/>
                </a:cubicBezTo>
                <a:cubicBezTo>
                  <a:pt x="28" y="27"/>
                  <a:pt x="28" y="27"/>
                  <a:pt x="28" y="27"/>
                </a:cubicBezTo>
                <a:cubicBezTo>
                  <a:pt x="272" y="27"/>
                  <a:pt x="272" y="27"/>
                  <a:pt x="272" y="27"/>
                </a:cubicBezTo>
                <a:lnTo>
                  <a:pt x="272" y="195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21872" name="Group 43"/>
          <p:cNvGrpSpPr>
            <a:grpSpLocks noChangeAspect="1"/>
          </p:cNvGrpSpPr>
          <p:nvPr/>
        </p:nvGrpSpPr>
        <p:grpSpPr bwMode="auto">
          <a:xfrm>
            <a:off x="5467350" y="4135438"/>
            <a:ext cx="723900" cy="525462"/>
            <a:chOff x="1386" y="1767"/>
            <a:chExt cx="1580" cy="1148"/>
          </a:xfrm>
        </p:grpSpPr>
        <p:sp>
          <p:nvSpPr>
            <p:cNvPr id="1051" name="Freeform 44"/>
            <p:cNvSpPr>
              <a:spLocks/>
            </p:cNvSpPr>
            <p:nvPr/>
          </p:nvSpPr>
          <p:spPr bwMode="auto">
            <a:xfrm>
              <a:off x="1386" y="1767"/>
              <a:ext cx="766" cy="1148"/>
            </a:xfrm>
            <a:custGeom>
              <a:avLst/>
              <a:gdLst>
                <a:gd name="T0" fmla="*/ 324 w 324"/>
                <a:gd name="T1" fmla="*/ 78 h 486"/>
                <a:gd name="T2" fmla="*/ 0 w 324"/>
                <a:gd name="T3" fmla="*/ 74 h 486"/>
                <a:gd name="T4" fmla="*/ 0 w 324"/>
                <a:gd name="T5" fmla="*/ 483 h 486"/>
                <a:gd name="T6" fmla="*/ 324 w 324"/>
                <a:gd name="T7" fmla="*/ 486 h 486"/>
                <a:gd name="T8" fmla="*/ 324 w 324"/>
                <a:gd name="T9" fmla="*/ 7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486">
                  <a:moveTo>
                    <a:pt x="324" y="78"/>
                  </a:moveTo>
                  <a:cubicBezTo>
                    <a:pt x="166" y="0"/>
                    <a:pt x="46" y="48"/>
                    <a:pt x="0" y="74"/>
                  </a:cubicBezTo>
                  <a:cubicBezTo>
                    <a:pt x="0" y="483"/>
                    <a:pt x="0" y="483"/>
                    <a:pt x="0" y="483"/>
                  </a:cubicBezTo>
                  <a:cubicBezTo>
                    <a:pt x="46" y="457"/>
                    <a:pt x="166" y="409"/>
                    <a:pt x="324" y="486"/>
                  </a:cubicBezTo>
                  <a:lnTo>
                    <a:pt x="324" y="7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52" name="Freeform 45"/>
            <p:cNvSpPr>
              <a:spLocks/>
            </p:cNvSpPr>
            <p:nvPr/>
          </p:nvSpPr>
          <p:spPr bwMode="auto">
            <a:xfrm>
              <a:off x="2200" y="1767"/>
              <a:ext cx="766" cy="1148"/>
            </a:xfrm>
            <a:custGeom>
              <a:avLst/>
              <a:gdLst>
                <a:gd name="T0" fmla="*/ 0 w 324"/>
                <a:gd name="T1" fmla="*/ 78 h 486"/>
                <a:gd name="T2" fmla="*/ 324 w 324"/>
                <a:gd name="T3" fmla="*/ 74 h 486"/>
                <a:gd name="T4" fmla="*/ 324 w 324"/>
                <a:gd name="T5" fmla="*/ 483 h 486"/>
                <a:gd name="T6" fmla="*/ 0 w 324"/>
                <a:gd name="T7" fmla="*/ 486 h 486"/>
                <a:gd name="T8" fmla="*/ 0 w 324"/>
                <a:gd name="T9" fmla="*/ 7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4" h="486">
                  <a:moveTo>
                    <a:pt x="0" y="78"/>
                  </a:moveTo>
                  <a:cubicBezTo>
                    <a:pt x="158" y="0"/>
                    <a:pt x="278" y="48"/>
                    <a:pt x="324" y="74"/>
                  </a:cubicBezTo>
                  <a:cubicBezTo>
                    <a:pt x="324" y="483"/>
                    <a:pt x="324" y="483"/>
                    <a:pt x="324" y="483"/>
                  </a:cubicBezTo>
                  <a:cubicBezTo>
                    <a:pt x="278" y="457"/>
                    <a:pt x="158" y="409"/>
                    <a:pt x="0" y="486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21873" name="TextBox 64"/>
          <p:cNvSpPr txBox="1">
            <a:spLocks noChangeArrowheads="1"/>
          </p:cNvSpPr>
          <p:nvPr/>
        </p:nvSpPr>
        <p:spPr bwMode="auto">
          <a:xfrm>
            <a:off x="542925" y="2757488"/>
            <a:ext cx="4237038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hu-HU" sz="6000" b="1">
                <a:solidFill>
                  <a:schemeClr val="accent2"/>
                </a:solidFill>
                <a:ea typeface="Arial Unicode MS" pitchFamily="34" charset="-128"/>
                <a:cs typeface="Arial Unicode MS" pitchFamily="34" charset="-128"/>
              </a:rPr>
              <a:t>62%</a:t>
            </a:r>
          </a:p>
        </p:txBody>
      </p:sp>
      <p:sp>
        <p:nvSpPr>
          <p:cNvPr id="121874" name="Freeform 58"/>
          <p:cNvSpPr>
            <a:spLocks noEditPoints="1"/>
          </p:cNvSpPr>
          <p:nvPr/>
        </p:nvSpPr>
        <p:spPr bwMode="auto">
          <a:xfrm rot="1074991" flipH="1">
            <a:off x="-466725" y="1539875"/>
            <a:ext cx="4235450" cy="4443413"/>
          </a:xfrm>
          <a:custGeom>
            <a:avLst/>
            <a:gdLst>
              <a:gd name="T0" fmla="*/ 4119881 w 147"/>
              <a:gd name="T1" fmla="*/ 3750235 h 154"/>
              <a:gd name="T2" fmla="*/ 2967466 w 147"/>
              <a:gd name="T3" fmla="*/ 2480925 h 154"/>
              <a:gd name="T4" fmla="*/ 2564121 w 147"/>
              <a:gd name="T5" fmla="*/ 2452077 h 154"/>
              <a:gd name="T6" fmla="*/ 2420070 w 147"/>
              <a:gd name="T7" fmla="*/ 2278989 h 154"/>
              <a:gd name="T8" fmla="*/ 2736983 w 147"/>
              <a:gd name="T9" fmla="*/ 1355854 h 154"/>
              <a:gd name="T10" fmla="*/ 1354087 w 147"/>
              <a:gd name="T11" fmla="*/ 0 h 154"/>
              <a:gd name="T12" fmla="*/ 0 w 147"/>
              <a:gd name="T13" fmla="*/ 1384702 h 154"/>
              <a:gd name="T14" fmla="*/ 1382897 w 147"/>
              <a:gd name="T15" fmla="*/ 2740556 h 154"/>
              <a:gd name="T16" fmla="*/ 2218397 w 147"/>
              <a:gd name="T17" fmla="*/ 2480925 h 154"/>
              <a:gd name="T18" fmla="*/ 2333639 w 147"/>
              <a:gd name="T19" fmla="*/ 2625164 h 154"/>
              <a:gd name="T20" fmla="*/ 2333639 w 147"/>
              <a:gd name="T21" fmla="*/ 3057884 h 154"/>
              <a:gd name="T22" fmla="*/ 3486052 w 147"/>
              <a:gd name="T23" fmla="*/ 4298346 h 154"/>
              <a:gd name="T24" fmla="*/ 4004639 w 147"/>
              <a:gd name="T25" fmla="*/ 4269498 h 154"/>
              <a:gd name="T26" fmla="*/ 4033450 w 147"/>
              <a:gd name="T27" fmla="*/ 4269498 h 154"/>
              <a:gd name="T28" fmla="*/ 4119881 w 147"/>
              <a:gd name="T29" fmla="*/ 3750235 h 154"/>
              <a:gd name="T30" fmla="*/ 1382897 w 147"/>
              <a:gd name="T31" fmla="*/ 2509772 h 154"/>
              <a:gd name="T32" fmla="*/ 259293 w 147"/>
              <a:gd name="T33" fmla="*/ 1384702 h 154"/>
              <a:gd name="T34" fmla="*/ 1354087 w 147"/>
              <a:gd name="T35" fmla="*/ 259632 h 154"/>
              <a:gd name="T36" fmla="*/ 2506501 w 147"/>
              <a:gd name="T37" fmla="*/ 1355854 h 154"/>
              <a:gd name="T38" fmla="*/ 1382897 w 147"/>
              <a:gd name="T39" fmla="*/ 2509772 h 15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47"/>
              <a:gd name="T61" fmla="*/ 0 h 154"/>
              <a:gd name="T62" fmla="*/ 147 w 147"/>
              <a:gd name="T63" fmla="*/ 154 h 15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47" h="154">
                <a:moveTo>
                  <a:pt x="143" y="130"/>
                </a:moveTo>
                <a:cubicBezTo>
                  <a:pt x="103" y="86"/>
                  <a:pt x="103" y="86"/>
                  <a:pt x="103" y="86"/>
                </a:cubicBezTo>
                <a:cubicBezTo>
                  <a:pt x="100" y="82"/>
                  <a:pt x="94" y="82"/>
                  <a:pt x="89" y="85"/>
                </a:cubicBezTo>
                <a:cubicBezTo>
                  <a:pt x="84" y="79"/>
                  <a:pt x="84" y="79"/>
                  <a:pt x="84" y="79"/>
                </a:cubicBezTo>
                <a:cubicBezTo>
                  <a:pt x="91" y="71"/>
                  <a:pt x="96" y="59"/>
                  <a:pt x="95" y="47"/>
                </a:cubicBezTo>
                <a:cubicBezTo>
                  <a:pt x="95" y="21"/>
                  <a:pt x="74" y="0"/>
                  <a:pt x="47" y="0"/>
                </a:cubicBezTo>
                <a:cubicBezTo>
                  <a:pt x="21" y="1"/>
                  <a:pt x="0" y="22"/>
                  <a:pt x="0" y="48"/>
                </a:cubicBezTo>
                <a:cubicBezTo>
                  <a:pt x="1" y="75"/>
                  <a:pt x="22" y="96"/>
                  <a:pt x="48" y="95"/>
                </a:cubicBezTo>
                <a:cubicBezTo>
                  <a:pt x="59" y="95"/>
                  <a:pt x="69" y="92"/>
                  <a:pt x="77" y="86"/>
                </a:cubicBezTo>
                <a:cubicBezTo>
                  <a:pt x="81" y="91"/>
                  <a:pt x="81" y="91"/>
                  <a:pt x="81" y="91"/>
                </a:cubicBezTo>
                <a:cubicBezTo>
                  <a:pt x="78" y="96"/>
                  <a:pt x="78" y="102"/>
                  <a:pt x="81" y="106"/>
                </a:cubicBezTo>
                <a:cubicBezTo>
                  <a:pt x="121" y="149"/>
                  <a:pt x="121" y="149"/>
                  <a:pt x="121" y="149"/>
                </a:cubicBezTo>
                <a:cubicBezTo>
                  <a:pt x="125" y="154"/>
                  <a:pt x="133" y="154"/>
                  <a:pt x="139" y="148"/>
                </a:cubicBezTo>
                <a:cubicBezTo>
                  <a:pt x="140" y="148"/>
                  <a:pt x="140" y="148"/>
                  <a:pt x="140" y="148"/>
                </a:cubicBezTo>
                <a:cubicBezTo>
                  <a:pt x="146" y="143"/>
                  <a:pt x="147" y="134"/>
                  <a:pt x="143" y="130"/>
                </a:cubicBezTo>
                <a:close/>
                <a:moveTo>
                  <a:pt x="48" y="87"/>
                </a:moveTo>
                <a:cubicBezTo>
                  <a:pt x="27" y="87"/>
                  <a:pt x="9" y="70"/>
                  <a:pt x="9" y="48"/>
                </a:cubicBezTo>
                <a:cubicBezTo>
                  <a:pt x="8" y="27"/>
                  <a:pt x="26" y="9"/>
                  <a:pt x="47" y="9"/>
                </a:cubicBezTo>
                <a:cubicBezTo>
                  <a:pt x="69" y="8"/>
                  <a:pt x="87" y="26"/>
                  <a:pt x="87" y="47"/>
                </a:cubicBezTo>
                <a:cubicBezTo>
                  <a:pt x="87" y="69"/>
                  <a:pt x="70" y="87"/>
                  <a:pt x="48" y="87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1875" name="TextBox 26"/>
          <p:cNvSpPr txBox="1">
            <a:spLocks noChangeArrowheads="1"/>
          </p:cNvSpPr>
          <p:nvPr/>
        </p:nvSpPr>
        <p:spPr bwMode="auto">
          <a:xfrm>
            <a:off x="-1309688" y="4665663"/>
            <a:ext cx="5345113" cy="1163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2880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26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  <a:sym typeface="Lucida Grande"/>
              </a:rPr>
              <a:t>Végzett </a:t>
            </a:r>
            <a:br>
              <a:rPr lang="hu-HU" sz="26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  <a:sym typeface="Lucida Grande"/>
              </a:rPr>
            </a:br>
            <a:r>
              <a:rPr lang="hu-HU" sz="2600" smtClean="0">
                <a:ea typeface="Arial Unicode MS" pitchFamily="34" charset="-128"/>
                <a:cs typeface="Arial Unicode MS" pitchFamily="34" charset="-128"/>
                <a:sym typeface="Lucida Grande"/>
              </a:rPr>
              <a:t>mobilkeresést </a:t>
            </a:r>
            <a:br>
              <a:rPr lang="hu-HU" sz="2600" smtClean="0">
                <a:ea typeface="Arial Unicode MS" pitchFamily="34" charset="-128"/>
                <a:cs typeface="Arial Unicode MS" pitchFamily="34" charset="-128"/>
                <a:sym typeface="Lucida Grande"/>
              </a:rPr>
            </a:br>
            <a:r>
              <a:rPr lang="hu-HU" sz="2600" smtClean="0">
                <a:ea typeface="Arial Unicode MS" pitchFamily="34" charset="-128"/>
                <a:cs typeface="Arial Unicode MS" pitchFamily="34" charset="-128"/>
                <a:sym typeface="Lucida Grande"/>
              </a:rPr>
              <a:t>egy hirdetés </a:t>
            </a:r>
            <a:br>
              <a:rPr lang="hu-HU" sz="2600" smtClean="0">
                <a:ea typeface="Arial Unicode MS" pitchFamily="34" charset="-128"/>
                <a:cs typeface="Arial Unicode MS" pitchFamily="34" charset="-128"/>
                <a:sym typeface="Lucida Grande"/>
              </a:rPr>
            </a:br>
            <a:r>
              <a:rPr lang="hu-HU" sz="2600" smtClean="0">
                <a:ea typeface="Arial Unicode MS" pitchFamily="34" charset="-128"/>
                <a:cs typeface="Arial Unicode MS" pitchFamily="34" charset="-128"/>
                <a:sym typeface="Lucida Grande"/>
              </a:rPr>
              <a:t>megtekintése után </a:t>
            </a:r>
            <a:endParaRPr lang="hu-HU" sz="2600">
              <a:ea typeface="Arial Unicode MS" pitchFamily="34" charset="-128"/>
              <a:cs typeface="Arial Unicode MS" pitchFamily="34" charset="-128"/>
              <a:sym typeface="Lucida Grande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5" name="Slide Number Placeholder 2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D5D144D8-DAF0-4382-9379-F3BF63C92A31}" type="slidenum">
              <a:rPr lang="hu-HU"/>
              <a:pPr/>
              <a:t>23</a:t>
            </a:fld>
            <a:endParaRPr lang="hu-HU"/>
          </a:p>
        </p:txBody>
      </p:sp>
      <p:pic>
        <p:nvPicPr>
          <p:cNvPr id="123906" name="Picture 2" descr="Z:\GGL\22944_smartphone_country_report_dai\Source\JPG\shutterstock_6547926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627063" y="361950"/>
            <a:ext cx="8396288" cy="688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23907" name="Group 20"/>
          <p:cNvGrpSpPr>
            <a:grpSpLocks/>
          </p:cNvGrpSpPr>
          <p:nvPr/>
        </p:nvGrpSpPr>
        <p:grpSpPr bwMode="auto">
          <a:xfrm rot="-1801921">
            <a:off x="4005263" y="4532313"/>
            <a:ext cx="2239962" cy="923925"/>
            <a:chOff x="2780153" y="5091953"/>
            <a:chExt cx="2240083" cy="923366"/>
          </a:xfrm>
        </p:grpSpPr>
        <p:sp>
          <p:nvSpPr>
            <p:cNvPr id="9" name="Rounded Rectangle 8"/>
            <p:cNvSpPr/>
            <p:nvPr/>
          </p:nvSpPr>
          <p:spPr bwMode="auto">
            <a:xfrm>
              <a:off x="2779373" y="5090435"/>
              <a:ext cx="2240083" cy="295096"/>
            </a:xfrm>
            <a:prstGeom prst="roundRect">
              <a:avLst>
                <a:gd name="adj" fmla="val 13637"/>
              </a:avLst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3960" name="Rounded Rectangle 9"/>
            <p:cNvSpPr>
              <a:spLocks noChangeArrowheads="1"/>
            </p:cNvSpPr>
            <p:nvPr/>
          </p:nvSpPr>
          <p:spPr bwMode="auto">
            <a:xfrm>
              <a:off x="2805955" y="5441057"/>
              <a:ext cx="385483" cy="574262"/>
            </a:xfrm>
            <a:prstGeom prst="roundRect">
              <a:avLst>
                <a:gd name="adj" fmla="val 6977"/>
              </a:avLst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123961" name="Group 13"/>
            <p:cNvGrpSpPr>
              <a:grpSpLocks/>
            </p:cNvGrpSpPr>
            <p:nvPr/>
          </p:nvGrpSpPr>
          <p:grpSpPr bwMode="auto">
            <a:xfrm>
              <a:off x="3263153" y="5441578"/>
              <a:ext cx="1138518" cy="215152"/>
              <a:chOff x="3263153" y="5441577"/>
              <a:chExt cx="1138518" cy="412377"/>
            </a:xfrm>
          </p:grpSpPr>
          <p:sp>
            <p:nvSpPr>
              <p:cNvPr id="11" name="Rounded Rectangle 10"/>
              <p:cNvSpPr/>
              <p:nvPr/>
            </p:nvSpPr>
            <p:spPr bwMode="auto">
              <a:xfrm>
                <a:off x="3263557" y="5434858"/>
                <a:ext cx="1138298" cy="100350"/>
              </a:xfrm>
              <a:prstGeom prst="roundRect">
                <a:avLst>
                  <a:gd name="adj" fmla="val 11667"/>
                </a:avLst>
              </a:prstGeom>
              <a:solidFill>
                <a:schemeClr val="tx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" name="Rounded Rectangle 11"/>
              <p:cNvSpPr/>
              <p:nvPr/>
            </p:nvSpPr>
            <p:spPr bwMode="auto">
              <a:xfrm>
                <a:off x="3262957" y="5588742"/>
                <a:ext cx="1138299" cy="100350"/>
              </a:xfrm>
              <a:prstGeom prst="roundRect">
                <a:avLst>
                  <a:gd name="adj" fmla="val 11667"/>
                </a:avLst>
              </a:prstGeom>
              <a:solidFill>
                <a:schemeClr val="tx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" name="Rounded Rectangle 12"/>
              <p:cNvSpPr/>
              <p:nvPr/>
            </p:nvSpPr>
            <p:spPr bwMode="auto">
              <a:xfrm>
                <a:off x="3263517" y="5750935"/>
                <a:ext cx="1138298" cy="100350"/>
              </a:xfrm>
              <a:prstGeom prst="roundRect">
                <a:avLst>
                  <a:gd name="adj" fmla="val 11667"/>
                </a:avLst>
              </a:prstGeom>
              <a:solidFill>
                <a:schemeClr val="tx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123962" name="Group 14"/>
            <p:cNvGrpSpPr>
              <a:grpSpLocks/>
            </p:cNvGrpSpPr>
            <p:nvPr/>
          </p:nvGrpSpPr>
          <p:grpSpPr bwMode="auto">
            <a:xfrm>
              <a:off x="3263153" y="5710519"/>
              <a:ext cx="1138518" cy="215152"/>
              <a:chOff x="3263153" y="5441577"/>
              <a:chExt cx="1138518" cy="412377"/>
            </a:xfrm>
          </p:grpSpPr>
          <p:sp>
            <p:nvSpPr>
              <p:cNvPr id="16" name="Rounded Rectangle 15"/>
              <p:cNvSpPr/>
              <p:nvPr/>
            </p:nvSpPr>
            <p:spPr bwMode="auto">
              <a:xfrm>
                <a:off x="3261812" y="5437061"/>
                <a:ext cx="1138298" cy="97308"/>
              </a:xfrm>
              <a:prstGeom prst="roundRect">
                <a:avLst>
                  <a:gd name="adj" fmla="val 11667"/>
                </a:avLst>
              </a:prstGeom>
              <a:solidFill>
                <a:schemeClr val="tx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7" name="Rounded Rectangle 16"/>
              <p:cNvSpPr/>
              <p:nvPr/>
            </p:nvSpPr>
            <p:spPr bwMode="auto">
              <a:xfrm>
                <a:off x="3261212" y="5590945"/>
                <a:ext cx="1138299" cy="97308"/>
              </a:xfrm>
              <a:prstGeom prst="roundRect">
                <a:avLst>
                  <a:gd name="adj" fmla="val 11667"/>
                </a:avLst>
              </a:prstGeom>
              <a:solidFill>
                <a:schemeClr val="tx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8" name="Rounded Rectangle 17"/>
              <p:cNvSpPr/>
              <p:nvPr/>
            </p:nvSpPr>
            <p:spPr bwMode="auto">
              <a:xfrm>
                <a:off x="3261773" y="5753138"/>
                <a:ext cx="1138298" cy="97308"/>
              </a:xfrm>
              <a:prstGeom prst="roundRect">
                <a:avLst>
                  <a:gd name="adj" fmla="val 11667"/>
                </a:avLst>
              </a:prstGeom>
              <a:solidFill>
                <a:schemeClr val="tx2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19" name="Rounded Rectangle 18"/>
            <p:cNvSpPr/>
            <p:nvPr/>
          </p:nvSpPr>
          <p:spPr bwMode="auto">
            <a:xfrm>
              <a:off x="4437399" y="5466794"/>
              <a:ext cx="582643" cy="529904"/>
            </a:xfrm>
            <a:prstGeom prst="roundRect">
              <a:avLst>
                <a:gd name="adj" fmla="val 6977"/>
              </a:avLst>
            </a:prstGeom>
            <a:solidFill>
              <a:schemeClr val="tx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3964" name="TextBox 19"/>
            <p:cNvSpPr txBox="1">
              <a:spLocks noChangeArrowheads="1"/>
            </p:cNvSpPr>
            <p:nvPr/>
          </p:nvSpPr>
          <p:spPr bwMode="auto">
            <a:xfrm>
              <a:off x="3242140" y="5095126"/>
              <a:ext cx="1417714" cy="3395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hu-HU" sz="1200">
                  <a:solidFill>
                    <a:schemeClr val="bg1"/>
                  </a:solidFill>
                  <a:ea typeface="Arial Unicode MS" pitchFamily="34" charset="-128"/>
                  <a:cs typeface="Arial Unicode MS" pitchFamily="34" charset="-128"/>
                </a:rPr>
                <a:t>Az</a:t>
              </a:r>
              <a:r>
                <a:rPr lang="hu-HU" sz="1600">
                  <a:solidFill>
                    <a:schemeClr val="bg1"/>
                  </a:solidFill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hu-HU" sz="1800" b="1">
                  <a:solidFill>
                    <a:schemeClr val="bg1"/>
                  </a:solidFill>
                  <a:ea typeface="Arial Unicode MS" pitchFamily="34" charset="-128"/>
                  <a:cs typeface="Arial Unicode MS" pitchFamily="34" charset="-128"/>
                </a:rPr>
                <a:t>Ön</a:t>
              </a:r>
              <a:r>
                <a:rPr lang="hu-HU" sz="1600">
                  <a:solidFill>
                    <a:schemeClr val="bg1"/>
                  </a:solidFill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hu-HU" sz="1200">
                  <a:solidFill>
                    <a:schemeClr val="bg1"/>
                  </a:solidFill>
                  <a:ea typeface="Arial Unicode MS" pitchFamily="34" charset="-128"/>
                  <a:cs typeface="Arial Unicode MS" pitchFamily="34" charset="-128"/>
                </a:rPr>
                <a:t>hirdetése</a:t>
              </a:r>
            </a:p>
          </p:txBody>
        </p:sp>
      </p:grpSp>
      <p:grpSp>
        <p:nvGrpSpPr>
          <p:cNvPr id="123908" name="Group 21"/>
          <p:cNvGrpSpPr>
            <a:grpSpLocks/>
          </p:cNvGrpSpPr>
          <p:nvPr/>
        </p:nvGrpSpPr>
        <p:grpSpPr bwMode="auto">
          <a:xfrm>
            <a:off x="-1573213" y="0"/>
            <a:ext cx="5548313" cy="4765675"/>
            <a:chOff x="-1545771" y="0"/>
            <a:chExt cx="5547600" cy="4766135"/>
          </a:xfrm>
        </p:grpSpPr>
        <p:grpSp>
          <p:nvGrpSpPr>
            <p:cNvPr id="23" name="Group 78"/>
            <p:cNvGrpSpPr/>
            <p:nvPr/>
          </p:nvGrpSpPr>
          <p:grpSpPr>
            <a:xfrm flipH="1">
              <a:off x="-466327" y="2687075"/>
              <a:ext cx="735851" cy="379905"/>
              <a:chOff x="-2952750" y="5189538"/>
              <a:chExt cx="1706562" cy="881063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54" name="Freeform 7"/>
              <p:cNvSpPr>
                <a:spLocks noEditPoints="1"/>
              </p:cNvSpPr>
              <p:nvPr/>
            </p:nvSpPr>
            <p:spPr bwMode="auto">
              <a:xfrm>
                <a:off x="-2716213" y="5786438"/>
                <a:ext cx="1219200" cy="284163"/>
              </a:xfrm>
              <a:custGeom>
                <a:avLst/>
                <a:gdLst>
                  <a:gd name="T0" fmla="*/ 38 w 325"/>
                  <a:gd name="T1" fmla="*/ 0 h 76"/>
                  <a:gd name="T2" fmla="*/ 76 w 325"/>
                  <a:gd name="T3" fmla="*/ 38 h 76"/>
                  <a:gd name="T4" fmla="*/ 38 w 325"/>
                  <a:gd name="T5" fmla="*/ 76 h 76"/>
                  <a:gd name="T6" fmla="*/ 0 w 325"/>
                  <a:gd name="T7" fmla="*/ 38 h 76"/>
                  <a:gd name="T8" fmla="*/ 38 w 325"/>
                  <a:gd name="T9" fmla="*/ 0 h 76"/>
                  <a:gd name="T10" fmla="*/ 287 w 325"/>
                  <a:gd name="T11" fmla="*/ 0 h 76"/>
                  <a:gd name="T12" fmla="*/ 325 w 325"/>
                  <a:gd name="T13" fmla="*/ 38 h 76"/>
                  <a:gd name="T14" fmla="*/ 287 w 325"/>
                  <a:gd name="T15" fmla="*/ 76 h 76"/>
                  <a:gd name="T16" fmla="*/ 250 w 325"/>
                  <a:gd name="T17" fmla="*/ 38 h 76"/>
                  <a:gd name="T18" fmla="*/ 287 w 325"/>
                  <a:gd name="T1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5" h="76">
                    <a:moveTo>
                      <a:pt x="38" y="0"/>
                    </a:moveTo>
                    <a:cubicBezTo>
                      <a:pt x="59" y="0"/>
                      <a:pt x="76" y="17"/>
                      <a:pt x="76" y="38"/>
                    </a:cubicBezTo>
                    <a:cubicBezTo>
                      <a:pt x="76" y="59"/>
                      <a:pt x="59" y="76"/>
                      <a:pt x="38" y="76"/>
                    </a:cubicBezTo>
                    <a:cubicBezTo>
                      <a:pt x="17" y="76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lose/>
                    <a:moveTo>
                      <a:pt x="287" y="0"/>
                    </a:moveTo>
                    <a:cubicBezTo>
                      <a:pt x="308" y="0"/>
                      <a:pt x="325" y="17"/>
                      <a:pt x="325" y="38"/>
                    </a:cubicBezTo>
                    <a:cubicBezTo>
                      <a:pt x="325" y="59"/>
                      <a:pt x="308" y="76"/>
                      <a:pt x="287" y="76"/>
                    </a:cubicBezTo>
                    <a:cubicBezTo>
                      <a:pt x="267" y="76"/>
                      <a:pt x="250" y="59"/>
                      <a:pt x="250" y="38"/>
                    </a:cubicBezTo>
                    <a:cubicBezTo>
                      <a:pt x="250" y="17"/>
                      <a:pt x="267" y="0"/>
                      <a:pt x="28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55" name="Freeform 8"/>
              <p:cNvSpPr>
                <a:spLocks noEditPoints="1"/>
              </p:cNvSpPr>
              <p:nvPr/>
            </p:nvSpPr>
            <p:spPr bwMode="auto">
              <a:xfrm>
                <a:off x="-2952750" y="5189538"/>
                <a:ext cx="1706562" cy="715963"/>
              </a:xfrm>
              <a:custGeom>
                <a:avLst/>
                <a:gdLst>
                  <a:gd name="T0" fmla="*/ 380 w 455"/>
                  <a:gd name="T1" fmla="*/ 24 h 191"/>
                  <a:gd name="T2" fmla="*/ 422 w 455"/>
                  <a:gd name="T3" fmla="*/ 24 h 191"/>
                  <a:gd name="T4" fmla="*/ 435 w 455"/>
                  <a:gd name="T5" fmla="*/ 39 h 191"/>
                  <a:gd name="T6" fmla="*/ 435 w 455"/>
                  <a:gd name="T7" fmla="*/ 101 h 191"/>
                  <a:gd name="T8" fmla="*/ 422 w 455"/>
                  <a:gd name="T9" fmla="*/ 115 h 191"/>
                  <a:gd name="T10" fmla="*/ 380 w 455"/>
                  <a:gd name="T11" fmla="*/ 115 h 191"/>
                  <a:gd name="T12" fmla="*/ 366 w 455"/>
                  <a:gd name="T13" fmla="*/ 101 h 191"/>
                  <a:gd name="T14" fmla="*/ 366 w 455"/>
                  <a:gd name="T15" fmla="*/ 39 h 191"/>
                  <a:gd name="T16" fmla="*/ 380 w 455"/>
                  <a:gd name="T17" fmla="*/ 24 h 191"/>
                  <a:gd name="T18" fmla="*/ 44 w 455"/>
                  <a:gd name="T19" fmla="*/ 0 h 191"/>
                  <a:gd name="T20" fmla="*/ 429 w 455"/>
                  <a:gd name="T21" fmla="*/ 0 h 191"/>
                  <a:gd name="T22" fmla="*/ 455 w 455"/>
                  <a:gd name="T23" fmla="*/ 26 h 191"/>
                  <a:gd name="T24" fmla="*/ 455 w 455"/>
                  <a:gd name="T25" fmla="*/ 165 h 191"/>
                  <a:gd name="T26" fmla="*/ 429 w 455"/>
                  <a:gd name="T27" fmla="*/ 191 h 191"/>
                  <a:gd name="T28" fmla="*/ 403 w 455"/>
                  <a:gd name="T29" fmla="*/ 191 h 191"/>
                  <a:gd name="T30" fmla="*/ 350 w 455"/>
                  <a:gd name="T31" fmla="*/ 143 h 191"/>
                  <a:gd name="T32" fmla="*/ 298 w 455"/>
                  <a:gd name="T33" fmla="*/ 191 h 191"/>
                  <a:gd name="T34" fmla="*/ 154 w 455"/>
                  <a:gd name="T35" fmla="*/ 191 h 191"/>
                  <a:gd name="T36" fmla="*/ 101 w 455"/>
                  <a:gd name="T37" fmla="*/ 143 h 191"/>
                  <a:gd name="T38" fmla="*/ 48 w 455"/>
                  <a:gd name="T39" fmla="*/ 191 h 191"/>
                  <a:gd name="T40" fmla="*/ 28 w 455"/>
                  <a:gd name="T41" fmla="*/ 191 h 191"/>
                  <a:gd name="T42" fmla="*/ 1 w 455"/>
                  <a:gd name="T43" fmla="*/ 165 h 191"/>
                  <a:gd name="T44" fmla="*/ 7 w 455"/>
                  <a:gd name="T45" fmla="*/ 115 h 191"/>
                  <a:gd name="T46" fmla="*/ 47 w 455"/>
                  <a:gd name="T47" fmla="*/ 115 h 191"/>
                  <a:gd name="T48" fmla="*/ 61 w 455"/>
                  <a:gd name="T49" fmla="*/ 101 h 191"/>
                  <a:gd name="T50" fmla="*/ 61 w 455"/>
                  <a:gd name="T51" fmla="*/ 39 h 191"/>
                  <a:gd name="T52" fmla="*/ 47 w 455"/>
                  <a:gd name="T53" fmla="*/ 24 h 191"/>
                  <a:gd name="T54" fmla="*/ 18 w 455"/>
                  <a:gd name="T55" fmla="*/ 24 h 191"/>
                  <a:gd name="T56" fmla="*/ 44 w 455"/>
                  <a:gd name="T57" fmla="*/ 0 h 191"/>
                  <a:gd name="T58" fmla="*/ 286 w 455"/>
                  <a:gd name="T59" fmla="*/ 24 h 191"/>
                  <a:gd name="T60" fmla="*/ 328 w 455"/>
                  <a:gd name="T61" fmla="*/ 24 h 191"/>
                  <a:gd name="T62" fmla="*/ 342 w 455"/>
                  <a:gd name="T63" fmla="*/ 39 h 191"/>
                  <a:gd name="T64" fmla="*/ 342 w 455"/>
                  <a:gd name="T65" fmla="*/ 101 h 191"/>
                  <a:gd name="T66" fmla="*/ 328 w 455"/>
                  <a:gd name="T67" fmla="*/ 115 h 191"/>
                  <a:gd name="T68" fmla="*/ 286 w 455"/>
                  <a:gd name="T69" fmla="*/ 115 h 191"/>
                  <a:gd name="T70" fmla="*/ 272 w 455"/>
                  <a:gd name="T71" fmla="*/ 101 h 191"/>
                  <a:gd name="T72" fmla="*/ 272 w 455"/>
                  <a:gd name="T73" fmla="*/ 39 h 191"/>
                  <a:gd name="T74" fmla="*/ 286 w 455"/>
                  <a:gd name="T75" fmla="*/ 24 h 191"/>
                  <a:gd name="T76" fmla="*/ 192 w 455"/>
                  <a:gd name="T77" fmla="*/ 24 h 191"/>
                  <a:gd name="T78" fmla="*/ 234 w 455"/>
                  <a:gd name="T79" fmla="*/ 24 h 191"/>
                  <a:gd name="T80" fmla="*/ 248 w 455"/>
                  <a:gd name="T81" fmla="*/ 39 h 191"/>
                  <a:gd name="T82" fmla="*/ 248 w 455"/>
                  <a:gd name="T83" fmla="*/ 101 h 191"/>
                  <a:gd name="T84" fmla="*/ 234 w 455"/>
                  <a:gd name="T85" fmla="*/ 115 h 191"/>
                  <a:gd name="T86" fmla="*/ 192 w 455"/>
                  <a:gd name="T87" fmla="*/ 115 h 191"/>
                  <a:gd name="T88" fmla="*/ 179 w 455"/>
                  <a:gd name="T89" fmla="*/ 101 h 191"/>
                  <a:gd name="T90" fmla="*/ 179 w 455"/>
                  <a:gd name="T91" fmla="*/ 39 h 191"/>
                  <a:gd name="T92" fmla="*/ 192 w 455"/>
                  <a:gd name="T93" fmla="*/ 24 h 191"/>
                  <a:gd name="T94" fmla="*/ 99 w 455"/>
                  <a:gd name="T95" fmla="*/ 24 h 191"/>
                  <a:gd name="T96" fmla="*/ 141 w 455"/>
                  <a:gd name="T97" fmla="*/ 24 h 191"/>
                  <a:gd name="T98" fmla="*/ 155 w 455"/>
                  <a:gd name="T99" fmla="*/ 39 h 191"/>
                  <a:gd name="T100" fmla="*/ 155 w 455"/>
                  <a:gd name="T101" fmla="*/ 101 h 191"/>
                  <a:gd name="T102" fmla="*/ 141 w 455"/>
                  <a:gd name="T103" fmla="*/ 115 h 191"/>
                  <a:gd name="T104" fmla="*/ 99 w 455"/>
                  <a:gd name="T105" fmla="*/ 115 h 191"/>
                  <a:gd name="T106" fmla="*/ 85 w 455"/>
                  <a:gd name="T107" fmla="*/ 101 h 191"/>
                  <a:gd name="T108" fmla="*/ 85 w 455"/>
                  <a:gd name="T109" fmla="*/ 39 h 191"/>
                  <a:gd name="T110" fmla="*/ 99 w 455"/>
                  <a:gd name="T111" fmla="*/ 24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5" h="191">
                    <a:moveTo>
                      <a:pt x="380" y="24"/>
                    </a:moveTo>
                    <a:cubicBezTo>
                      <a:pt x="422" y="24"/>
                      <a:pt x="422" y="24"/>
                      <a:pt x="422" y="24"/>
                    </a:cubicBezTo>
                    <a:cubicBezTo>
                      <a:pt x="429" y="24"/>
                      <a:pt x="435" y="31"/>
                      <a:pt x="435" y="39"/>
                    </a:cubicBezTo>
                    <a:cubicBezTo>
                      <a:pt x="435" y="101"/>
                      <a:pt x="435" y="101"/>
                      <a:pt x="435" y="101"/>
                    </a:cubicBezTo>
                    <a:cubicBezTo>
                      <a:pt x="435" y="109"/>
                      <a:pt x="429" y="115"/>
                      <a:pt x="422" y="115"/>
                    </a:cubicBezTo>
                    <a:cubicBezTo>
                      <a:pt x="380" y="115"/>
                      <a:pt x="380" y="115"/>
                      <a:pt x="380" y="115"/>
                    </a:cubicBezTo>
                    <a:cubicBezTo>
                      <a:pt x="372" y="115"/>
                      <a:pt x="366" y="109"/>
                      <a:pt x="366" y="101"/>
                    </a:cubicBezTo>
                    <a:cubicBezTo>
                      <a:pt x="366" y="39"/>
                      <a:pt x="366" y="39"/>
                      <a:pt x="366" y="39"/>
                    </a:cubicBezTo>
                    <a:cubicBezTo>
                      <a:pt x="366" y="31"/>
                      <a:pt x="372" y="24"/>
                      <a:pt x="380" y="24"/>
                    </a:cubicBezTo>
                    <a:close/>
                    <a:moveTo>
                      <a:pt x="44" y="0"/>
                    </a:moveTo>
                    <a:cubicBezTo>
                      <a:pt x="429" y="0"/>
                      <a:pt x="429" y="0"/>
                      <a:pt x="429" y="0"/>
                    </a:cubicBezTo>
                    <a:cubicBezTo>
                      <a:pt x="443" y="0"/>
                      <a:pt x="455" y="12"/>
                      <a:pt x="455" y="26"/>
                    </a:cubicBezTo>
                    <a:cubicBezTo>
                      <a:pt x="455" y="165"/>
                      <a:pt x="455" y="165"/>
                      <a:pt x="455" y="165"/>
                    </a:cubicBezTo>
                    <a:cubicBezTo>
                      <a:pt x="455" y="179"/>
                      <a:pt x="443" y="191"/>
                      <a:pt x="429" y="191"/>
                    </a:cubicBezTo>
                    <a:cubicBezTo>
                      <a:pt x="403" y="191"/>
                      <a:pt x="403" y="191"/>
                      <a:pt x="403" y="191"/>
                    </a:cubicBezTo>
                    <a:cubicBezTo>
                      <a:pt x="400" y="164"/>
                      <a:pt x="378" y="143"/>
                      <a:pt x="350" y="143"/>
                    </a:cubicBezTo>
                    <a:cubicBezTo>
                      <a:pt x="323" y="143"/>
                      <a:pt x="301" y="164"/>
                      <a:pt x="298" y="191"/>
                    </a:cubicBezTo>
                    <a:cubicBezTo>
                      <a:pt x="154" y="191"/>
                      <a:pt x="154" y="191"/>
                      <a:pt x="154" y="191"/>
                    </a:cubicBezTo>
                    <a:cubicBezTo>
                      <a:pt x="151" y="164"/>
                      <a:pt x="128" y="143"/>
                      <a:pt x="101" y="143"/>
                    </a:cubicBezTo>
                    <a:cubicBezTo>
                      <a:pt x="73" y="143"/>
                      <a:pt x="51" y="164"/>
                      <a:pt x="48" y="191"/>
                    </a:cubicBezTo>
                    <a:cubicBezTo>
                      <a:pt x="28" y="191"/>
                      <a:pt x="28" y="191"/>
                      <a:pt x="28" y="191"/>
                    </a:cubicBezTo>
                    <a:cubicBezTo>
                      <a:pt x="13" y="191"/>
                      <a:pt x="0" y="179"/>
                      <a:pt x="1" y="165"/>
                    </a:cubicBezTo>
                    <a:cubicBezTo>
                      <a:pt x="7" y="115"/>
                      <a:pt x="7" y="115"/>
                      <a:pt x="7" y="115"/>
                    </a:cubicBezTo>
                    <a:cubicBezTo>
                      <a:pt x="47" y="115"/>
                      <a:pt x="47" y="115"/>
                      <a:pt x="47" y="115"/>
                    </a:cubicBezTo>
                    <a:cubicBezTo>
                      <a:pt x="55" y="115"/>
                      <a:pt x="61" y="109"/>
                      <a:pt x="61" y="101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61" y="31"/>
                      <a:pt x="55" y="24"/>
                      <a:pt x="47" y="24"/>
                    </a:cubicBezTo>
                    <a:cubicBezTo>
                      <a:pt x="18" y="24"/>
                      <a:pt x="18" y="24"/>
                      <a:pt x="18" y="24"/>
                    </a:cubicBezTo>
                    <a:cubicBezTo>
                      <a:pt x="19" y="11"/>
                      <a:pt x="30" y="0"/>
                      <a:pt x="44" y="0"/>
                    </a:cubicBezTo>
                    <a:close/>
                    <a:moveTo>
                      <a:pt x="286" y="24"/>
                    </a:moveTo>
                    <a:cubicBezTo>
                      <a:pt x="328" y="24"/>
                      <a:pt x="328" y="24"/>
                      <a:pt x="328" y="24"/>
                    </a:cubicBezTo>
                    <a:cubicBezTo>
                      <a:pt x="335" y="24"/>
                      <a:pt x="342" y="31"/>
                      <a:pt x="342" y="39"/>
                    </a:cubicBezTo>
                    <a:cubicBezTo>
                      <a:pt x="342" y="101"/>
                      <a:pt x="342" y="101"/>
                      <a:pt x="342" y="101"/>
                    </a:cubicBezTo>
                    <a:cubicBezTo>
                      <a:pt x="342" y="109"/>
                      <a:pt x="335" y="115"/>
                      <a:pt x="328" y="115"/>
                    </a:cubicBezTo>
                    <a:cubicBezTo>
                      <a:pt x="286" y="115"/>
                      <a:pt x="286" y="115"/>
                      <a:pt x="286" y="115"/>
                    </a:cubicBezTo>
                    <a:cubicBezTo>
                      <a:pt x="279" y="115"/>
                      <a:pt x="272" y="109"/>
                      <a:pt x="272" y="101"/>
                    </a:cubicBezTo>
                    <a:cubicBezTo>
                      <a:pt x="272" y="39"/>
                      <a:pt x="272" y="39"/>
                      <a:pt x="272" y="39"/>
                    </a:cubicBezTo>
                    <a:cubicBezTo>
                      <a:pt x="272" y="31"/>
                      <a:pt x="279" y="24"/>
                      <a:pt x="286" y="24"/>
                    </a:cubicBezTo>
                    <a:close/>
                    <a:moveTo>
                      <a:pt x="192" y="24"/>
                    </a:moveTo>
                    <a:cubicBezTo>
                      <a:pt x="234" y="24"/>
                      <a:pt x="234" y="24"/>
                      <a:pt x="234" y="24"/>
                    </a:cubicBezTo>
                    <a:cubicBezTo>
                      <a:pt x="242" y="24"/>
                      <a:pt x="248" y="31"/>
                      <a:pt x="248" y="39"/>
                    </a:cubicBezTo>
                    <a:cubicBezTo>
                      <a:pt x="248" y="101"/>
                      <a:pt x="248" y="101"/>
                      <a:pt x="248" y="101"/>
                    </a:cubicBezTo>
                    <a:cubicBezTo>
                      <a:pt x="248" y="109"/>
                      <a:pt x="242" y="115"/>
                      <a:pt x="234" y="115"/>
                    </a:cubicBezTo>
                    <a:cubicBezTo>
                      <a:pt x="192" y="115"/>
                      <a:pt x="192" y="115"/>
                      <a:pt x="192" y="115"/>
                    </a:cubicBezTo>
                    <a:cubicBezTo>
                      <a:pt x="185" y="115"/>
                      <a:pt x="179" y="109"/>
                      <a:pt x="179" y="101"/>
                    </a:cubicBezTo>
                    <a:cubicBezTo>
                      <a:pt x="179" y="39"/>
                      <a:pt x="179" y="39"/>
                      <a:pt x="179" y="39"/>
                    </a:cubicBezTo>
                    <a:cubicBezTo>
                      <a:pt x="179" y="31"/>
                      <a:pt x="185" y="24"/>
                      <a:pt x="192" y="24"/>
                    </a:cubicBezTo>
                    <a:close/>
                    <a:moveTo>
                      <a:pt x="99" y="24"/>
                    </a:moveTo>
                    <a:cubicBezTo>
                      <a:pt x="141" y="24"/>
                      <a:pt x="141" y="24"/>
                      <a:pt x="141" y="24"/>
                    </a:cubicBezTo>
                    <a:cubicBezTo>
                      <a:pt x="148" y="24"/>
                      <a:pt x="155" y="31"/>
                      <a:pt x="155" y="39"/>
                    </a:cubicBezTo>
                    <a:cubicBezTo>
                      <a:pt x="155" y="101"/>
                      <a:pt x="155" y="101"/>
                      <a:pt x="155" y="101"/>
                    </a:cubicBezTo>
                    <a:cubicBezTo>
                      <a:pt x="155" y="109"/>
                      <a:pt x="148" y="115"/>
                      <a:pt x="141" y="115"/>
                    </a:cubicBezTo>
                    <a:cubicBezTo>
                      <a:pt x="99" y="115"/>
                      <a:pt x="99" y="115"/>
                      <a:pt x="99" y="115"/>
                    </a:cubicBezTo>
                    <a:cubicBezTo>
                      <a:pt x="91" y="115"/>
                      <a:pt x="85" y="109"/>
                      <a:pt x="85" y="101"/>
                    </a:cubicBezTo>
                    <a:cubicBezTo>
                      <a:pt x="85" y="39"/>
                      <a:pt x="85" y="39"/>
                      <a:pt x="85" y="39"/>
                    </a:cubicBezTo>
                    <a:cubicBezTo>
                      <a:pt x="85" y="31"/>
                      <a:pt x="91" y="24"/>
                      <a:pt x="99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24" name="Group 81"/>
            <p:cNvGrpSpPr/>
            <p:nvPr/>
          </p:nvGrpSpPr>
          <p:grpSpPr>
            <a:xfrm flipH="1">
              <a:off x="702811" y="69685"/>
              <a:ext cx="411601" cy="567535"/>
              <a:chOff x="-2284413" y="254000"/>
              <a:chExt cx="1185862" cy="1635126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152" name="Freeform 9"/>
              <p:cNvSpPr>
                <a:spLocks noEditPoints="1"/>
              </p:cNvSpPr>
              <p:nvPr/>
            </p:nvSpPr>
            <p:spPr bwMode="auto">
              <a:xfrm>
                <a:off x="-2119313" y="254000"/>
                <a:ext cx="858837" cy="1181100"/>
              </a:xfrm>
              <a:custGeom>
                <a:avLst/>
                <a:gdLst>
                  <a:gd name="T0" fmla="*/ 33 w 229"/>
                  <a:gd name="T1" fmla="*/ 286 h 315"/>
                  <a:gd name="T2" fmla="*/ 195 w 229"/>
                  <a:gd name="T3" fmla="*/ 286 h 315"/>
                  <a:gd name="T4" fmla="*/ 209 w 229"/>
                  <a:gd name="T5" fmla="*/ 315 h 315"/>
                  <a:gd name="T6" fmla="*/ 19 w 229"/>
                  <a:gd name="T7" fmla="*/ 315 h 315"/>
                  <a:gd name="T8" fmla="*/ 33 w 229"/>
                  <a:gd name="T9" fmla="*/ 286 h 315"/>
                  <a:gd name="T10" fmla="*/ 52 w 229"/>
                  <a:gd name="T11" fmla="*/ 75 h 315"/>
                  <a:gd name="T12" fmla="*/ 176 w 229"/>
                  <a:gd name="T13" fmla="*/ 75 h 315"/>
                  <a:gd name="T14" fmla="*/ 190 w 229"/>
                  <a:gd name="T15" fmla="*/ 89 h 315"/>
                  <a:gd name="T16" fmla="*/ 194 w 229"/>
                  <a:gd name="T17" fmla="*/ 137 h 315"/>
                  <a:gd name="T18" fmla="*/ 180 w 229"/>
                  <a:gd name="T19" fmla="*/ 151 h 315"/>
                  <a:gd name="T20" fmla="*/ 48 w 229"/>
                  <a:gd name="T21" fmla="*/ 151 h 315"/>
                  <a:gd name="T22" fmla="*/ 34 w 229"/>
                  <a:gd name="T23" fmla="*/ 137 h 315"/>
                  <a:gd name="T24" fmla="*/ 38 w 229"/>
                  <a:gd name="T25" fmla="*/ 89 h 315"/>
                  <a:gd name="T26" fmla="*/ 52 w 229"/>
                  <a:gd name="T27" fmla="*/ 75 h 315"/>
                  <a:gd name="T28" fmla="*/ 83 w 229"/>
                  <a:gd name="T29" fmla="*/ 43 h 315"/>
                  <a:gd name="T30" fmla="*/ 145 w 229"/>
                  <a:gd name="T31" fmla="*/ 43 h 315"/>
                  <a:gd name="T32" fmla="*/ 151 w 229"/>
                  <a:gd name="T33" fmla="*/ 49 h 315"/>
                  <a:gd name="T34" fmla="*/ 151 w 229"/>
                  <a:gd name="T35" fmla="*/ 59 h 315"/>
                  <a:gd name="T36" fmla="*/ 145 w 229"/>
                  <a:gd name="T37" fmla="*/ 65 h 315"/>
                  <a:gd name="T38" fmla="*/ 83 w 229"/>
                  <a:gd name="T39" fmla="*/ 65 h 315"/>
                  <a:gd name="T40" fmla="*/ 77 w 229"/>
                  <a:gd name="T41" fmla="*/ 59 h 315"/>
                  <a:gd name="T42" fmla="*/ 77 w 229"/>
                  <a:gd name="T43" fmla="*/ 49 h 315"/>
                  <a:gd name="T44" fmla="*/ 83 w 229"/>
                  <a:gd name="T45" fmla="*/ 43 h 315"/>
                  <a:gd name="T46" fmla="*/ 46 w 229"/>
                  <a:gd name="T47" fmla="*/ 33 h 315"/>
                  <a:gd name="T48" fmla="*/ 182 w 229"/>
                  <a:gd name="T49" fmla="*/ 33 h 315"/>
                  <a:gd name="T50" fmla="*/ 212 w 229"/>
                  <a:gd name="T51" fmla="*/ 63 h 315"/>
                  <a:gd name="T52" fmla="*/ 227 w 229"/>
                  <a:gd name="T53" fmla="*/ 249 h 315"/>
                  <a:gd name="T54" fmla="*/ 198 w 229"/>
                  <a:gd name="T55" fmla="*/ 278 h 315"/>
                  <a:gd name="T56" fmla="*/ 30 w 229"/>
                  <a:gd name="T57" fmla="*/ 278 h 315"/>
                  <a:gd name="T58" fmla="*/ 1 w 229"/>
                  <a:gd name="T59" fmla="*/ 249 h 315"/>
                  <a:gd name="T60" fmla="*/ 16 w 229"/>
                  <a:gd name="T61" fmla="*/ 63 h 315"/>
                  <a:gd name="T62" fmla="*/ 46 w 229"/>
                  <a:gd name="T63" fmla="*/ 33 h 315"/>
                  <a:gd name="T64" fmla="*/ 185 w 229"/>
                  <a:gd name="T65" fmla="*/ 216 h 315"/>
                  <a:gd name="T66" fmla="*/ 201 w 229"/>
                  <a:gd name="T67" fmla="*/ 233 h 315"/>
                  <a:gd name="T68" fmla="*/ 185 w 229"/>
                  <a:gd name="T69" fmla="*/ 249 h 315"/>
                  <a:gd name="T70" fmla="*/ 168 w 229"/>
                  <a:gd name="T71" fmla="*/ 233 h 315"/>
                  <a:gd name="T72" fmla="*/ 185 w 229"/>
                  <a:gd name="T73" fmla="*/ 216 h 315"/>
                  <a:gd name="T74" fmla="*/ 44 w 229"/>
                  <a:gd name="T75" fmla="*/ 216 h 315"/>
                  <a:gd name="T76" fmla="*/ 60 w 229"/>
                  <a:gd name="T77" fmla="*/ 233 h 315"/>
                  <a:gd name="T78" fmla="*/ 44 w 229"/>
                  <a:gd name="T79" fmla="*/ 249 h 315"/>
                  <a:gd name="T80" fmla="*/ 27 w 229"/>
                  <a:gd name="T81" fmla="*/ 233 h 315"/>
                  <a:gd name="T82" fmla="*/ 44 w 229"/>
                  <a:gd name="T83" fmla="*/ 216 h 315"/>
                  <a:gd name="T84" fmla="*/ 80 w 229"/>
                  <a:gd name="T85" fmla="*/ 0 h 315"/>
                  <a:gd name="T86" fmla="*/ 93 w 229"/>
                  <a:gd name="T87" fmla="*/ 0 h 315"/>
                  <a:gd name="T88" fmla="*/ 93 w 229"/>
                  <a:gd name="T89" fmla="*/ 26 h 315"/>
                  <a:gd name="T90" fmla="*/ 80 w 229"/>
                  <a:gd name="T91" fmla="*/ 26 h 315"/>
                  <a:gd name="T92" fmla="*/ 80 w 229"/>
                  <a:gd name="T93" fmla="*/ 0 h 315"/>
                  <a:gd name="T94" fmla="*/ 135 w 229"/>
                  <a:gd name="T95" fmla="*/ 0 h 315"/>
                  <a:gd name="T96" fmla="*/ 148 w 229"/>
                  <a:gd name="T97" fmla="*/ 0 h 315"/>
                  <a:gd name="T98" fmla="*/ 148 w 229"/>
                  <a:gd name="T99" fmla="*/ 26 h 315"/>
                  <a:gd name="T100" fmla="*/ 135 w 229"/>
                  <a:gd name="T101" fmla="*/ 26 h 315"/>
                  <a:gd name="T102" fmla="*/ 135 w 229"/>
                  <a:gd name="T103" fmla="*/ 0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29" h="315">
                    <a:moveTo>
                      <a:pt x="33" y="286"/>
                    </a:moveTo>
                    <a:cubicBezTo>
                      <a:pt x="195" y="286"/>
                      <a:pt x="195" y="286"/>
                      <a:pt x="195" y="286"/>
                    </a:cubicBezTo>
                    <a:cubicBezTo>
                      <a:pt x="209" y="315"/>
                      <a:pt x="209" y="315"/>
                      <a:pt x="209" y="315"/>
                    </a:cubicBezTo>
                    <a:cubicBezTo>
                      <a:pt x="19" y="315"/>
                      <a:pt x="19" y="315"/>
                      <a:pt x="19" y="315"/>
                    </a:cubicBezTo>
                    <a:cubicBezTo>
                      <a:pt x="33" y="286"/>
                      <a:pt x="33" y="286"/>
                      <a:pt x="33" y="286"/>
                    </a:cubicBezTo>
                    <a:close/>
                    <a:moveTo>
                      <a:pt x="52" y="75"/>
                    </a:moveTo>
                    <a:cubicBezTo>
                      <a:pt x="176" y="75"/>
                      <a:pt x="176" y="75"/>
                      <a:pt x="176" y="75"/>
                    </a:cubicBezTo>
                    <a:cubicBezTo>
                      <a:pt x="184" y="75"/>
                      <a:pt x="190" y="81"/>
                      <a:pt x="190" y="89"/>
                    </a:cubicBezTo>
                    <a:cubicBezTo>
                      <a:pt x="194" y="137"/>
                      <a:pt x="194" y="137"/>
                      <a:pt x="194" y="137"/>
                    </a:cubicBezTo>
                    <a:cubicBezTo>
                      <a:pt x="195" y="145"/>
                      <a:pt x="188" y="151"/>
                      <a:pt x="180" y="151"/>
                    </a:cubicBezTo>
                    <a:cubicBezTo>
                      <a:pt x="48" y="151"/>
                      <a:pt x="48" y="151"/>
                      <a:pt x="48" y="151"/>
                    </a:cubicBezTo>
                    <a:cubicBezTo>
                      <a:pt x="40" y="151"/>
                      <a:pt x="33" y="145"/>
                      <a:pt x="34" y="137"/>
                    </a:cubicBezTo>
                    <a:cubicBezTo>
                      <a:pt x="38" y="89"/>
                      <a:pt x="38" y="89"/>
                      <a:pt x="38" y="89"/>
                    </a:cubicBezTo>
                    <a:cubicBezTo>
                      <a:pt x="39" y="81"/>
                      <a:pt x="44" y="75"/>
                      <a:pt x="52" y="75"/>
                    </a:cubicBezTo>
                    <a:close/>
                    <a:moveTo>
                      <a:pt x="83" y="43"/>
                    </a:moveTo>
                    <a:cubicBezTo>
                      <a:pt x="145" y="43"/>
                      <a:pt x="145" y="43"/>
                      <a:pt x="145" y="43"/>
                    </a:cubicBezTo>
                    <a:cubicBezTo>
                      <a:pt x="149" y="43"/>
                      <a:pt x="151" y="46"/>
                      <a:pt x="151" y="49"/>
                    </a:cubicBezTo>
                    <a:cubicBezTo>
                      <a:pt x="151" y="59"/>
                      <a:pt x="151" y="59"/>
                      <a:pt x="151" y="59"/>
                    </a:cubicBezTo>
                    <a:cubicBezTo>
                      <a:pt x="151" y="63"/>
                      <a:pt x="149" y="65"/>
                      <a:pt x="145" y="65"/>
                    </a:cubicBezTo>
                    <a:cubicBezTo>
                      <a:pt x="83" y="65"/>
                      <a:pt x="83" y="65"/>
                      <a:pt x="83" y="65"/>
                    </a:cubicBezTo>
                    <a:cubicBezTo>
                      <a:pt x="80" y="65"/>
                      <a:pt x="77" y="63"/>
                      <a:pt x="77" y="59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46"/>
                      <a:pt x="80" y="43"/>
                      <a:pt x="83" y="43"/>
                    </a:cubicBezTo>
                    <a:close/>
                    <a:moveTo>
                      <a:pt x="46" y="33"/>
                    </a:moveTo>
                    <a:cubicBezTo>
                      <a:pt x="182" y="33"/>
                      <a:pt x="182" y="33"/>
                      <a:pt x="182" y="33"/>
                    </a:cubicBezTo>
                    <a:cubicBezTo>
                      <a:pt x="199" y="33"/>
                      <a:pt x="211" y="47"/>
                      <a:pt x="212" y="63"/>
                    </a:cubicBezTo>
                    <a:cubicBezTo>
                      <a:pt x="227" y="249"/>
                      <a:pt x="227" y="249"/>
                      <a:pt x="227" y="249"/>
                    </a:cubicBezTo>
                    <a:cubicBezTo>
                      <a:pt x="229" y="265"/>
                      <a:pt x="214" y="278"/>
                      <a:pt x="198" y="278"/>
                    </a:cubicBezTo>
                    <a:cubicBezTo>
                      <a:pt x="30" y="278"/>
                      <a:pt x="30" y="278"/>
                      <a:pt x="30" y="278"/>
                    </a:cubicBezTo>
                    <a:cubicBezTo>
                      <a:pt x="14" y="278"/>
                      <a:pt x="0" y="265"/>
                      <a:pt x="1" y="249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18" y="47"/>
                      <a:pt x="30" y="33"/>
                      <a:pt x="46" y="33"/>
                    </a:cubicBezTo>
                    <a:close/>
                    <a:moveTo>
                      <a:pt x="185" y="216"/>
                    </a:moveTo>
                    <a:cubicBezTo>
                      <a:pt x="194" y="216"/>
                      <a:pt x="201" y="223"/>
                      <a:pt x="201" y="233"/>
                    </a:cubicBezTo>
                    <a:cubicBezTo>
                      <a:pt x="201" y="242"/>
                      <a:pt x="194" y="249"/>
                      <a:pt x="185" y="249"/>
                    </a:cubicBezTo>
                    <a:cubicBezTo>
                      <a:pt x="176" y="249"/>
                      <a:pt x="168" y="242"/>
                      <a:pt x="168" y="233"/>
                    </a:cubicBezTo>
                    <a:cubicBezTo>
                      <a:pt x="168" y="223"/>
                      <a:pt x="176" y="216"/>
                      <a:pt x="185" y="216"/>
                    </a:cubicBezTo>
                    <a:close/>
                    <a:moveTo>
                      <a:pt x="44" y="216"/>
                    </a:moveTo>
                    <a:cubicBezTo>
                      <a:pt x="53" y="216"/>
                      <a:pt x="60" y="223"/>
                      <a:pt x="60" y="233"/>
                    </a:cubicBezTo>
                    <a:cubicBezTo>
                      <a:pt x="60" y="242"/>
                      <a:pt x="53" y="249"/>
                      <a:pt x="44" y="249"/>
                    </a:cubicBezTo>
                    <a:cubicBezTo>
                      <a:pt x="35" y="249"/>
                      <a:pt x="27" y="242"/>
                      <a:pt x="27" y="233"/>
                    </a:cubicBezTo>
                    <a:cubicBezTo>
                      <a:pt x="27" y="223"/>
                      <a:pt x="35" y="216"/>
                      <a:pt x="44" y="216"/>
                    </a:cubicBezTo>
                    <a:close/>
                    <a:moveTo>
                      <a:pt x="80" y="0"/>
                    </a:moveTo>
                    <a:cubicBezTo>
                      <a:pt x="93" y="0"/>
                      <a:pt x="93" y="0"/>
                      <a:pt x="93" y="0"/>
                    </a:cubicBezTo>
                    <a:cubicBezTo>
                      <a:pt x="93" y="26"/>
                      <a:pt x="93" y="26"/>
                      <a:pt x="93" y="26"/>
                    </a:cubicBezTo>
                    <a:cubicBezTo>
                      <a:pt x="80" y="26"/>
                      <a:pt x="80" y="26"/>
                      <a:pt x="80" y="26"/>
                    </a:cubicBezTo>
                    <a:cubicBezTo>
                      <a:pt x="80" y="0"/>
                      <a:pt x="80" y="0"/>
                      <a:pt x="80" y="0"/>
                    </a:cubicBezTo>
                    <a:close/>
                    <a:moveTo>
                      <a:pt x="135" y="0"/>
                    </a:moveTo>
                    <a:cubicBezTo>
                      <a:pt x="148" y="0"/>
                      <a:pt x="148" y="0"/>
                      <a:pt x="148" y="0"/>
                    </a:cubicBezTo>
                    <a:cubicBezTo>
                      <a:pt x="148" y="26"/>
                      <a:pt x="148" y="26"/>
                      <a:pt x="148" y="26"/>
                    </a:cubicBezTo>
                    <a:cubicBezTo>
                      <a:pt x="135" y="26"/>
                      <a:pt x="135" y="26"/>
                      <a:pt x="135" y="26"/>
                    </a:cubicBezTo>
                    <a:cubicBezTo>
                      <a:pt x="135" y="0"/>
                      <a:pt x="135" y="0"/>
                      <a:pt x="1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53" name="Freeform 10"/>
              <p:cNvSpPr>
                <a:spLocks noEditPoints="1"/>
              </p:cNvSpPr>
              <p:nvPr/>
            </p:nvSpPr>
            <p:spPr bwMode="auto">
              <a:xfrm>
                <a:off x="-2284413" y="1468438"/>
                <a:ext cx="1185862" cy="420688"/>
              </a:xfrm>
              <a:custGeom>
                <a:avLst/>
                <a:gdLst>
                  <a:gd name="T0" fmla="*/ 144 w 747"/>
                  <a:gd name="T1" fmla="*/ 0 h 265"/>
                  <a:gd name="T2" fmla="*/ 198 w 747"/>
                  <a:gd name="T3" fmla="*/ 0 h 265"/>
                  <a:gd name="T4" fmla="*/ 85 w 747"/>
                  <a:gd name="T5" fmla="*/ 265 h 265"/>
                  <a:gd name="T6" fmla="*/ 0 w 747"/>
                  <a:gd name="T7" fmla="*/ 265 h 265"/>
                  <a:gd name="T8" fmla="*/ 144 w 747"/>
                  <a:gd name="T9" fmla="*/ 0 h 265"/>
                  <a:gd name="T10" fmla="*/ 144 w 747"/>
                  <a:gd name="T11" fmla="*/ 0 h 265"/>
                  <a:gd name="T12" fmla="*/ 605 w 747"/>
                  <a:gd name="T13" fmla="*/ 0 h 265"/>
                  <a:gd name="T14" fmla="*/ 550 w 747"/>
                  <a:gd name="T15" fmla="*/ 0 h 265"/>
                  <a:gd name="T16" fmla="*/ 661 w 747"/>
                  <a:gd name="T17" fmla="*/ 265 h 265"/>
                  <a:gd name="T18" fmla="*/ 747 w 747"/>
                  <a:gd name="T19" fmla="*/ 265 h 265"/>
                  <a:gd name="T20" fmla="*/ 605 w 747"/>
                  <a:gd name="T21" fmla="*/ 0 h 265"/>
                  <a:gd name="T22" fmla="*/ 605 w 747"/>
                  <a:gd name="T23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7" h="265">
                    <a:moveTo>
                      <a:pt x="144" y="0"/>
                    </a:moveTo>
                    <a:lnTo>
                      <a:pt x="198" y="0"/>
                    </a:lnTo>
                    <a:lnTo>
                      <a:pt x="85" y="265"/>
                    </a:lnTo>
                    <a:lnTo>
                      <a:pt x="0" y="265"/>
                    </a:lnTo>
                    <a:lnTo>
                      <a:pt x="144" y="0"/>
                    </a:lnTo>
                    <a:lnTo>
                      <a:pt x="144" y="0"/>
                    </a:lnTo>
                    <a:close/>
                    <a:moveTo>
                      <a:pt x="605" y="0"/>
                    </a:moveTo>
                    <a:lnTo>
                      <a:pt x="550" y="0"/>
                    </a:lnTo>
                    <a:lnTo>
                      <a:pt x="661" y="265"/>
                    </a:lnTo>
                    <a:lnTo>
                      <a:pt x="747" y="265"/>
                    </a:lnTo>
                    <a:lnTo>
                      <a:pt x="605" y="0"/>
                    </a:lnTo>
                    <a:lnTo>
                      <a:pt x="605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25" name="Freeform 11"/>
            <p:cNvSpPr>
              <a:spLocks noEditPoints="1"/>
            </p:cNvSpPr>
            <p:nvPr/>
          </p:nvSpPr>
          <p:spPr bwMode="auto">
            <a:xfrm flipH="1">
              <a:off x="41526" y="3194358"/>
              <a:ext cx="595235" cy="298479"/>
            </a:xfrm>
            <a:custGeom>
              <a:avLst/>
              <a:gdLst>
                <a:gd name="T0" fmla="*/ 14 w 479"/>
                <a:gd name="T1" fmla="*/ 2 h 241"/>
                <a:gd name="T2" fmla="*/ 109 w 479"/>
                <a:gd name="T3" fmla="*/ 21 h 241"/>
                <a:gd name="T4" fmla="*/ 210 w 479"/>
                <a:gd name="T5" fmla="*/ 79 h 241"/>
                <a:gd name="T6" fmla="*/ 175 w 479"/>
                <a:gd name="T7" fmla="*/ 86 h 241"/>
                <a:gd name="T8" fmla="*/ 170 w 479"/>
                <a:gd name="T9" fmla="*/ 104 h 241"/>
                <a:gd name="T10" fmla="*/ 210 w 479"/>
                <a:gd name="T11" fmla="*/ 125 h 241"/>
                <a:gd name="T12" fmla="*/ 255 w 479"/>
                <a:gd name="T13" fmla="*/ 143 h 241"/>
                <a:gd name="T14" fmla="*/ 289 w 479"/>
                <a:gd name="T15" fmla="*/ 125 h 241"/>
                <a:gd name="T16" fmla="*/ 332 w 479"/>
                <a:gd name="T17" fmla="*/ 147 h 241"/>
                <a:gd name="T18" fmla="*/ 394 w 479"/>
                <a:gd name="T19" fmla="*/ 115 h 241"/>
                <a:gd name="T20" fmla="*/ 409 w 479"/>
                <a:gd name="T21" fmla="*/ 113 h 241"/>
                <a:gd name="T22" fmla="*/ 419 w 479"/>
                <a:gd name="T23" fmla="*/ 115 h 241"/>
                <a:gd name="T24" fmla="*/ 396 w 479"/>
                <a:gd name="T25" fmla="*/ 164 h 241"/>
                <a:gd name="T26" fmla="*/ 360 w 479"/>
                <a:gd name="T27" fmla="*/ 166 h 241"/>
                <a:gd name="T28" fmla="*/ 379 w 479"/>
                <a:gd name="T29" fmla="*/ 194 h 241"/>
                <a:gd name="T30" fmla="*/ 408 w 479"/>
                <a:gd name="T31" fmla="*/ 207 h 241"/>
                <a:gd name="T32" fmla="*/ 402 w 479"/>
                <a:gd name="T33" fmla="*/ 220 h 241"/>
                <a:gd name="T34" fmla="*/ 379 w 479"/>
                <a:gd name="T35" fmla="*/ 218 h 241"/>
                <a:gd name="T36" fmla="*/ 359 w 479"/>
                <a:gd name="T37" fmla="*/ 241 h 241"/>
                <a:gd name="T38" fmla="*/ 349 w 479"/>
                <a:gd name="T39" fmla="*/ 237 h 241"/>
                <a:gd name="T40" fmla="*/ 342 w 479"/>
                <a:gd name="T41" fmla="*/ 229 h 241"/>
                <a:gd name="T42" fmla="*/ 339 w 479"/>
                <a:gd name="T43" fmla="*/ 210 h 241"/>
                <a:gd name="T44" fmla="*/ 197 w 479"/>
                <a:gd name="T45" fmla="*/ 155 h 241"/>
                <a:gd name="T46" fmla="*/ 109 w 479"/>
                <a:gd name="T47" fmla="*/ 226 h 241"/>
                <a:gd name="T48" fmla="*/ 89 w 479"/>
                <a:gd name="T49" fmla="*/ 226 h 241"/>
                <a:gd name="T50" fmla="*/ 85 w 479"/>
                <a:gd name="T51" fmla="*/ 211 h 241"/>
                <a:gd name="T52" fmla="*/ 123 w 479"/>
                <a:gd name="T53" fmla="*/ 109 h 241"/>
                <a:gd name="T54" fmla="*/ 29 w 479"/>
                <a:gd name="T55" fmla="*/ 50 h 241"/>
                <a:gd name="T56" fmla="*/ 4 w 479"/>
                <a:gd name="T57" fmla="*/ 16 h 241"/>
                <a:gd name="T58" fmla="*/ 14 w 479"/>
                <a:gd name="T59" fmla="*/ 2 h 241"/>
                <a:gd name="T60" fmla="*/ 456 w 479"/>
                <a:gd name="T61" fmla="*/ 166 h 241"/>
                <a:gd name="T62" fmla="*/ 467 w 479"/>
                <a:gd name="T63" fmla="*/ 167 h 241"/>
                <a:gd name="T64" fmla="*/ 479 w 479"/>
                <a:gd name="T65" fmla="*/ 172 h 241"/>
                <a:gd name="T66" fmla="*/ 414 w 479"/>
                <a:gd name="T67" fmla="*/ 201 h 241"/>
                <a:gd name="T68" fmla="*/ 383 w 479"/>
                <a:gd name="T69" fmla="*/ 189 h 241"/>
                <a:gd name="T70" fmla="*/ 368 w 479"/>
                <a:gd name="T71" fmla="*/ 172 h 241"/>
                <a:gd name="T72" fmla="*/ 456 w 479"/>
                <a:gd name="T73" fmla="*/ 166 h 241"/>
                <a:gd name="T74" fmla="*/ 414 w 479"/>
                <a:gd name="T75" fmla="*/ 42 h 241"/>
                <a:gd name="T76" fmla="*/ 430 w 479"/>
                <a:gd name="T77" fmla="*/ 45 h 241"/>
                <a:gd name="T78" fmla="*/ 431 w 479"/>
                <a:gd name="T79" fmla="*/ 55 h 241"/>
                <a:gd name="T80" fmla="*/ 281 w 479"/>
                <a:gd name="T81" fmla="*/ 121 h 241"/>
                <a:gd name="T82" fmla="*/ 281 w 479"/>
                <a:gd name="T83" fmla="*/ 121 h 241"/>
                <a:gd name="T84" fmla="*/ 254 w 479"/>
                <a:gd name="T85" fmla="*/ 135 h 241"/>
                <a:gd name="T86" fmla="*/ 214 w 479"/>
                <a:gd name="T87" fmla="*/ 118 h 241"/>
                <a:gd name="T88" fmla="*/ 175 w 479"/>
                <a:gd name="T89" fmla="*/ 98 h 241"/>
                <a:gd name="T90" fmla="*/ 177 w 479"/>
                <a:gd name="T91" fmla="*/ 93 h 241"/>
                <a:gd name="T92" fmla="*/ 414 w 479"/>
                <a:gd name="T93" fmla="*/ 42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79" h="241">
                  <a:moveTo>
                    <a:pt x="14" y="2"/>
                  </a:moveTo>
                  <a:cubicBezTo>
                    <a:pt x="31" y="0"/>
                    <a:pt x="65" y="1"/>
                    <a:pt x="109" y="21"/>
                  </a:cubicBezTo>
                  <a:cubicBezTo>
                    <a:pt x="136" y="34"/>
                    <a:pt x="173" y="56"/>
                    <a:pt x="210" y="79"/>
                  </a:cubicBezTo>
                  <a:cubicBezTo>
                    <a:pt x="175" y="86"/>
                    <a:pt x="175" y="86"/>
                    <a:pt x="175" y="86"/>
                  </a:cubicBezTo>
                  <a:cubicBezTo>
                    <a:pt x="164" y="88"/>
                    <a:pt x="163" y="99"/>
                    <a:pt x="170" y="104"/>
                  </a:cubicBezTo>
                  <a:cubicBezTo>
                    <a:pt x="180" y="110"/>
                    <a:pt x="191" y="117"/>
                    <a:pt x="210" y="125"/>
                  </a:cubicBezTo>
                  <a:cubicBezTo>
                    <a:pt x="235" y="137"/>
                    <a:pt x="254" y="144"/>
                    <a:pt x="255" y="143"/>
                  </a:cubicBezTo>
                  <a:cubicBezTo>
                    <a:pt x="289" y="125"/>
                    <a:pt x="289" y="125"/>
                    <a:pt x="289" y="125"/>
                  </a:cubicBezTo>
                  <a:cubicBezTo>
                    <a:pt x="332" y="147"/>
                    <a:pt x="332" y="147"/>
                    <a:pt x="332" y="147"/>
                  </a:cubicBezTo>
                  <a:cubicBezTo>
                    <a:pt x="394" y="115"/>
                    <a:pt x="394" y="115"/>
                    <a:pt x="394" y="115"/>
                  </a:cubicBezTo>
                  <a:cubicBezTo>
                    <a:pt x="400" y="112"/>
                    <a:pt x="403" y="112"/>
                    <a:pt x="409" y="113"/>
                  </a:cubicBezTo>
                  <a:cubicBezTo>
                    <a:pt x="419" y="115"/>
                    <a:pt x="419" y="115"/>
                    <a:pt x="419" y="115"/>
                  </a:cubicBezTo>
                  <a:cubicBezTo>
                    <a:pt x="396" y="164"/>
                    <a:pt x="396" y="164"/>
                    <a:pt x="396" y="164"/>
                  </a:cubicBezTo>
                  <a:cubicBezTo>
                    <a:pt x="360" y="166"/>
                    <a:pt x="360" y="166"/>
                    <a:pt x="360" y="166"/>
                  </a:cubicBezTo>
                  <a:cubicBezTo>
                    <a:pt x="358" y="166"/>
                    <a:pt x="357" y="179"/>
                    <a:pt x="379" y="194"/>
                  </a:cubicBezTo>
                  <a:cubicBezTo>
                    <a:pt x="395" y="205"/>
                    <a:pt x="405" y="207"/>
                    <a:pt x="408" y="207"/>
                  </a:cubicBezTo>
                  <a:cubicBezTo>
                    <a:pt x="408" y="211"/>
                    <a:pt x="407" y="217"/>
                    <a:pt x="402" y="220"/>
                  </a:cubicBezTo>
                  <a:cubicBezTo>
                    <a:pt x="396" y="224"/>
                    <a:pt x="379" y="218"/>
                    <a:pt x="379" y="218"/>
                  </a:cubicBezTo>
                  <a:cubicBezTo>
                    <a:pt x="359" y="241"/>
                    <a:pt x="359" y="241"/>
                    <a:pt x="359" y="241"/>
                  </a:cubicBezTo>
                  <a:cubicBezTo>
                    <a:pt x="349" y="237"/>
                    <a:pt x="349" y="237"/>
                    <a:pt x="349" y="237"/>
                  </a:cubicBezTo>
                  <a:cubicBezTo>
                    <a:pt x="345" y="236"/>
                    <a:pt x="343" y="233"/>
                    <a:pt x="342" y="229"/>
                  </a:cubicBezTo>
                  <a:cubicBezTo>
                    <a:pt x="339" y="210"/>
                    <a:pt x="339" y="210"/>
                    <a:pt x="339" y="210"/>
                  </a:cubicBezTo>
                  <a:cubicBezTo>
                    <a:pt x="305" y="197"/>
                    <a:pt x="246" y="175"/>
                    <a:pt x="197" y="155"/>
                  </a:cubicBezTo>
                  <a:cubicBezTo>
                    <a:pt x="109" y="226"/>
                    <a:pt x="109" y="226"/>
                    <a:pt x="109" y="226"/>
                  </a:cubicBezTo>
                  <a:cubicBezTo>
                    <a:pt x="103" y="231"/>
                    <a:pt x="98" y="229"/>
                    <a:pt x="89" y="226"/>
                  </a:cubicBezTo>
                  <a:cubicBezTo>
                    <a:pt x="82" y="224"/>
                    <a:pt x="81" y="219"/>
                    <a:pt x="85" y="211"/>
                  </a:cubicBezTo>
                  <a:cubicBezTo>
                    <a:pt x="123" y="109"/>
                    <a:pt x="123" y="109"/>
                    <a:pt x="123" y="109"/>
                  </a:cubicBezTo>
                  <a:cubicBezTo>
                    <a:pt x="123" y="109"/>
                    <a:pt x="58" y="73"/>
                    <a:pt x="29" y="50"/>
                  </a:cubicBezTo>
                  <a:cubicBezTo>
                    <a:pt x="13" y="38"/>
                    <a:pt x="6" y="25"/>
                    <a:pt x="4" y="16"/>
                  </a:cubicBezTo>
                  <a:cubicBezTo>
                    <a:pt x="0" y="6"/>
                    <a:pt x="4" y="3"/>
                    <a:pt x="14" y="2"/>
                  </a:cubicBezTo>
                  <a:close/>
                  <a:moveTo>
                    <a:pt x="456" y="166"/>
                  </a:moveTo>
                  <a:cubicBezTo>
                    <a:pt x="460" y="165"/>
                    <a:pt x="464" y="166"/>
                    <a:pt x="467" y="167"/>
                  </a:cubicBezTo>
                  <a:cubicBezTo>
                    <a:pt x="479" y="172"/>
                    <a:pt x="479" y="172"/>
                    <a:pt x="479" y="172"/>
                  </a:cubicBezTo>
                  <a:cubicBezTo>
                    <a:pt x="414" y="201"/>
                    <a:pt x="414" y="201"/>
                    <a:pt x="414" y="201"/>
                  </a:cubicBezTo>
                  <a:cubicBezTo>
                    <a:pt x="411" y="201"/>
                    <a:pt x="397" y="199"/>
                    <a:pt x="383" y="189"/>
                  </a:cubicBezTo>
                  <a:cubicBezTo>
                    <a:pt x="368" y="176"/>
                    <a:pt x="367" y="172"/>
                    <a:pt x="368" y="172"/>
                  </a:cubicBezTo>
                  <a:cubicBezTo>
                    <a:pt x="397" y="170"/>
                    <a:pt x="427" y="168"/>
                    <a:pt x="456" y="166"/>
                  </a:cubicBezTo>
                  <a:close/>
                  <a:moveTo>
                    <a:pt x="414" y="42"/>
                  </a:moveTo>
                  <a:cubicBezTo>
                    <a:pt x="421" y="41"/>
                    <a:pt x="425" y="41"/>
                    <a:pt x="430" y="45"/>
                  </a:cubicBezTo>
                  <a:cubicBezTo>
                    <a:pt x="436" y="49"/>
                    <a:pt x="436" y="52"/>
                    <a:pt x="431" y="55"/>
                  </a:cubicBezTo>
                  <a:cubicBezTo>
                    <a:pt x="281" y="121"/>
                    <a:pt x="281" y="121"/>
                    <a:pt x="281" y="121"/>
                  </a:cubicBezTo>
                  <a:cubicBezTo>
                    <a:pt x="281" y="121"/>
                    <a:pt x="281" y="121"/>
                    <a:pt x="281" y="121"/>
                  </a:cubicBezTo>
                  <a:cubicBezTo>
                    <a:pt x="254" y="135"/>
                    <a:pt x="254" y="135"/>
                    <a:pt x="254" y="135"/>
                  </a:cubicBezTo>
                  <a:cubicBezTo>
                    <a:pt x="253" y="135"/>
                    <a:pt x="242" y="131"/>
                    <a:pt x="214" y="118"/>
                  </a:cubicBezTo>
                  <a:cubicBezTo>
                    <a:pt x="196" y="110"/>
                    <a:pt x="182" y="103"/>
                    <a:pt x="175" y="98"/>
                  </a:cubicBezTo>
                  <a:cubicBezTo>
                    <a:pt x="172" y="96"/>
                    <a:pt x="173" y="94"/>
                    <a:pt x="177" y="93"/>
                  </a:cubicBezTo>
                  <a:cubicBezTo>
                    <a:pt x="256" y="78"/>
                    <a:pt x="335" y="60"/>
                    <a:pt x="414" y="42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 flipH="1">
              <a:off x="597080" y="3445208"/>
              <a:ext cx="490474" cy="576319"/>
            </a:xfrm>
            <a:custGeom>
              <a:avLst/>
              <a:gdLst>
                <a:gd name="T0" fmla="*/ 461 w 503"/>
                <a:gd name="T1" fmla="*/ 304 h 591"/>
                <a:gd name="T2" fmla="*/ 503 w 503"/>
                <a:gd name="T3" fmla="*/ 267 h 591"/>
                <a:gd name="T4" fmla="*/ 461 w 503"/>
                <a:gd name="T5" fmla="*/ 230 h 591"/>
                <a:gd name="T6" fmla="*/ 278 w 503"/>
                <a:gd name="T7" fmla="*/ 230 h 591"/>
                <a:gd name="T8" fmla="*/ 278 w 503"/>
                <a:gd name="T9" fmla="*/ 109 h 591"/>
                <a:gd name="T10" fmla="*/ 385 w 503"/>
                <a:gd name="T11" fmla="*/ 109 h 591"/>
                <a:gd name="T12" fmla="*/ 410 w 503"/>
                <a:gd name="T13" fmla="*/ 73 h 591"/>
                <a:gd name="T14" fmla="*/ 385 w 503"/>
                <a:gd name="T15" fmla="*/ 36 h 591"/>
                <a:gd name="T16" fmla="*/ 278 w 503"/>
                <a:gd name="T17" fmla="*/ 36 h 591"/>
                <a:gd name="T18" fmla="*/ 278 w 503"/>
                <a:gd name="T19" fmla="*/ 22 h 591"/>
                <a:gd name="T20" fmla="*/ 261 w 503"/>
                <a:gd name="T21" fmla="*/ 0 h 591"/>
                <a:gd name="T22" fmla="*/ 244 w 503"/>
                <a:gd name="T23" fmla="*/ 22 h 591"/>
                <a:gd name="T24" fmla="*/ 244 w 503"/>
                <a:gd name="T25" fmla="*/ 109 h 591"/>
                <a:gd name="T26" fmla="*/ 46 w 503"/>
                <a:gd name="T27" fmla="*/ 109 h 591"/>
                <a:gd name="T28" fmla="*/ 0 w 503"/>
                <a:gd name="T29" fmla="*/ 146 h 591"/>
                <a:gd name="T30" fmla="*/ 46 w 503"/>
                <a:gd name="T31" fmla="*/ 183 h 591"/>
                <a:gd name="T32" fmla="*/ 244 w 503"/>
                <a:gd name="T33" fmla="*/ 183 h 591"/>
                <a:gd name="T34" fmla="*/ 244 w 503"/>
                <a:gd name="T35" fmla="*/ 516 h 591"/>
                <a:gd name="T36" fmla="*/ 224 w 503"/>
                <a:gd name="T37" fmla="*/ 516 h 591"/>
                <a:gd name="T38" fmla="*/ 204 w 503"/>
                <a:gd name="T39" fmla="*/ 537 h 591"/>
                <a:gd name="T40" fmla="*/ 206 w 503"/>
                <a:gd name="T41" fmla="*/ 547 h 591"/>
                <a:gd name="T42" fmla="*/ 181 w 503"/>
                <a:gd name="T43" fmla="*/ 569 h 591"/>
                <a:gd name="T44" fmla="*/ 209 w 503"/>
                <a:gd name="T45" fmla="*/ 591 h 591"/>
                <a:gd name="T46" fmla="*/ 314 w 503"/>
                <a:gd name="T47" fmla="*/ 591 h 591"/>
                <a:gd name="T48" fmla="*/ 342 w 503"/>
                <a:gd name="T49" fmla="*/ 569 h 591"/>
                <a:gd name="T50" fmla="*/ 319 w 503"/>
                <a:gd name="T51" fmla="*/ 547 h 591"/>
                <a:gd name="T52" fmla="*/ 321 w 503"/>
                <a:gd name="T53" fmla="*/ 537 h 591"/>
                <a:gd name="T54" fmla="*/ 300 w 503"/>
                <a:gd name="T55" fmla="*/ 516 h 591"/>
                <a:gd name="T56" fmla="*/ 278 w 503"/>
                <a:gd name="T57" fmla="*/ 516 h 591"/>
                <a:gd name="T58" fmla="*/ 278 w 503"/>
                <a:gd name="T59" fmla="*/ 304 h 591"/>
                <a:gd name="T60" fmla="*/ 461 w 503"/>
                <a:gd name="T61" fmla="*/ 304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03" h="591">
                  <a:moveTo>
                    <a:pt x="461" y="304"/>
                  </a:moveTo>
                  <a:cubicBezTo>
                    <a:pt x="503" y="267"/>
                    <a:pt x="503" y="267"/>
                    <a:pt x="503" y="267"/>
                  </a:cubicBezTo>
                  <a:cubicBezTo>
                    <a:pt x="461" y="230"/>
                    <a:pt x="461" y="230"/>
                    <a:pt x="461" y="230"/>
                  </a:cubicBezTo>
                  <a:cubicBezTo>
                    <a:pt x="278" y="230"/>
                    <a:pt x="278" y="230"/>
                    <a:pt x="278" y="230"/>
                  </a:cubicBezTo>
                  <a:cubicBezTo>
                    <a:pt x="278" y="109"/>
                    <a:pt x="278" y="109"/>
                    <a:pt x="278" y="109"/>
                  </a:cubicBezTo>
                  <a:cubicBezTo>
                    <a:pt x="385" y="109"/>
                    <a:pt x="385" y="109"/>
                    <a:pt x="385" y="109"/>
                  </a:cubicBezTo>
                  <a:cubicBezTo>
                    <a:pt x="410" y="73"/>
                    <a:pt x="410" y="73"/>
                    <a:pt x="410" y="73"/>
                  </a:cubicBezTo>
                  <a:cubicBezTo>
                    <a:pt x="385" y="36"/>
                    <a:pt x="385" y="36"/>
                    <a:pt x="385" y="36"/>
                  </a:cubicBezTo>
                  <a:cubicBezTo>
                    <a:pt x="278" y="36"/>
                    <a:pt x="278" y="36"/>
                    <a:pt x="278" y="36"/>
                  </a:cubicBezTo>
                  <a:cubicBezTo>
                    <a:pt x="278" y="22"/>
                    <a:pt x="278" y="22"/>
                    <a:pt x="278" y="22"/>
                  </a:cubicBezTo>
                  <a:cubicBezTo>
                    <a:pt x="278" y="10"/>
                    <a:pt x="271" y="0"/>
                    <a:pt x="261" y="0"/>
                  </a:cubicBezTo>
                  <a:cubicBezTo>
                    <a:pt x="252" y="0"/>
                    <a:pt x="244" y="10"/>
                    <a:pt x="244" y="22"/>
                  </a:cubicBezTo>
                  <a:cubicBezTo>
                    <a:pt x="244" y="109"/>
                    <a:pt x="244" y="109"/>
                    <a:pt x="244" y="109"/>
                  </a:cubicBezTo>
                  <a:cubicBezTo>
                    <a:pt x="46" y="109"/>
                    <a:pt x="46" y="109"/>
                    <a:pt x="46" y="109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46" y="183"/>
                    <a:pt x="46" y="183"/>
                    <a:pt x="46" y="183"/>
                  </a:cubicBezTo>
                  <a:cubicBezTo>
                    <a:pt x="244" y="183"/>
                    <a:pt x="244" y="183"/>
                    <a:pt x="244" y="183"/>
                  </a:cubicBezTo>
                  <a:cubicBezTo>
                    <a:pt x="244" y="516"/>
                    <a:pt x="244" y="516"/>
                    <a:pt x="244" y="516"/>
                  </a:cubicBezTo>
                  <a:cubicBezTo>
                    <a:pt x="224" y="516"/>
                    <a:pt x="224" y="516"/>
                    <a:pt x="224" y="516"/>
                  </a:cubicBezTo>
                  <a:cubicBezTo>
                    <a:pt x="213" y="516"/>
                    <a:pt x="204" y="525"/>
                    <a:pt x="204" y="537"/>
                  </a:cubicBezTo>
                  <a:cubicBezTo>
                    <a:pt x="204" y="541"/>
                    <a:pt x="205" y="544"/>
                    <a:pt x="206" y="547"/>
                  </a:cubicBezTo>
                  <a:cubicBezTo>
                    <a:pt x="192" y="548"/>
                    <a:pt x="181" y="557"/>
                    <a:pt x="181" y="569"/>
                  </a:cubicBezTo>
                  <a:cubicBezTo>
                    <a:pt x="181" y="581"/>
                    <a:pt x="193" y="591"/>
                    <a:pt x="209" y="591"/>
                  </a:cubicBezTo>
                  <a:cubicBezTo>
                    <a:pt x="314" y="591"/>
                    <a:pt x="314" y="591"/>
                    <a:pt x="314" y="591"/>
                  </a:cubicBezTo>
                  <a:cubicBezTo>
                    <a:pt x="329" y="591"/>
                    <a:pt x="342" y="581"/>
                    <a:pt x="342" y="569"/>
                  </a:cubicBezTo>
                  <a:cubicBezTo>
                    <a:pt x="342" y="558"/>
                    <a:pt x="332" y="549"/>
                    <a:pt x="319" y="547"/>
                  </a:cubicBezTo>
                  <a:cubicBezTo>
                    <a:pt x="320" y="544"/>
                    <a:pt x="321" y="541"/>
                    <a:pt x="321" y="537"/>
                  </a:cubicBezTo>
                  <a:cubicBezTo>
                    <a:pt x="321" y="525"/>
                    <a:pt x="312" y="516"/>
                    <a:pt x="300" y="516"/>
                  </a:cubicBezTo>
                  <a:cubicBezTo>
                    <a:pt x="278" y="516"/>
                    <a:pt x="278" y="516"/>
                    <a:pt x="278" y="516"/>
                  </a:cubicBezTo>
                  <a:cubicBezTo>
                    <a:pt x="278" y="304"/>
                    <a:pt x="278" y="304"/>
                    <a:pt x="278" y="304"/>
                  </a:cubicBezTo>
                  <a:lnTo>
                    <a:pt x="461" y="304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27" name="Group 86"/>
            <p:cNvGrpSpPr/>
            <p:nvPr/>
          </p:nvGrpSpPr>
          <p:grpSpPr>
            <a:xfrm flipH="1">
              <a:off x="-614557" y="3194033"/>
              <a:ext cx="466823" cy="433803"/>
              <a:chOff x="3791090" y="2972422"/>
              <a:chExt cx="428485" cy="398177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147" name="Freeform 18"/>
              <p:cNvSpPr>
                <a:spLocks noEditPoints="1"/>
              </p:cNvSpPr>
              <p:nvPr/>
            </p:nvSpPr>
            <p:spPr bwMode="auto">
              <a:xfrm>
                <a:off x="3791090" y="2972422"/>
                <a:ext cx="428485" cy="398177"/>
              </a:xfrm>
              <a:custGeom>
                <a:avLst/>
                <a:gdLst>
                  <a:gd name="T0" fmla="*/ 240 w 479"/>
                  <a:gd name="T1" fmla="*/ 0 h 445"/>
                  <a:gd name="T2" fmla="*/ 0 w 479"/>
                  <a:gd name="T3" fmla="*/ 222 h 445"/>
                  <a:gd name="T4" fmla="*/ 240 w 479"/>
                  <a:gd name="T5" fmla="*/ 445 h 445"/>
                  <a:gd name="T6" fmla="*/ 479 w 479"/>
                  <a:gd name="T7" fmla="*/ 222 h 445"/>
                  <a:gd name="T8" fmla="*/ 240 w 479"/>
                  <a:gd name="T9" fmla="*/ 0 h 445"/>
                  <a:gd name="T10" fmla="*/ 240 w 479"/>
                  <a:gd name="T11" fmla="*/ 377 h 445"/>
                  <a:gd name="T12" fmla="*/ 70 w 479"/>
                  <a:gd name="T13" fmla="*/ 222 h 445"/>
                  <a:gd name="T14" fmla="*/ 240 w 479"/>
                  <a:gd name="T15" fmla="*/ 67 h 445"/>
                  <a:gd name="T16" fmla="*/ 410 w 479"/>
                  <a:gd name="T17" fmla="*/ 222 h 445"/>
                  <a:gd name="T18" fmla="*/ 240 w 479"/>
                  <a:gd name="T19" fmla="*/ 377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9" h="445">
                    <a:moveTo>
                      <a:pt x="240" y="0"/>
                    </a:moveTo>
                    <a:cubicBezTo>
                      <a:pt x="108" y="0"/>
                      <a:pt x="0" y="99"/>
                      <a:pt x="0" y="222"/>
                    </a:cubicBezTo>
                    <a:cubicBezTo>
                      <a:pt x="0" y="345"/>
                      <a:pt x="108" y="445"/>
                      <a:pt x="240" y="445"/>
                    </a:cubicBezTo>
                    <a:cubicBezTo>
                      <a:pt x="372" y="445"/>
                      <a:pt x="479" y="345"/>
                      <a:pt x="479" y="222"/>
                    </a:cubicBezTo>
                    <a:cubicBezTo>
                      <a:pt x="479" y="99"/>
                      <a:pt x="372" y="0"/>
                      <a:pt x="240" y="0"/>
                    </a:cubicBezTo>
                    <a:close/>
                    <a:moveTo>
                      <a:pt x="240" y="377"/>
                    </a:moveTo>
                    <a:cubicBezTo>
                      <a:pt x="146" y="377"/>
                      <a:pt x="70" y="308"/>
                      <a:pt x="70" y="222"/>
                    </a:cubicBezTo>
                    <a:cubicBezTo>
                      <a:pt x="70" y="137"/>
                      <a:pt x="146" y="67"/>
                      <a:pt x="240" y="67"/>
                    </a:cubicBezTo>
                    <a:cubicBezTo>
                      <a:pt x="333" y="67"/>
                      <a:pt x="410" y="137"/>
                      <a:pt x="410" y="222"/>
                    </a:cubicBezTo>
                    <a:cubicBezTo>
                      <a:pt x="410" y="308"/>
                      <a:pt x="333" y="377"/>
                      <a:pt x="240" y="377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48" name="Freeform 19"/>
              <p:cNvSpPr>
                <a:spLocks/>
              </p:cNvSpPr>
              <p:nvPr/>
            </p:nvSpPr>
            <p:spPr bwMode="auto">
              <a:xfrm>
                <a:off x="3872544" y="3062590"/>
                <a:ext cx="266714" cy="96608"/>
              </a:xfrm>
              <a:custGeom>
                <a:avLst/>
                <a:gdLst>
                  <a:gd name="T0" fmla="*/ 298 w 298"/>
                  <a:gd name="T1" fmla="*/ 77 h 108"/>
                  <a:gd name="T2" fmla="*/ 293 w 298"/>
                  <a:gd name="T3" fmla="*/ 71 h 108"/>
                  <a:gd name="T4" fmla="*/ 261 w 298"/>
                  <a:gd name="T5" fmla="*/ 92 h 108"/>
                  <a:gd name="T6" fmla="*/ 230 w 298"/>
                  <a:gd name="T7" fmla="*/ 58 h 108"/>
                  <a:gd name="T8" fmla="*/ 248 w 298"/>
                  <a:gd name="T9" fmla="*/ 24 h 108"/>
                  <a:gd name="T10" fmla="*/ 239 w 298"/>
                  <a:gd name="T11" fmla="*/ 21 h 108"/>
                  <a:gd name="T12" fmla="*/ 223 w 298"/>
                  <a:gd name="T13" fmla="*/ 52 h 108"/>
                  <a:gd name="T14" fmla="*/ 222 w 298"/>
                  <a:gd name="T15" fmla="*/ 53 h 108"/>
                  <a:gd name="T16" fmla="*/ 156 w 298"/>
                  <a:gd name="T17" fmla="*/ 36 h 108"/>
                  <a:gd name="T18" fmla="*/ 156 w 298"/>
                  <a:gd name="T19" fmla="*/ 0 h 108"/>
                  <a:gd name="T20" fmla="*/ 146 w 298"/>
                  <a:gd name="T21" fmla="*/ 0 h 108"/>
                  <a:gd name="T22" fmla="*/ 146 w 298"/>
                  <a:gd name="T23" fmla="*/ 36 h 108"/>
                  <a:gd name="T24" fmla="*/ 89 w 298"/>
                  <a:gd name="T25" fmla="*/ 49 h 108"/>
                  <a:gd name="T26" fmla="*/ 71 w 298"/>
                  <a:gd name="T27" fmla="*/ 15 h 108"/>
                  <a:gd name="T28" fmla="*/ 62 w 298"/>
                  <a:gd name="T29" fmla="*/ 18 h 108"/>
                  <a:gd name="T30" fmla="*/ 69 w 298"/>
                  <a:gd name="T31" fmla="*/ 31 h 108"/>
                  <a:gd name="T32" fmla="*/ 18 w 298"/>
                  <a:gd name="T33" fmla="*/ 79 h 108"/>
                  <a:gd name="T34" fmla="*/ 6 w 298"/>
                  <a:gd name="T35" fmla="*/ 71 h 108"/>
                  <a:gd name="T36" fmla="*/ 0 w 298"/>
                  <a:gd name="T37" fmla="*/ 77 h 108"/>
                  <a:gd name="T38" fmla="*/ 34 w 298"/>
                  <a:gd name="T39" fmla="*/ 100 h 108"/>
                  <a:gd name="T40" fmla="*/ 33 w 298"/>
                  <a:gd name="T41" fmla="*/ 103 h 108"/>
                  <a:gd name="T42" fmla="*/ 44 w 298"/>
                  <a:gd name="T43" fmla="*/ 108 h 108"/>
                  <a:gd name="T44" fmla="*/ 150 w 298"/>
                  <a:gd name="T45" fmla="*/ 47 h 108"/>
                  <a:gd name="T46" fmla="*/ 257 w 298"/>
                  <a:gd name="T47" fmla="*/ 108 h 108"/>
                  <a:gd name="T48" fmla="*/ 268 w 298"/>
                  <a:gd name="T49" fmla="*/ 103 h 108"/>
                  <a:gd name="T50" fmla="*/ 266 w 298"/>
                  <a:gd name="T51" fmla="*/ 99 h 108"/>
                  <a:gd name="T52" fmla="*/ 298 w 298"/>
                  <a:gd name="T53" fmla="*/ 77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98" h="108">
                    <a:moveTo>
                      <a:pt x="298" y="77"/>
                    </a:moveTo>
                    <a:cubicBezTo>
                      <a:pt x="293" y="71"/>
                      <a:pt x="293" y="71"/>
                      <a:pt x="293" y="71"/>
                    </a:cubicBezTo>
                    <a:cubicBezTo>
                      <a:pt x="261" y="92"/>
                      <a:pt x="261" y="92"/>
                      <a:pt x="261" y="92"/>
                    </a:cubicBezTo>
                    <a:cubicBezTo>
                      <a:pt x="252" y="77"/>
                      <a:pt x="242" y="66"/>
                      <a:pt x="230" y="58"/>
                    </a:cubicBezTo>
                    <a:cubicBezTo>
                      <a:pt x="248" y="24"/>
                      <a:pt x="248" y="24"/>
                      <a:pt x="248" y="24"/>
                    </a:cubicBezTo>
                    <a:cubicBezTo>
                      <a:pt x="239" y="21"/>
                      <a:pt x="239" y="21"/>
                      <a:pt x="239" y="21"/>
                    </a:cubicBezTo>
                    <a:cubicBezTo>
                      <a:pt x="223" y="52"/>
                      <a:pt x="223" y="52"/>
                      <a:pt x="223" y="52"/>
                    </a:cubicBezTo>
                    <a:cubicBezTo>
                      <a:pt x="222" y="53"/>
                      <a:pt x="222" y="53"/>
                      <a:pt x="222" y="53"/>
                    </a:cubicBezTo>
                    <a:cubicBezTo>
                      <a:pt x="204" y="42"/>
                      <a:pt x="183" y="37"/>
                      <a:pt x="156" y="36"/>
                    </a:cubicBezTo>
                    <a:cubicBezTo>
                      <a:pt x="156" y="0"/>
                      <a:pt x="156" y="0"/>
                      <a:pt x="156" y="0"/>
                    </a:cubicBezTo>
                    <a:cubicBezTo>
                      <a:pt x="146" y="0"/>
                      <a:pt x="146" y="0"/>
                      <a:pt x="146" y="0"/>
                    </a:cubicBezTo>
                    <a:cubicBezTo>
                      <a:pt x="146" y="36"/>
                      <a:pt x="146" y="36"/>
                      <a:pt x="146" y="36"/>
                    </a:cubicBezTo>
                    <a:cubicBezTo>
                      <a:pt x="125" y="37"/>
                      <a:pt x="106" y="41"/>
                      <a:pt x="89" y="49"/>
                    </a:cubicBezTo>
                    <a:cubicBezTo>
                      <a:pt x="71" y="15"/>
                      <a:pt x="71" y="15"/>
                      <a:pt x="71" y="15"/>
                    </a:cubicBezTo>
                    <a:cubicBezTo>
                      <a:pt x="62" y="18"/>
                      <a:pt x="62" y="18"/>
                      <a:pt x="62" y="18"/>
                    </a:cubicBezTo>
                    <a:cubicBezTo>
                      <a:pt x="69" y="31"/>
                      <a:pt x="69" y="31"/>
                      <a:pt x="69" y="31"/>
                    </a:cubicBezTo>
                    <a:cubicBezTo>
                      <a:pt x="44" y="43"/>
                      <a:pt x="28" y="61"/>
                      <a:pt x="18" y="79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4" y="101"/>
                      <a:pt x="33" y="102"/>
                      <a:pt x="33" y="103"/>
                    </a:cubicBezTo>
                    <a:cubicBezTo>
                      <a:pt x="44" y="108"/>
                      <a:pt x="44" y="108"/>
                      <a:pt x="44" y="108"/>
                    </a:cubicBezTo>
                    <a:cubicBezTo>
                      <a:pt x="51" y="94"/>
                      <a:pt x="79" y="47"/>
                      <a:pt x="150" y="47"/>
                    </a:cubicBezTo>
                    <a:cubicBezTo>
                      <a:pt x="215" y="47"/>
                      <a:pt x="240" y="77"/>
                      <a:pt x="257" y="108"/>
                    </a:cubicBezTo>
                    <a:cubicBezTo>
                      <a:pt x="268" y="103"/>
                      <a:pt x="268" y="103"/>
                      <a:pt x="268" y="103"/>
                    </a:cubicBezTo>
                    <a:cubicBezTo>
                      <a:pt x="267" y="102"/>
                      <a:pt x="266" y="100"/>
                      <a:pt x="266" y="99"/>
                    </a:cubicBezTo>
                    <a:lnTo>
                      <a:pt x="298" y="7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49" name="Freeform 20"/>
              <p:cNvSpPr>
                <a:spLocks/>
              </p:cNvSpPr>
              <p:nvPr/>
            </p:nvSpPr>
            <p:spPr bwMode="auto">
              <a:xfrm>
                <a:off x="3893002" y="3166396"/>
                <a:ext cx="27656" cy="38643"/>
              </a:xfrm>
              <a:custGeom>
                <a:avLst/>
                <a:gdLst>
                  <a:gd name="T0" fmla="*/ 66 w 73"/>
                  <a:gd name="T1" fmla="*/ 57 h 102"/>
                  <a:gd name="T2" fmla="*/ 21 w 73"/>
                  <a:gd name="T3" fmla="*/ 57 h 102"/>
                  <a:gd name="T4" fmla="*/ 21 w 73"/>
                  <a:gd name="T5" fmla="*/ 85 h 102"/>
                  <a:gd name="T6" fmla="*/ 73 w 73"/>
                  <a:gd name="T7" fmla="*/ 85 h 102"/>
                  <a:gd name="T8" fmla="*/ 73 w 73"/>
                  <a:gd name="T9" fmla="*/ 102 h 102"/>
                  <a:gd name="T10" fmla="*/ 0 w 73"/>
                  <a:gd name="T11" fmla="*/ 102 h 102"/>
                  <a:gd name="T12" fmla="*/ 0 w 73"/>
                  <a:gd name="T13" fmla="*/ 0 h 102"/>
                  <a:gd name="T14" fmla="*/ 69 w 73"/>
                  <a:gd name="T15" fmla="*/ 0 h 102"/>
                  <a:gd name="T16" fmla="*/ 69 w 73"/>
                  <a:gd name="T17" fmla="*/ 14 h 102"/>
                  <a:gd name="T18" fmla="*/ 21 w 73"/>
                  <a:gd name="T19" fmla="*/ 14 h 102"/>
                  <a:gd name="T20" fmla="*/ 21 w 73"/>
                  <a:gd name="T21" fmla="*/ 40 h 102"/>
                  <a:gd name="T22" fmla="*/ 66 w 73"/>
                  <a:gd name="T23" fmla="*/ 40 h 102"/>
                  <a:gd name="T24" fmla="*/ 66 w 73"/>
                  <a:gd name="T25" fmla="*/ 5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3" h="102">
                    <a:moveTo>
                      <a:pt x="66" y="57"/>
                    </a:moveTo>
                    <a:lnTo>
                      <a:pt x="21" y="57"/>
                    </a:lnTo>
                    <a:lnTo>
                      <a:pt x="21" y="85"/>
                    </a:lnTo>
                    <a:lnTo>
                      <a:pt x="73" y="85"/>
                    </a:lnTo>
                    <a:lnTo>
                      <a:pt x="73" y="102"/>
                    </a:lnTo>
                    <a:lnTo>
                      <a:pt x="0" y="102"/>
                    </a:lnTo>
                    <a:lnTo>
                      <a:pt x="0" y="0"/>
                    </a:lnTo>
                    <a:lnTo>
                      <a:pt x="69" y="0"/>
                    </a:lnTo>
                    <a:lnTo>
                      <a:pt x="69" y="14"/>
                    </a:lnTo>
                    <a:lnTo>
                      <a:pt x="21" y="14"/>
                    </a:lnTo>
                    <a:lnTo>
                      <a:pt x="21" y="40"/>
                    </a:lnTo>
                    <a:lnTo>
                      <a:pt x="66" y="40"/>
                    </a:lnTo>
                    <a:lnTo>
                      <a:pt x="66" y="5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50" name="Freeform 21"/>
              <p:cNvSpPr>
                <a:spLocks/>
              </p:cNvSpPr>
              <p:nvPr/>
            </p:nvSpPr>
            <p:spPr bwMode="auto">
              <a:xfrm>
                <a:off x="4100614" y="3168290"/>
                <a:ext cx="26899" cy="38643"/>
              </a:xfrm>
              <a:custGeom>
                <a:avLst/>
                <a:gdLst>
                  <a:gd name="T0" fmla="*/ 0 w 71"/>
                  <a:gd name="T1" fmla="*/ 0 h 102"/>
                  <a:gd name="T2" fmla="*/ 71 w 71"/>
                  <a:gd name="T3" fmla="*/ 0 h 102"/>
                  <a:gd name="T4" fmla="*/ 71 w 71"/>
                  <a:gd name="T5" fmla="*/ 17 h 102"/>
                  <a:gd name="T6" fmla="*/ 24 w 71"/>
                  <a:gd name="T7" fmla="*/ 17 h 102"/>
                  <a:gd name="T8" fmla="*/ 24 w 71"/>
                  <a:gd name="T9" fmla="*/ 43 h 102"/>
                  <a:gd name="T10" fmla="*/ 66 w 71"/>
                  <a:gd name="T11" fmla="*/ 43 h 102"/>
                  <a:gd name="T12" fmla="*/ 66 w 71"/>
                  <a:gd name="T13" fmla="*/ 59 h 102"/>
                  <a:gd name="T14" fmla="*/ 24 w 71"/>
                  <a:gd name="T15" fmla="*/ 59 h 102"/>
                  <a:gd name="T16" fmla="*/ 24 w 71"/>
                  <a:gd name="T17" fmla="*/ 102 h 102"/>
                  <a:gd name="T18" fmla="*/ 0 w 71"/>
                  <a:gd name="T19" fmla="*/ 102 h 102"/>
                  <a:gd name="T20" fmla="*/ 0 w 71"/>
                  <a:gd name="T21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1" h="102">
                    <a:moveTo>
                      <a:pt x="0" y="0"/>
                    </a:moveTo>
                    <a:lnTo>
                      <a:pt x="71" y="0"/>
                    </a:lnTo>
                    <a:lnTo>
                      <a:pt x="71" y="17"/>
                    </a:lnTo>
                    <a:lnTo>
                      <a:pt x="24" y="17"/>
                    </a:lnTo>
                    <a:lnTo>
                      <a:pt x="24" y="43"/>
                    </a:lnTo>
                    <a:lnTo>
                      <a:pt x="66" y="43"/>
                    </a:lnTo>
                    <a:lnTo>
                      <a:pt x="66" y="59"/>
                    </a:lnTo>
                    <a:lnTo>
                      <a:pt x="24" y="59"/>
                    </a:lnTo>
                    <a:lnTo>
                      <a:pt x="24" y="102"/>
                    </a:lnTo>
                    <a:lnTo>
                      <a:pt x="0" y="10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51" name="Freeform 22"/>
              <p:cNvSpPr>
                <a:spLocks/>
              </p:cNvSpPr>
              <p:nvPr/>
            </p:nvSpPr>
            <p:spPr bwMode="auto">
              <a:xfrm>
                <a:off x="3986958" y="3110325"/>
                <a:ext cx="132599" cy="131463"/>
              </a:xfrm>
              <a:custGeom>
                <a:avLst/>
                <a:gdLst>
                  <a:gd name="T0" fmla="*/ 148 w 148"/>
                  <a:gd name="T1" fmla="*/ 0 h 147"/>
                  <a:gd name="T2" fmla="*/ 148 w 148"/>
                  <a:gd name="T3" fmla="*/ 0 h 147"/>
                  <a:gd name="T4" fmla="*/ 148 w 148"/>
                  <a:gd name="T5" fmla="*/ 0 h 147"/>
                  <a:gd name="T6" fmla="*/ 116 w 148"/>
                  <a:gd name="T7" fmla="*/ 16 h 147"/>
                  <a:gd name="T8" fmla="*/ 22 w 148"/>
                  <a:gd name="T9" fmla="*/ 115 h 147"/>
                  <a:gd name="T10" fmla="*/ 6 w 148"/>
                  <a:gd name="T11" fmla="*/ 120 h 147"/>
                  <a:gd name="T12" fmla="*/ 8 w 148"/>
                  <a:gd name="T13" fmla="*/ 142 h 147"/>
                  <a:gd name="T14" fmla="*/ 30 w 148"/>
                  <a:gd name="T15" fmla="*/ 140 h 147"/>
                  <a:gd name="T16" fmla="*/ 31 w 148"/>
                  <a:gd name="T17" fmla="*/ 122 h 147"/>
                  <a:gd name="T18" fmla="*/ 129 w 148"/>
                  <a:gd name="T19" fmla="*/ 34 h 147"/>
                  <a:gd name="T20" fmla="*/ 148 w 148"/>
                  <a:gd name="T21" fmla="*/ 0 h 147"/>
                  <a:gd name="T22" fmla="*/ 148 w 148"/>
                  <a:gd name="T23" fmla="*/ 0 h 147"/>
                  <a:gd name="T24" fmla="*/ 148 w 148"/>
                  <a:gd name="T25" fmla="*/ 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" h="147">
                    <a:moveTo>
                      <a:pt x="148" y="0"/>
                    </a:moveTo>
                    <a:cubicBezTo>
                      <a:pt x="148" y="0"/>
                      <a:pt x="148" y="0"/>
                      <a:pt x="148" y="0"/>
                    </a:cubicBezTo>
                    <a:cubicBezTo>
                      <a:pt x="148" y="0"/>
                      <a:pt x="148" y="0"/>
                      <a:pt x="148" y="0"/>
                    </a:cubicBezTo>
                    <a:cubicBezTo>
                      <a:pt x="139" y="5"/>
                      <a:pt x="125" y="12"/>
                      <a:pt x="116" y="16"/>
                    </a:cubicBezTo>
                    <a:cubicBezTo>
                      <a:pt x="104" y="29"/>
                      <a:pt x="51" y="85"/>
                      <a:pt x="22" y="115"/>
                    </a:cubicBezTo>
                    <a:cubicBezTo>
                      <a:pt x="16" y="114"/>
                      <a:pt x="10" y="115"/>
                      <a:pt x="6" y="120"/>
                    </a:cubicBezTo>
                    <a:cubicBezTo>
                      <a:pt x="0" y="126"/>
                      <a:pt x="1" y="136"/>
                      <a:pt x="8" y="142"/>
                    </a:cubicBezTo>
                    <a:cubicBezTo>
                      <a:pt x="14" y="147"/>
                      <a:pt x="24" y="147"/>
                      <a:pt x="30" y="140"/>
                    </a:cubicBezTo>
                    <a:cubicBezTo>
                      <a:pt x="34" y="135"/>
                      <a:pt x="35" y="128"/>
                      <a:pt x="31" y="122"/>
                    </a:cubicBezTo>
                    <a:cubicBezTo>
                      <a:pt x="62" y="93"/>
                      <a:pt x="116" y="45"/>
                      <a:pt x="129" y="34"/>
                    </a:cubicBezTo>
                    <a:cubicBezTo>
                      <a:pt x="134" y="24"/>
                      <a:pt x="142" y="10"/>
                      <a:pt x="148" y="0"/>
                    </a:cubicBezTo>
                    <a:cubicBezTo>
                      <a:pt x="148" y="0"/>
                      <a:pt x="148" y="0"/>
                      <a:pt x="148" y="0"/>
                    </a:cubicBezTo>
                    <a:cubicBezTo>
                      <a:pt x="148" y="0"/>
                      <a:pt x="148" y="0"/>
                      <a:pt x="14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28" name="Group 92"/>
            <p:cNvGrpSpPr/>
            <p:nvPr/>
          </p:nvGrpSpPr>
          <p:grpSpPr>
            <a:xfrm flipH="1">
              <a:off x="-1545771" y="798830"/>
              <a:ext cx="760727" cy="484804"/>
              <a:chOff x="-5124450" y="3267075"/>
              <a:chExt cx="936625" cy="596901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44" name="Oval 27"/>
              <p:cNvSpPr>
                <a:spLocks noChangeArrowheads="1"/>
              </p:cNvSpPr>
              <p:nvPr/>
            </p:nvSpPr>
            <p:spPr bwMode="auto">
              <a:xfrm>
                <a:off x="-4978400" y="3671888"/>
                <a:ext cx="187325" cy="192088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45" name="Oval 28"/>
              <p:cNvSpPr>
                <a:spLocks noChangeArrowheads="1"/>
              </p:cNvSpPr>
              <p:nvPr/>
            </p:nvSpPr>
            <p:spPr bwMode="auto">
              <a:xfrm>
                <a:off x="-4494213" y="3671888"/>
                <a:ext cx="187325" cy="192088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46" name="Freeform 29"/>
              <p:cNvSpPr>
                <a:spLocks noEditPoints="1"/>
              </p:cNvSpPr>
              <p:nvPr/>
            </p:nvSpPr>
            <p:spPr bwMode="auto">
              <a:xfrm>
                <a:off x="-5124450" y="3267075"/>
                <a:ext cx="936625" cy="533400"/>
              </a:xfrm>
              <a:custGeom>
                <a:avLst/>
                <a:gdLst>
                  <a:gd name="T0" fmla="*/ 203 w 250"/>
                  <a:gd name="T1" fmla="*/ 69 h 142"/>
                  <a:gd name="T2" fmla="*/ 203 w 250"/>
                  <a:gd name="T3" fmla="*/ 66 h 142"/>
                  <a:gd name="T4" fmla="*/ 130 w 250"/>
                  <a:gd name="T5" fmla="*/ 0 h 142"/>
                  <a:gd name="T6" fmla="*/ 96 w 250"/>
                  <a:gd name="T7" fmla="*/ 0 h 142"/>
                  <a:gd name="T8" fmla="*/ 34 w 250"/>
                  <a:gd name="T9" fmla="*/ 39 h 142"/>
                  <a:gd name="T10" fmla="*/ 32 w 250"/>
                  <a:gd name="T11" fmla="*/ 53 h 142"/>
                  <a:gd name="T12" fmla="*/ 0 w 250"/>
                  <a:gd name="T13" fmla="*/ 105 h 142"/>
                  <a:gd name="T14" fmla="*/ 0 w 250"/>
                  <a:gd name="T15" fmla="*/ 105 h 142"/>
                  <a:gd name="T16" fmla="*/ 33 w 250"/>
                  <a:gd name="T17" fmla="*/ 140 h 142"/>
                  <a:gd name="T18" fmla="*/ 32 w 250"/>
                  <a:gd name="T19" fmla="*/ 133 h 142"/>
                  <a:gd name="T20" fmla="*/ 64 w 250"/>
                  <a:gd name="T21" fmla="*/ 100 h 142"/>
                  <a:gd name="T22" fmla="*/ 96 w 250"/>
                  <a:gd name="T23" fmla="*/ 133 h 142"/>
                  <a:gd name="T24" fmla="*/ 95 w 250"/>
                  <a:gd name="T25" fmla="*/ 142 h 142"/>
                  <a:gd name="T26" fmla="*/ 162 w 250"/>
                  <a:gd name="T27" fmla="*/ 142 h 142"/>
                  <a:gd name="T28" fmla="*/ 160 w 250"/>
                  <a:gd name="T29" fmla="*/ 133 h 142"/>
                  <a:gd name="T30" fmla="*/ 193 w 250"/>
                  <a:gd name="T31" fmla="*/ 100 h 142"/>
                  <a:gd name="T32" fmla="*/ 225 w 250"/>
                  <a:gd name="T33" fmla="*/ 133 h 142"/>
                  <a:gd name="T34" fmla="*/ 224 w 250"/>
                  <a:gd name="T35" fmla="*/ 137 h 142"/>
                  <a:gd name="T36" fmla="*/ 250 w 250"/>
                  <a:gd name="T37" fmla="*/ 105 h 142"/>
                  <a:gd name="T38" fmla="*/ 250 w 250"/>
                  <a:gd name="T39" fmla="*/ 105 h 142"/>
                  <a:gd name="T40" fmla="*/ 203 w 250"/>
                  <a:gd name="T41" fmla="*/ 69 h 142"/>
                  <a:gd name="T42" fmla="*/ 182 w 250"/>
                  <a:gd name="T43" fmla="*/ 68 h 142"/>
                  <a:gd name="T44" fmla="*/ 69 w 250"/>
                  <a:gd name="T45" fmla="*/ 68 h 142"/>
                  <a:gd name="T46" fmla="*/ 69 w 250"/>
                  <a:gd name="T47" fmla="*/ 48 h 142"/>
                  <a:gd name="T48" fmla="*/ 106 w 250"/>
                  <a:gd name="T49" fmla="*/ 11 h 142"/>
                  <a:gd name="T50" fmla="*/ 129 w 250"/>
                  <a:gd name="T51" fmla="*/ 11 h 142"/>
                  <a:gd name="T52" fmla="*/ 182 w 250"/>
                  <a:gd name="T53" fmla="*/ 58 h 142"/>
                  <a:gd name="T54" fmla="*/ 182 w 250"/>
                  <a:gd name="T55" fmla="*/ 68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0" h="142">
                    <a:moveTo>
                      <a:pt x="203" y="69"/>
                    </a:moveTo>
                    <a:cubicBezTo>
                      <a:pt x="203" y="66"/>
                      <a:pt x="203" y="66"/>
                      <a:pt x="203" y="66"/>
                    </a:cubicBezTo>
                    <a:cubicBezTo>
                      <a:pt x="203" y="37"/>
                      <a:pt x="158" y="0"/>
                      <a:pt x="130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67" y="0"/>
                      <a:pt x="34" y="11"/>
                      <a:pt x="34" y="39"/>
                    </a:cubicBezTo>
                    <a:cubicBezTo>
                      <a:pt x="32" y="53"/>
                      <a:pt x="32" y="53"/>
                      <a:pt x="32" y="53"/>
                    </a:cubicBezTo>
                    <a:cubicBezTo>
                      <a:pt x="6" y="54"/>
                      <a:pt x="0" y="85"/>
                      <a:pt x="0" y="105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0" y="121"/>
                      <a:pt x="14" y="135"/>
                      <a:pt x="33" y="140"/>
                    </a:cubicBezTo>
                    <a:cubicBezTo>
                      <a:pt x="32" y="137"/>
                      <a:pt x="32" y="135"/>
                      <a:pt x="32" y="133"/>
                    </a:cubicBezTo>
                    <a:cubicBezTo>
                      <a:pt x="32" y="115"/>
                      <a:pt x="46" y="100"/>
                      <a:pt x="64" y="100"/>
                    </a:cubicBezTo>
                    <a:cubicBezTo>
                      <a:pt x="82" y="100"/>
                      <a:pt x="96" y="115"/>
                      <a:pt x="96" y="133"/>
                    </a:cubicBezTo>
                    <a:cubicBezTo>
                      <a:pt x="96" y="136"/>
                      <a:pt x="96" y="139"/>
                      <a:pt x="95" y="142"/>
                    </a:cubicBezTo>
                    <a:cubicBezTo>
                      <a:pt x="162" y="142"/>
                      <a:pt x="162" y="142"/>
                      <a:pt x="162" y="142"/>
                    </a:cubicBezTo>
                    <a:cubicBezTo>
                      <a:pt x="161" y="139"/>
                      <a:pt x="160" y="136"/>
                      <a:pt x="160" y="133"/>
                    </a:cubicBezTo>
                    <a:cubicBezTo>
                      <a:pt x="160" y="115"/>
                      <a:pt x="175" y="100"/>
                      <a:pt x="193" y="100"/>
                    </a:cubicBezTo>
                    <a:cubicBezTo>
                      <a:pt x="210" y="100"/>
                      <a:pt x="225" y="115"/>
                      <a:pt x="225" y="133"/>
                    </a:cubicBezTo>
                    <a:cubicBezTo>
                      <a:pt x="225" y="134"/>
                      <a:pt x="225" y="136"/>
                      <a:pt x="224" y="137"/>
                    </a:cubicBezTo>
                    <a:cubicBezTo>
                      <a:pt x="240" y="131"/>
                      <a:pt x="250" y="119"/>
                      <a:pt x="250" y="105"/>
                    </a:cubicBezTo>
                    <a:cubicBezTo>
                      <a:pt x="250" y="105"/>
                      <a:pt x="250" y="105"/>
                      <a:pt x="250" y="105"/>
                    </a:cubicBezTo>
                    <a:cubicBezTo>
                      <a:pt x="250" y="85"/>
                      <a:pt x="229" y="69"/>
                      <a:pt x="203" y="69"/>
                    </a:cubicBezTo>
                    <a:close/>
                    <a:moveTo>
                      <a:pt x="182" y="68"/>
                    </a:moveTo>
                    <a:cubicBezTo>
                      <a:pt x="69" y="68"/>
                      <a:pt x="69" y="68"/>
                      <a:pt x="69" y="68"/>
                    </a:cubicBezTo>
                    <a:cubicBezTo>
                      <a:pt x="69" y="48"/>
                      <a:pt x="69" y="48"/>
                      <a:pt x="69" y="48"/>
                    </a:cubicBezTo>
                    <a:cubicBezTo>
                      <a:pt x="69" y="28"/>
                      <a:pt x="86" y="11"/>
                      <a:pt x="106" y="11"/>
                    </a:cubicBezTo>
                    <a:cubicBezTo>
                      <a:pt x="129" y="11"/>
                      <a:pt x="129" y="11"/>
                      <a:pt x="129" y="11"/>
                    </a:cubicBezTo>
                    <a:cubicBezTo>
                      <a:pt x="149" y="11"/>
                      <a:pt x="182" y="37"/>
                      <a:pt x="182" y="58"/>
                    </a:cubicBezTo>
                    <a:lnTo>
                      <a:pt x="182" y="68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29" name="Group 96"/>
            <p:cNvGrpSpPr/>
            <p:nvPr/>
          </p:nvGrpSpPr>
          <p:grpSpPr>
            <a:xfrm flipH="1">
              <a:off x="-212221" y="1613805"/>
              <a:ext cx="481744" cy="506278"/>
              <a:chOff x="-4997450" y="4354513"/>
              <a:chExt cx="685800" cy="720725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40" name="Freeform 30"/>
              <p:cNvSpPr>
                <a:spLocks noEditPoints="1"/>
              </p:cNvSpPr>
              <p:nvPr/>
            </p:nvSpPr>
            <p:spPr bwMode="auto">
              <a:xfrm>
                <a:off x="-4997450" y="4475163"/>
                <a:ext cx="685800" cy="231775"/>
              </a:xfrm>
              <a:custGeom>
                <a:avLst/>
                <a:gdLst>
                  <a:gd name="T0" fmla="*/ 126 w 183"/>
                  <a:gd name="T1" fmla="*/ 27 h 62"/>
                  <a:gd name="T2" fmla="*/ 95 w 183"/>
                  <a:gd name="T3" fmla="*/ 1 h 62"/>
                  <a:gd name="T4" fmla="*/ 92 w 183"/>
                  <a:gd name="T5" fmla="*/ 0 h 62"/>
                  <a:gd name="T6" fmla="*/ 91 w 183"/>
                  <a:gd name="T7" fmla="*/ 0 h 62"/>
                  <a:gd name="T8" fmla="*/ 91 w 183"/>
                  <a:gd name="T9" fmla="*/ 0 h 62"/>
                  <a:gd name="T10" fmla="*/ 88 w 183"/>
                  <a:gd name="T11" fmla="*/ 1 h 62"/>
                  <a:gd name="T12" fmla="*/ 57 w 183"/>
                  <a:gd name="T13" fmla="*/ 27 h 62"/>
                  <a:gd name="T14" fmla="*/ 0 w 183"/>
                  <a:gd name="T15" fmla="*/ 58 h 62"/>
                  <a:gd name="T16" fmla="*/ 0 w 183"/>
                  <a:gd name="T17" fmla="*/ 62 h 62"/>
                  <a:gd name="T18" fmla="*/ 183 w 183"/>
                  <a:gd name="T19" fmla="*/ 62 h 62"/>
                  <a:gd name="T20" fmla="*/ 183 w 183"/>
                  <a:gd name="T21" fmla="*/ 58 h 62"/>
                  <a:gd name="T22" fmla="*/ 126 w 183"/>
                  <a:gd name="T23" fmla="*/ 27 h 62"/>
                  <a:gd name="T24" fmla="*/ 9 w 183"/>
                  <a:gd name="T25" fmla="*/ 58 h 62"/>
                  <a:gd name="T26" fmla="*/ 91 w 183"/>
                  <a:gd name="T27" fmla="*/ 17 h 62"/>
                  <a:gd name="T28" fmla="*/ 91 w 183"/>
                  <a:gd name="T29" fmla="*/ 17 h 62"/>
                  <a:gd name="T30" fmla="*/ 92 w 183"/>
                  <a:gd name="T31" fmla="*/ 17 h 62"/>
                  <a:gd name="T32" fmla="*/ 174 w 183"/>
                  <a:gd name="T33" fmla="*/ 58 h 62"/>
                  <a:gd name="T34" fmla="*/ 9 w 183"/>
                  <a:gd name="T35" fmla="*/ 5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3" h="62">
                    <a:moveTo>
                      <a:pt x="126" y="27"/>
                    </a:moveTo>
                    <a:cubicBezTo>
                      <a:pt x="116" y="19"/>
                      <a:pt x="105" y="5"/>
                      <a:pt x="95" y="1"/>
                    </a:cubicBezTo>
                    <a:cubicBezTo>
                      <a:pt x="94" y="1"/>
                      <a:pt x="93" y="0"/>
                      <a:pt x="92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0" y="0"/>
                      <a:pt x="89" y="1"/>
                      <a:pt x="88" y="1"/>
                    </a:cubicBezTo>
                    <a:cubicBezTo>
                      <a:pt x="78" y="5"/>
                      <a:pt x="67" y="19"/>
                      <a:pt x="57" y="27"/>
                    </a:cubicBezTo>
                    <a:cubicBezTo>
                      <a:pt x="31" y="39"/>
                      <a:pt x="0" y="51"/>
                      <a:pt x="0" y="58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183" y="62"/>
                      <a:pt x="183" y="62"/>
                      <a:pt x="183" y="62"/>
                    </a:cubicBezTo>
                    <a:cubicBezTo>
                      <a:pt x="183" y="62"/>
                      <a:pt x="183" y="62"/>
                      <a:pt x="183" y="58"/>
                    </a:cubicBezTo>
                    <a:cubicBezTo>
                      <a:pt x="183" y="51"/>
                      <a:pt x="151" y="39"/>
                      <a:pt x="126" y="27"/>
                    </a:cubicBezTo>
                    <a:close/>
                    <a:moveTo>
                      <a:pt x="9" y="58"/>
                    </a:moveTo>
                    <a:cubicBezTo>
                      <a:pt x="91" y="17"/>
                      <a:pt x="91" y="17"/>
                      <a:pt x="91" y="17"/>
                    </a:cubicBezTo>
                    <a:cubicBezTo>
                      <a:pt x="91" y="17"/>
                      <a:pt x="91" y="17"/>
                      <a:pt x="91" y="17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174" y="58"/>
                      <a:pt x="174" y="58"/>
                      <a:pt x="174" y="58"/>
                    </a:cubicBezTo>
                    <a:lnTo>
                      <a:pt x="9" y="58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41" name="Oval 31"/>
              <p:cNvSpPr>
                <a:spLocks noChangeArrowheads="1"/>
              </p:cNvSpPr>
              <p:nvPr/>
            </p:nvSpPr>
            <p:spPr bwMode="auto">
              <a:xfrm>
                <a:off x="-4672013" y="4494213"/>
                <a:ext cx="30163" cy="30163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42" name="Freeform 32"/>
              <p:cNvSpPr>
                <a:spLocks/>
              </p:cNvSpPr>
              <p:nvPr/>
            </p:nvSpPr>
            <p:spPr bwMode="auto">
              <a:xfrm>
                <a:off x="-4705350" y="4354513"/>
                <a:ext cx="109538" cy="112713"/>
              </a:xfrm>
              <a:custGeom>
                <a:avLst/>
                <a:gdLst>
                  <a:gd name="T0" fmla="*/ 14 w 29"/>
                  <a:gd name="T1" fmla="*/ 30 h 30"/>
                  <a:gd name="T2" fmla="*/ 11 w 29"/>
                  <a:gd name="T3" fmla="*/ 30 h 30"/>
                  <a:gd name="T4" fmla="*/ 11 w 29"/>
                  <a:gd name="T5" fmla="*/ 18 h 30"/>
                  <a:gd name="T6" fmla="*/ 14 w 29"/>
                  <a:gd name="T7" fmla="*/ 18 h 30"/>
                  <a:gd name="T8" fmla="*/ 18 w 29"/>
                  <a:gd name="T9" fmla="*/ 17 h 30"/>
                  <a:gd name="T10" fmla="*/ 20 w 29"/>
                  <a:gd name="T11" fmla="*/ 12 h 30"/>
                  <a:gd name="T12" fmla="*/ 18 w 29"/>
                  <a:gd name="T13" fmla="*/ 8 h 30"/>
                  <a:gd name="T14" fmla="*/ 14 w 29"/>
                  <a:gd name="T15" fmla="*/ 7 h 30"/>
                  <a:gd name="T16" fmla="*/ 11 w 29"/>
                  <a:gd name="T17" fmla="*/ 8 h 30"/>
                  <a:gd name="T18" fmla="*/ 9 w 29"/>
                  <a:gd name="T19" fmla="*/ 12 h 30"/>
                  <a:gd name="T20" fmla="*/ 9 w 29"/>
                  <a:gd name="T21" fmla="*/ 13 h 30"/>
                  <a:gd name="T22" fmla="*/ 0 w 29"/>
                  <a:gd name="T23" fmla="*/ 13 h 30"/>
                  <a:gd name="T24" fmla="*/ 2 w 29"/>
                  <a:gd name="T25" fmla="*/ 7 h 30"/>
                  <a:gd name="T26" fmla="*/ 6 w 29"/>
                  <a:gd name="T27" fmla="*/ 2 h 30"/>
                  <a:gd name="T28" fmla="*/ 15 w 29"/>
                  <a:gd name="T29" fmla="*/ 0 h 30"/>
                  <a:gd name="T30" fmla="*/ 26 w 29"/>
                  <a:gd name="T31" fmla="*/ 4 h 30"/>
                  <a:gd name="T32" fmla="*/ 29 w 29"/>
                  <a:gd name="T33" fmla="*/ 13 h 30"/>
                  <a:gd name="T34" fmla="*/ 26 w 29"/>
                  <a:gd name="T35" fmla="*/ 21 h 30"/>
                  <a:gd name="T36" fmla="*/ 18 w 29"/>
                  <a:gd name="T37" fmla="*/ 24 h 30"/>
                  <a:gd name="T38" fmla="*/ 17 w 29"/>
                  <a:gd name="T39" fmla="*/ 24 h 30"/>
                  <a:gd name="T40" fmla="*/ 14 w 29"/>
                  <a:gd name="T41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9" h="30">
                    <a:moveTo>
                      <a:pt x="14" y="30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2" y="18"/>
                      <a:pt x="13" y="18"/>
                      <a:pt x="14" y="18"/>
                    </a:cubicBezTo>
                    <a:cubicBezTo>
                      <a:pt x="15" y="18"/>
                      <a:pt x="17" y="18"/>
                      <a:pt x="18" y="17"/>
                    </a:cubicBezTo>
                    <a:cubicBezTo>
                      <a:pt x="19" y="16"/>
                      <a:pt x="20" y="14"/>
                      <a:pt x="20" y="12"/>
                    </a:cubicBezTo>
                    <a:cubicBezTo>
                      <a:pt x="20" y="11"/>
                      <a:pt x="19" y="9"/>
                      <a:pt x="18" y="8"/>
                    </a:cubicBezTo>
                    <a:cubicBezTo>
                      <a:pt x="17" y="7"/>
                      <a:pt x="16" y="7"/>
                      <a:pt x="14" y="7"/>
                    </a:cubicBezTo>
                    <a:cubicBezTo>
                      <a:pt x="13" y="7"/>
                      <a:pt x="11" y="7"/>
                      <a:pt x="11" y="8"/>
                    </a:cubicBezTo>
                    <a:cubicBezTo>
                      <a:pt x="10" y="9"/>
                      <a:pt x="9" y="11"/>
                      <a:pt x="9" y="12"/>
                    </a:cubicBezTo>
                    <a:cubicBezTo>
                      <a:pt x="9" y="12"/>
                      <a:pt x="9" y="13"/>
                      <a:pt x="9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1"/>
                      <a:pt x="1" y="9"/>
                      <a:pt x="2" y="7"/>
                    </a:cubicBezTo>
                    <a:cubicBezTo>
                      <a:pt x="2" y="5"/>
                      <a:pt x="4" y="4"/>
                      <a:pt x="6" y="2"/>
                    </a:cubicBezTo>
                    <a:cubicBezTo>
                      <a:pt x="9" y="1"/>
                      <a:pt x="12" y="0"/>
                      <a:pt x="15" y="0"/>
                    </a:cubicBezTo>
                    <a:cubicBezTo>
                      <a:pt x="20" y="0"/>
                      <a:pt x="23" y="2"/>
                      <a:pt x="26" y="4"/>
                    </a:cubicBezTo>
                    <a:cubicBezTo>
                      <a:pt x="28" y="6"/>
                      <a:pt x="29" y="9"/>
                      <a:pt x="29" y="13"/>
                    </a:cubicBezTo>
                    <a:cubicBezTo>
                      <a:pt x="29" y="16"/>
                      <a:pt x="28" y="19"/>
                      <a:pt x="26" y="21"/>
                    </a:cubicBezTo>
                    <a:cubicBezTo>
                      <a:pt x="24" y="23"/>
                      <a:pt x="21" y="24"/>
                      <a:pt x="18" y="24"/>
                    </a:cubicBezTo>
                    <a:cubicBezTo>
                      <a:pt x="18" y="24"/>
                      <a:pt x="17" y="24"/>
                      <a:pt x="17" y="24"/>
                    </a:cubicBezTo>
                    <a:lnTo>
                      <a:pt x="14" y="3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43" name="Freeform 33"/>
              <p:cNvSpPr>
                <a:spLocks/>
              </p:cNvSpPr>
              <p:nvPr/>
            </p:nvSpPr>
            <p:spPr bwMode="auto">
              <a:xfrm>
                <a:off x="-4821238" y="4637088"/>
                <a:ext cx="330200" cy="438150"/>
              </a:xfrm>
              <a:custGeom>
                <a:avLst/>
                <a:gdLst>
                  <a:gd name="T0" fmla="*/ 88 w 88"/>
                  <a:gd name="T1" fmla="*/ 107 h 117"/>
                  <a:gd name="T2" fmla="*/ 78 w 88"/>
                  <a:gd name="T3" fmla="*/ 117 h 117"/>
                  <a:gd name="T4" fmla="*/ 10 w 88"/>
                  <a:gd name="T5" fmla="*/ 117 h 117"/>
                  <a:gd name="T6" fmla="*/ 0 w 88"/>
                  <a:gd name="T7" fmla="*/ 107 h 117"/>
                  <a:gd name="T8" fmla="*/ 0 w 88"/>
                  <a:gd name="T9" fmla="*/ 11 h 117"/>
                  <a:gd name="T10" fmla="*/ 10 w 88"/>
                  <a:gd name="T11" fmla="*/ 0 h 117"/>
                  <a:gd name="T12" fmla="*/ 78 w 88"/>
                  <a:gd name="T13" fmla="*/ 0 h 117"/>
                  <a:gd name="T14" fmla="*/ 88 w 88"/>
                  <a:gd name="T15" fmla="*/ 11 h 117"/>
                  <a:gd name="T16" fmla="*/ 88 w 88"/>
                  <a:gd name="T17" fmla="*/ 10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8" h="117">
                    <a:moveTo>
                      <a:pt x="88" y="107"/>
                    </a:moveTo>
                    <a:cubicBezTo>
                      <a:pt x="88" y="112"/>
                      <a:pt x="84" y="117"/>
                      <a:pt x="78" y="117"/>
                    </a:cubicBezTo>
                    <a:cubicBezTo>
                      <a:pt x="10" y="117"/>
                      <a:pt x="10" y="117"/>
                      <a:pt x="10" y="117"/>
                    </a:cubicBezTo>
                    <a:cubicBezTo>
                      <a:pt x="4" y="117"/>
                      <a:pt x="0" y="112"/>
                      <a:pt x="0" y="107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4" y="0"/>
                      <a:pt x="88" y="5"/>
                      <a:pt x="88" y="11"/>
                    </a:cubicBezTo>
                    <a:lnTo>
                      <a:pt x="88" y="10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30" name="Group 101"/>
            <p:cNvGrpSpPr/>
            <p:nvPr/>
          </p:nvGrpSpPr>
          <p:grpSpPr>
            <a:xfrm flipH="1">
              <a:off x="-879920" y="311666"/>
              <a:ext cx="444687" cy="248456"/>
              <a:chOff x="-3778250" y="3316288"/>
              <a:chExt cx="892175" cy="498475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136" name="Freeform 34"/>
              <p:cNvSpPr>
                <a:spLocks noEditPoints="1"/>
              </p:cNvSpPr>
              <p:nvPr/>
            </p:nvSpPr>
            <p:spPr bwMode="auto">
              <a:xfrm>
                <a:off x="-3554413" y="3319463"/>
                <a:ext cx="487363" cy="492125"/>
              </a:xfrm>
              <a:custGeom>
                <a:avLst/>
                <a:gdLst>
                  <a:gd name="T0" fmla="*/ 65 w 130"/>
                  <a:gd name="T1" fmla="*/ 0 h 131"/>
                  <a:gd name="T2" fmla="*/ 0 w 130"/>
                  <a:gd name="T3" fmla="*/ 66 h 131"/>
                  <a:gd name="T4" fmla="*/ 65 w 130"/>
                  <a:gd name="T5" fmla="*/ 131 h 131"/>
                  <a:gd name="T6" fmla="*/ 130 w 130"/>
                  <a:gd name="T7" fmla="*/ 66 h 131"/>
                  <a:gd name="T8" fmla="*/ 65 w 130"/>
                  <a:gd name="T9" fmla="*/ 0 h 131"/>
                  <a:gd name="T10" fmla="*/ 65 w 130"/>
                  <a:gd name="T11" fmla="*/ 117 h 131"/>
                  <a:gd name="T12" fmla="*/ 13 w 130"/>
                  <a:gd name="T13" fmla="*/ 66 h 131"/>
                  <a:gd name="T14" fmla="*/ 65 w 130"/>
                  <a:gd name="T15" fmla="*/ 14 h 131"/>
                  <a:gd name="T16" fmla="*/ 116 w 130"/>
                  <a:gd name="T17" fmla="*/ 66 h 131"/>
                  <a:gd name="T18" fmla="*/ 65 w 130"/>
                  <a:gd name="T19" fmla="*/ 11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1">
                    <a:moveTo>
                      <a:pt x="65" y="0"/>
                    </a:moveTo>
                    <a:cubicBezTo>
                      <a:pt x="29" y="0"/>
                      <a:pt x="0" y="30"/>
                      <a:pt x="0" y="66"/>
                    </a:cubicBezTo>
                    <a:cubicBezTo>
                      <a:pt x="0" y="101"/>
                      <a:pt x="29" y="131"/>
                      <a:pt x="65" y="131"/>
                    </a:cubicBezTo>
                    <a:cubicBezTo>
                      <a:pt x="101" y="131"/>
                      <a:pt x="130" y="101"/>
                      <a:pt x="130" y="66"/>
                    </a:cubicBezTo>
                    <a:cubicBezTo>
                      <a:pt x="130" y="30"/>
                      <a:pt x="101" y="0"/>
                      <a:pt x="65" y="0"/>
                    </a:cubicBezTo>
                    <a:close/>
                    <a:moveTo>
                      <a:pt x="65" y="117"/>
                    </a:moveTo>
                    <a:cubicBezTo>
                      <a:pt x="36" y="117"/>
                      <a:pt x="13" y="94"/>
                      <a:pt x="13" y="66"/>
                    </a:cubicBezTo>
                    <a:cubicBezTo>
                      <a:pt x="13" y="37"/>
                      <a:pt x="36" y="14"/>
                      <a:pt x="65" y="14"/>
                    </a:cubicBezTo>
                    <a:cubicBezTo>
                      <a:pt x="93" y="14"/>
                      <a:pt x="116" y="37"/>
                      <a:pt x="116" y="66"/>
                    </a:cubicBezTo>
                    <a:cubicBezTo>
                      <a:pt x="116" y="94"/>
                      <a:pt x="93" y="117"/>
                      <a:pt x="65" y="117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7" name="Oval 35"/>
              <p:cNvSpPr>
                <a:spLocks noChangeArrowheads="1"/>
              </p:cNvSpPr>
              <p:nvPr/>
            </p:nvSpPr>
            <p:spPr bwMode="auto">
              <a:xfrm>
                <a:off x="-3467100" y="3409950"/>
                <a:ext cx="311150" cy="311150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8" name="Freeform 36"/>
              <p:cNvSpPr>
                <a:spLocks/>
              </p:cNvSpPr>
              <p:nvPr/>
            </p:nvSpPr>
            <p:spPr bwMode="auto">
              <a:xfrm>
                <a:off x="-3778250" y="3316288"/>
                <a:ext cx="168275" cy="498475"/>
              </a:xfrm>
              <a:custGeom>
                <a:avLst/>
                <a:gdLst>
                  <a:gd name="T0" fmla="*/ 45 w 45"/>
                  <a:gd name="T1" fmla="*/ 33 h 133"/>
                  <a:gd name="T2" fmla="*/ 22 w 45"/>
                  <a:gd name="T3" fmla="*/ 0 h 133"/>
                  <a:gd name="T4" fmla="*/ 0 w 45"/>
                  <a:gd name="T5" fmla="*/ 33 h 133"/>
                  <a:gd name="T6" fmla="*/ 16 w 45"/>
                  <a:gd name="T7" fmla="*/ 57 h 133"/>
                  <a:gd name="T8" fmla="*/ 14 w 45"/>
                  <a:gd name="T9" fmla="*/ 133 h 133"/>
                  <a:gd name="T10" fmla="*/ 31 w 45"/>
                  <a:gd name="T11" fmla="*/ 133 h 133"/>
                  <a:gd name="T12" fmla="*/ 28 w 45"/>
                  <a:gd name="T13" fmla="*/ 57 h 133"/>
                  <a:gd name="T14" fmla="*/ 45 w 45"/>
                  <a:gd name="T15" fmla="*/ 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133">
                    <a:moveTo>
                      <a:pt x="45" y="33"/>
                    </a:moveTo>
                    <a:cubicBezTo>
                      <a:pt x="45" y="17"/>
                      <a:pt x="35" y="0"/>
                      <a:pt x="22" y="0"/>
                    </a:cubicBezTo>
                    <a:cubicBezTo>
                      <a:pt x="10" y="0"/>
                      <a:pt x="0" y="17"/>
                      <a:pt x="0" y="33"/>
                    </a:cubicBezTo>
                    <a:cubicBezTo>
                      <a:pt x="0" y="46"/>
                      <a:pt x="7" y="55"/>
                      <a:pt x="16" y="57"/>
                    </a:cubicBezTo>
                    <a:cubicBezTo>
                      <a:pt x="14" y="133"/>
                      <a:pt x="14" y="133"/>
                      <a:pt x="14" y="133"/>
                    </a:cubicBezTo>
                    <a:cubicBezTo>
                      <a:pt x="31" y="133"/>
                      <a:pt x="31" y="133"/>
                      <a:pt x="31" y="133"/>
                    </a:cubicBezTo>
                    <a:cubicBezTo>
                      <a:pt x="28" y="57"/>
                      <a:pt x="28" y="57"/>
                      <a:pt x="28" y="57"/>
                    </a:cubicBezTo>
                    <a:cubicBezTo>
                      <a:pt x="38" y="55"/>
                      <a:pt x="45" y="46"/>
                      <a:pt x="4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9" name="Freeform 37"/>
              <p:cNvSpPr>
                <a:spLocks/>
              </p:cNvSpPr>
              <p:nvPr/>
            </p:nvSpPr>
            <p:spPr bwMode="auto">
              <a:xfrm>
                <a:off x="-3036888" y="3319463"/>
                <a:ext cx="150813" cy="492125"/>
              </a:xfrm>
              <a:custGeom>
                <a:avLst/>
                <a:gdLst>
                  <a:gd name="T0" fmla="*/ 40 w 40"/>
                  <a:gd name="T1" fmla="*/ 39 h 131"/>
                  <a:gd name="T2" fmla="*/ 37 w 40"/>
                  <a:gd name="T3" fmla="*/ 15 h 131"/>
                  <a:gd name="T4" fmla="*/ 31 w 40"/>
                  <a:gd name="T5" fmla="*/ 1 h 131"/>
                  <a:gd name="T6" fmla="*/ 31 w 40"/>
                  <a:gd name="T7" fmla="*/ 31 h 131"/>
                  <a:gd name="T8" fmla="*/ 27 w 40"/>
                  <a:gd name="T9" fmla="*/ 31 h 131"/>
                  <a:gd name="T10" fmla="*/ 27 w 40"/>
                  <a:gd name="T11" fmla="*/ 0 h 131"/>
                  <a:gd name="T12" fmla="*/ 22 w 40"/>
                  <a:gd name="T13" fmla="*/ 0 h 131"/>
                  <a:gd name="T14" fmla="*/ 22 w 40"/>
                  <a:gd name="T15" fmla="*/ 31 h 131"/>
                  <a:gd name="T16" fmla="*/ 21 w 40"/>
                  <a:gd name="T17" fmla="*/ 31 h 131"/>
                  <a:gd name="T18" fmla="*/ 21 w 40"/>
                  <a:gd name="T19" fmla="*/ 31 h 131"/>
                  <a:gd name="T20" fmla="*/ 17 w 40"/>
                  <a:gd name="T21" fmla="*/ 31 h 131"/>
                  <a:gd name="T22" fmla="*/ 17 w 40"/>
                  <a:gd name="T23" fmla="*/ 0 h 131"/>
                  <a:gd name="T24" fmla="*/ 13 w 40"/>
                  <a:gd name="T25" fmla="*/ 0 h 131"/>
                  <a:gd name="T26" fmla="*/ 13 w 40"/>
                  <a:gd name="T27" fmla="*/ 31 h 131"/>
                  <a:gd name="T28" fmla="*/ 8 w 40"/>
                  <a:gd name="T29" fmla="*/ 31 h 131"/>
                  <a:gd name="T30" fmla="*/ 8 w 40"/>
                  <a:gd name="T31" fmla="*/ 1 h 131"/>
                  <a:gd name="T32" fmla="*/ 2 w 40"/>
                  <a:gd name="T33" fmla="*/ 15 h 131"/>
                  <a:gd name="T34" fmla="*/ 0 w 40"/>
                  <a:gd name="T35" fmla="*/ 39 h 131"/>
                  <a:gd name="T36" fmla="*/ 14 w 40"/>
                  <a:gd name="T37" fmla="*/ 56 h 131"/>
                  <a:gd name="T38" fmla="*/ 11 w 40"/>
                  <a:gd name="T39" fmla="*/ 131 h 131"/>
                  <a:gd name="T40" fmla="*/ 28 w 40"/>
                  <a:gd name="T41" fmla="*/ 131 h 131"/>
                  <a:gd name="T42" fmla="*/ 26 w 40"/>
                  <a:gd name="T43" fmla="*/ 56 h 131"/>
                  <a:gd name="T44" fmla="*/ 40 w 40"/>
                  <a:gd name="T45" fmla="*/ 39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0" h="131">
                    <a:moveTo>
                      <a:pt x="40" y="39"/>
                    </a:moveTo>
                    <a:cubicBezTo>
                      <a:pt x="37" y="15"/>
                      <a:pt x="37" y="15"/>
                      <a:pt x="37" y="15"/>
                    </a:cubicBezTo>
                    <a:cubicBezTo>
                      <a:pt x="37" y="10"/>
                      <a:pt x="35" y="4"/>
                      <a:pt x="31" y="1"/>
                    </a:cubicBezTo>
                    <a:cubicBezTo>
                      <a:pt x="31" y="31"/>
                      <a:pt x="31" y="31"/>
                      <a:pt x="31" y="31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5" y="0"/>
                      <a:pt x="24" y="0"/>
                      <a:pt x="22" y="0"/>
                    </a:cubicBezTo>
                    <a:cubicBezTo>
                      <a:pt x="22" y="31"/>
                      <a:pt x="22" y="31"/>
                      <a:pt x="22" y="31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6" y="0"/>
                      <a:pt x="15" y="0"/>
                      <a:pt x="13" y="0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5" y="4"/>
                      <a:pt x="2" y="10"/>
                      <a:pt x="2" y="1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7"/>
                      <a:pt x="5" y="54"/>
                      <a:pt x="14" y="56"/>
                    </a:cubicBezTo>
                    <a:cubicBezTo>
                      <a:pt x="11" y="131"/>
                      <a:pt x="11" y="131"/>
                      <a:pt x="11" y="131"/>
                    </a:cubicBezTo>
                    <a:cubicBezTo>
                      <a:pt x="28" y="131"/>
                      <a:pt x="28" y="131"/>
                      <a:pt x="28" y="131"/>
                    </a:cubicBezTo>
                    <a:cubicBezTo>
                      <a:pt x="26" y="56"/>
                      <a:pt x="26" y="56"/>
                      <a:pt x="26" y="56"/>
                    </a:cubicBezTo>
                    <a:cubicBezTo>
                      <a:pt x="34" y="54"/>
                      <a:pt x="40" y="47"/>
                      <a:pt x="40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31" name="Group 106"/>
            <p:cNvGrpSpPr/>
            <p:nvPr/>
          </p:nvGrpSpPr>
          <p:grpSpPr>
            <a:xfrm flipH="1">
              <a:off x="-175327" y="2270248"/>
              <a:ext cx="432939" cy="293811"/>
              <a:chOff x="-1341438" y="968375"/>
              <a:chExt cx="795338" cy="539751"/>
            </a:xfrm>
            <a:solidFill>
              <a:schemeClr val="accent4">
                <a:lumMod val="40000"/>
                <a:lumOff val="60000"/>
              </a:schemeClr>
            </a:solidFill>
          </p:grpSpPr>
          <p:sp>
            <p:nvSpPr>
              <p:cNvPr id="133" name="Freeform 38"/>
              <p:cNvSpPr>
                <a:spLocks/>
              </p:cNvSpPr>
              <p:nvPr/>
            </p:nvSpPr>
            <p:spPr bwMode="auto">
              <a:xfrm>
                <a:off x="-1341438" y="1392238"/>
                <a:ext cx="795338" cy="115888"/>
              </a:xfrm>
              <a:custGeom>
                <a:avLst/>
                <a:gdLst>
                  <a:gd name="T0" fmla="*/ 0 w 212"/>
                  <a:gd name="T1" fmla="*/ 17 h 31"/>
                  <a:gd name="T2" fmla="*/ 14 w 212"/>
                  <a:gd name="T3" fmla="*/ 31 h 31"/>
                  <a:gd name="T4" fmla="*/ 197 w 212"/>
                  <a:gd name="T5" fmla="*/ 31 h 31"/>
                  <a:gd name="T6" fmla="*/ 212 w 212"/>
                  <a:gd name="T7" fmla="*/ 17 h 31"/>
                  <a:gd name="T8" fmla="*/ 212 w 212"/>
                  <a:gd name="T9" fmla="*/ 0 h 31"/>
                  <a:gd name="T10" fmla="*/ 0 w 212"/>
                  <a:gd name="T11" fmla="*/ 0 h 31"/>
                  <a:gd name="T12" fmla="*/ 0 w 212"/>
                  <a:gd name="T13" fmla="*/ 1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2" h="31">
                    <a:moveTo>
                      <a:pt x="0" y="17"/>
                    </a:moveTo>
                    <a:cubicBezTo>
                      <a:pt x="0" y="25"/>
                      <a:pt x="6" y="31"/>
                      <a:pt x="14" y="31"/>
                    </a:cubicBezTo>
                    <a:cubicBezTo>
                      <a:pt x="197" y="31"/>
                      <a:pt x="197" y="31"/>
                      <a:pt x="197" y="31"/>
                    </a:cubicBezTo>
                    <a:cubicBezTo>
                      <a:pt x="205" y="31"/>
                      <a:pt x="212" y="25"/>
                      <a:pt x="212" y="17"/>
                    </a:cubicBezTo>
                    <a:cubicBezTo>
                      <a:pt x="212" y="0"/>
                      <a:pt x="212" y="0"/>
                      <a:pt x="212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4" name="Rectangle 39"/>
              <p:cNvSpPr>
                <a:spLocks noChangeArrowheads="1"/>
              </p:cNvSpPr>
              <p:nvPr/>
            </p:nvSpPr>
            <p:spPr bwMode="auto">
              <a:xfrm>
                <a:off x="-1341438" y="1235075"/>
                <a:ext cx="795338" cy="127000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5" name="Freeform 40"/>
              <p:cNvSpPr>
                <a:spLocks noEditPoints="1"/>
              </p:cNvSpPr>
              <p:nvPr/>
            </p:nvSpPr>
            <p:spPr bwMode="auto">
              <a:xfrm>
                <a:off x="-1341438" y="968375"/>
                <a:ext cx="795338" cy="236538"/>
              </a:xfrm>
              <a:custGeom>
                <a:avLst/>
                <a:gdLst>
                  <a:gd name="T0" fmla="*/ 197 w 212"/>
                  <a:gd name="T1" fmla="*/ 0 h 63"/>
                  <a:gd name="T2" fmla="*/ 14 w 212"/>
                  <a:gd name="T3" fmla="*/ 0 h 63"/>
                  <a:gd name="T4" fmla="*/ 0 w 212"/>
                  <a:gd name="T5" fmla="*/ 14 h 63"/>
                  <a:gd name="T6" fmla="*/ 0 w 212"/>
                  <a:gd name="T7" fmla="*/ 63 h 63"/>
                  <a:gd name="T8" fmla="*/ 212 w 212"/>
                  <a:gd name="T9" fmla="*/ 63 h 63"/>
                  <a:gd name="T10" fmla="*/ 212 w 212"/>
                  <a:gd name="T11" fmla="*/ 14 h 63"/>
                  <a:gd name="T12" fmla="*/ 197 w 212"/>
                  <a:gd name="T13" fmla="*/ 0 h 63"/>
                  <a:gd name="T14" fmla="*/ 26 w 212"/>
                  <a:gd name="T15" fmla="*/ 14 h 63"/>
                  <a:gd name="T16" fmla="*/ 87 w 212"/>
                  <a:gd name="T17" fmla="*/ 14 h 63"/>
                  <a:gd name="T18" fmla="*/ 87 w 212"/>
                  <a:gd name="T19" fmla="*/ 25 h 63"/>
                  <a:gd name="T20" fmla="*/ 26 w 212"/>
                  <a:gd name="T21" fmla="*/ 25 h 63"/>
                  <a:gd name="T22" fmla="*/ 26 w 212"/>
                  <a:gd name="T23" fmla="*/ 14 h 63"/>
                  <a:gd name="T24" fmla="*/ 26 w 212"/>
                  <a:gd name="T25" fmla="*/ 28 h 63"/>
                  <a:gd name="T26" fmla="*/ 97 w 212"/>
                  <a:gd name="T27" fmla="*/ 28 h 63"/>
                  <a:gd name="T28" fmla="*/ 97 w 212"/>
                  <a:gd name="T29" fmla="*/ 39 h 63"/>
                  <a:gd name="T30" fmla="*/ 26 w 212"/>
                  <a:gd name="T31" fmla="*/ 39 h 63"/>
                  <a:gd name="T32" fmla="*/ 26 w 212"/>
                  <a:gd name="T33" fmla="*/ 28 h 63"/>
                  <a:gd name="T34" fmla="*/ 102 w 212"/>
                  <a:gd name="T35" fmla="*/ 54 h 63"/>
                  <a:gd name="T36" fmla="*/ 26 w 212"/>
                  <a:gd name="T37" fmla="*/ 54 h 63"/>
                  <a:gd name="T38" fmla="*/ 26 w 212"/>
                  <a:gd name="T39" fmla="*/ 43 h 63"/>
                  <a:gd name="T40" fmla="*/ 102 w 212"/>
                  <a:gd name="T41" fmla="*/ 43 h 63"/>
                  <a:gd name="T42" fmla="*/ 102 w 212"/>
                  <a:gd name="T43" fmla="*/ 54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2" h="63">
                    <a:moveTo>
                      <a:pt x="197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212" y="63"/>
                      <a:pt x="212" y="63"/>
                      <a:pt x="212" y="63"/>
                    </a:cubicBezTo>
                    <a:cubicBezTo>
                      <a:pt x="212" y="14"/>
                      <a:pt x="212" y="14"/>
                      <a:pt x="212" y="14"/>
                    </a:cubicBezTo>
                    <a:cubicBezTo>
                      <a:pt x="212" y="6"/>
                      <a:pt x="205" y="0"/>
                      <a:pt x="197" y="0"/>
                    </a:cubicBezTo>
                    <a:close/>
                    <a:moveTo>
                      <a:pt x="26" y="14"/>
                    </a:moveTo>
                    <a:cubicBezTo>
                      <a:pt x="87" y="14"/>
                      <a:pt x="87" y="14"/>
                      <a:pt x="87" y="14"/>
                    </a:cubicBezTo>
                    <a:cubicBezTo>
                      <a:pt x="87" y="25"/>
                      <a:pt x="87" y="25"/>
                      <a:pt x="87" y="25"/>
                    </a:cubicBezTo>
                    <a:cubicBezTo>
                      <a:pt x="26" y="25"/>
                      <a:pt x="26" y="25"/>
                      <a:pt x="26" y="25"/>
                    </a:cubicBezTo>
                    <a:lnTo>
                      <a:pt x="26" y="14"/>
                    </a:lnTo>
                    <a:close/>
                    <a:moveTo>
                      <a:pt x="26" y="28"/>
                    </a:moveTo>
                    <a:cubicBezTo>
                      <a:pt x="97" y="28"/>
                      <a:pt x="97" y="28"/>
                      <a:pt x="97" y="28"/>
                    </a:cubicBezTo>
                    <a:cubicBezTo>
                      <a:pt x="97" y="39"/>
                      <a:pt x="97" y="39"/>
                      <a:pt x="97" y="39"/>
                    </a:cubicBezTo>
                    <a:cubicBezTo>
                      <a:pt x="26" y="39"/>
                      <a:pt x="26" y="39"/>
                      <a:pt x="26" y="39"/>
                    </a:cubicBezTo>
                    <a:lnTo>
                      <a:pt x="26" y="28"/>
                    </a:lnTo>
                    <a:close/>
                    <a:moveTo>
                      <a:pt x="102" y="54"/>
                    </a:move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43"/>
                      <a:pt x="26" y="43"/>
                      <a:pt x="26" y="43"/>
                    </a:cubicBezTo>
                    <a:cubicBezTo>
                      <a:pt x="102" y="43"/>
                      <a:pt x="102" y="43"/>
                      <a:pt x="102" y="43"/>
                    </a:cubicBezTo>
                    <a:lnTo>
                      <a:pt x="102" y="54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32" name="Freeform 45"/>
            <p:cNvSpPr>
              <a:spLocks noEditPoints="1"/>
            </p:cNvSpPr>
            <p:nvPr/>
          </p:nvSpPr>
          <p:spPr bwMode="auto">
            <a:xfrm flipH="1">
              <a:off x="136764" y="1116121"/>
              <a:ext cx="304761" cy="460419"/>
            </a:xfrm>
            <a:custGeom>
              <a:avLst/>
              <a:gdLst>
                <a:gd name="T0" fmla="*/ 266 w 266"/>
                <a:gd name="T1" fmla="*/ 133 h 403"/>
                <a:gd name="T2" fmla="*/ 133 w 266"/>
                <a:gd name="T3" fmla="*/ 0 h 403"/>
                <a:gd name="T4" fmla="*/ 0 w 266"/>
                <a:gd name="T5" fmla="*/ 133 h 403"/>
                <a:gd name="T6" fmla="*/ 2 w 266"/>
                <a:gd name="T7" fmla="*/ 156 h 403"/>
                <a:gd name="T8" fmla="*/ 19 w 266"/>
                <a:gd name="T9" fmla="*/ 203 h 403"/>
                <a:gd name="T10" fmla="*/ 19 w 266"/>
                <a:gd name="T11" fmla="*/ 203 h 403"/>
                <a:gd name="T12" fmla="*/ 133 w 266"/>
                <a:gd name="T13" fmla="*/ 403 h 403"/>
                <a:gd name="T14" fmla="*/ 133 w 266"/>
                <a:gd name="T15" fmla="*/ 403 h 403"/>
                <a:gd name="T16" fmla="*/ 133 w 266"/>
                <a:gd name="T17" fmla="*/ 403 h 403"/>
                <a:gd name="T18" fmla="*/ 247 w 266"/>
                <a:gd name="T19" fmla="*/ 203 h 403"/>
                <a:gd name="T20" fmla="*/ 247 w 266"/>
                <a:gd name="T21" fmla="*/ 203 h 403"/>
                <a:gd name="T22" fmla="*/ 266 w 266"/>
                <a:gd name="T23" fmla="*/ 133 h 403"/>
                <a:gd name="T24" fmla="*/ 133 w 266"/>
                <a:gd name="T25" fmla="*/ 189 h 403"/>
                <a:gd name="T26" fmla="*/ 76 w 266"/>
                <a:gd name="T27" fmla="*/ 131 h 403"/>
                <a:gd name="T28" fmla="*/ 133 w 266"/>
                <a:gd name="T29" fmla="*/ 74 h 403"/>
                <a:gd name="T30" fmla="*/ 190 w 266"/>
                <a:gd name="T31" fmla="*/ 131 h 403"/>
                <a:gd name="T32" fmla="*/ 133 w 266"/>
                <a:gd name="T33" fmla="*/ 189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6" h="403">
                  <a:moveTo>
                    <a:pt x="266" y="133"/>
                  </a:moveTo>
                  <a:cubicBezTo>
                    <a:pt x="266" y="60"/>
                    <a:pt x="207" y="0"/>
                    <a:pt x="133" y="0"/>
                  </a:cubicBezTo>
                  <a:cubicBezTo>
                    <a:pt x="59" y="0"/>
                    <a:pt x="0" y="60"/>
                    <a:pt x="0" y="133"/>
                  </a:cubicBezTo>
                  <a:cubicBezTo>
                    <a:pt x="0" y="141"/>
                    <a:pt x="0" y="149"/>
                    <a:pt x="2" y="156"/>
                  </a:cubicBezTo>
                  <a:cubicBezTo>
                    <a:pt x="4" y="173"/>
                    <a:pt x="11" y="189"/>
                    <a:pt x="19" y="203"/>
                  </a:cubicBezTo>
                  <a:cubicBezTo>
                    <a:pt x="19" y="203"/>
                    <a:pt x="19" y="203"/>
                    <a:pt x="19" y="203"/>
                  </a:cubicBezTo>
                  <a:cubicBezTo>
                    <a:pt x="133" y="403"/>
                    <a:pt x="133" y="403"/>
                    <a:pt x="133" y="403"/>
                  </a:cubicBezTo>
                  <a:cubicBezTo>
                    <a:pt x="133" y="403"/>
                    <a:pt x="133" y="403"/>
                    <a:pt x="133" y="403"/>
                  </a:cubicBezTo>
                  <a:cubicBezTo>
                    <a:pt x="133" y="403"/>
                    <a:pt x="133" y="403"/>
                    <a:pt x="133" y="403"/>
                  </a:cubicBezTo>
                  <a:cubicBezTo>
                    <a:pt x="247" y="203"/>
                    <a:pt x="247" y="203"/>
                    <a:pt x="247" y="203"/>
                  </a:cubicBezTo>
                  <a:cubicBezTo>
                    <a:pt x="247" y="203"/>
                    <a:pt x="247" y="203"/>
                    <a:pt x="247" y="203"/>
                  </a:cubicBezTo>
                  <a:cubicBezTo>
                    <a:pt x="259" y="182"/>
                    <a:pt x="266" y="159"/>
                    <a:pt x="266" y="133"/>
                  </a:cubicBezTo>
                  <a:close/>
                  <a:moveTo>
                    <a:pt x="133" y="189"/>
                  </a:moveTo>
                  <a:cubicBezTo>
                    <a:pt x="101" y="189"/>
                    <a:pt x="76" y="163"/>
                    <a:pt x="76" y="131"/>
                  </a:cubicBezTo>
                  <a:cubicBezTo>
                    <a:pt x="76" y="100"/>
                    <a:pt x="101" y="74"/>
                    <a:pt x="133" y="74"/>
                  </a:cubicBezTo>
                  <a:cubicBezTo>
                    <a:pt x="165" y="74"/>
                    <a:pt x="190" y="100"/>
                    <a:pt x="190" y="131"/>
                  </a:cubicBezTo>
                  <a:cubicBezTo>
                    <a:pt x="190" y="163"/>
                    <a:pt x="165" y="189"/>
                    <a:pt x="133" y="189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33" name="Group 111"/>
            <p:cNvGrpSpPr/>
            <p:nvPr/>
          </p:nvGrpSpPr>
          <p:grpSpPr>
            <a:xfrm>
              <a:off x="3157488" y="1047719"/>
              <a:ext cx="312548" cy="199184"/>
              <a:chOff x="-5124450" y="3267075"/>
              <a:chExt cx="936625" cy="596901"/>
            </a:xfrm>
            <a:solidFill>
              <a:schemeClr val="accent4">
                <a:lumMod val="40000"/>
                <a:lumOff val="60000"/>
              </a:schemeClr>
            </a:solidFill>
          </p:grpSpPr>
          <p:sp>
            <p:nvSpPr>
              <p:cNvPr id="130" name="Oval 27"/>
              <p:cNvSpPr>
                <a:spLocks noChangeArrowheads="1"/>
              </p:cNvSpPr>
              <p:nvPr/>
            </p:nvSpPr>
            <p:spPr bwMode="auto">
              <a:xfrm>
                <a:off x="-4978400" y="3671888"/>
                <a:ext cx="187325" cy="192088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1" name="Oval 28"/>
              <p:cNvSpPr>
                <a:spLocks noChangeArrowheads="1"/>
              </p:cNvSpPr>
              <p:nvPr/>
            </p:nvSpPr>
            <p:spPr bwMode="auto">
              <a:xfrm>
                <a:off x="-4494213" y="3671888"/>
                <a:ext cx="187325" cy="192088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2" name="Freeform 29"/>
              <p:cNvSpPr>
                <a:spLocks noEditPoints="1"/>
              </p:cNvSpPr>
              <p:nvPr/>
            </p:nvSpPr>
            <p:spPr bwMode="auto">
              <a:xfrm>
                <a:off x="-5124450" y="3267075"/>
                <a:ext cx="936625" cy="533400"/>
              </a:xfrm>
              <a:custGeom>
                <a:avLst/>
                <a:gdLst>
                  <a:gd name="T0" fmla="*/ 203 w 250"/>
                  <a:gd name="T1" fmla="*/ 69 h 142"/>
                  <a:gd name="T2" fmla="*/ 203 w 250"/>
                  <a:gd name="T3" fmla="*/ 66 h 142"/>
                  <a:gd name="T4" fmla="*/ 130 w 250"/>
                  <a:gd name="T5" fmla="*/ 0 h 142"/>
                  <a:gd name="T6" fmla="*/ 96 w 250"/>
                  <a:gd name="T7" fmla="*/ 0 h 142"/>
                  <a:gd name="T8" fmla="*/ 34 w 250"/>
                  <a:gd name="T9" fmla="*/ 39 h 142"/>
                  <a:gd name="T10" fmla="*/ 32 w 250"/>
                  <a:gd name="T11" fmla="*/ 53 h 142"/>
                  <a:gd name="T12" fmla="*/ 0 w 250"/>
                  <a:gd name="T13" fmla="*/ 105 h 142"/>
                  <a:gd name="T14" fmla="*/ 0 w 250"/>
                  <a:gd name="T15" fmla="*/ 105 h 142"/>
                  <a:gd name="T16" fmla="*/ 33 w 250"/>
                  <a:gd name="T17" fmla="*/ 140 h 142"/>
                  <a:gd name="T18" fmla="*/ 32 w 250"/>
                  <a:gd name="T19" fmla="*/ 133 h 142"/>
                  <a:gd name="T20" fmla="*/ 64 w 250"/>
                  <a:gd name="T21" fmla="*/ 100 h 142"/>
                  <a:gd name="T22" fmla="*/ 96 w 250"/>
                  <a:gd name="T23" fmla="*/ 133 h 142"/>
                  <a:gd name="T24" fmla="*/ 95 w 250"/>
                  <a:gd name="T25" fmla="*/ 142 h 142"/>
                  <a:gd name="T26" fmla="*/ 162 w 250"/>
                  <a:gd name="T27" fmla="*/ 142 h 142"/>
                  <a:gd name="T28" fmla="*/ 160 w 250"/>
                  <a:gd name="T29" fmla="*/ 133 h 142"/>
                  <a:gd name="T30" fmla="*/ 193 w 250"/>
                  <a:gd name="T31" fmla="*/ 100 h 142"/>
                  <a:gd name="T32" fmla="*/ 225 w 250"/>
                  <a:gd name="T33" fmla="*/ 133 h 142"/>
                  <a:gd name="T34" fmla="*/ 224 w 250"/>
                  <a:gd name="T35" fmla="*/ 137 h 142"/>
                  <a:gd name="T36" fmla="*/ 250 w 250"/>
                  <a:gd name="T37" fmla="*/ 105 h 142"/>
                  <a:gd name="T38" fmla="*/ 250 w 250"/>
                  <a:gd name="T39" fmla="*/ 105 h 142"/>
                  <a:gd name="T40" fmla="*/ 203 w 250"/>
                  <a:gd name="T41" fmla="*/ 69 h 142"/>
                  <a:gd name="T42" fmla="*/ 182 w 250"/>
                  <a:gd name="T43" fmla="*/ 68 h 142"/>
                  <a:gd name="T44" fmla="*/ 69 w 250"/>
                  <a:gd name="T45" fmla="*/ 68 h 142"/>
                  <a:gd name="T46" fmla="*/ 69 w 250"/>
                  <a:gd name="T47" fmla="*/ 48 h 142"/>
                  <a:gd name="T48" fmla="*/ 106 w 250"/>
                  <a:gd name="T49" fmla="*/ 11 h 142"/>
                  <a:gd name="T50" fmla="*/ 129 w 250"/>
                  <a:gd name="T51" fmla="*/ 11 h 142"/>
                  <a:gd name="T52" fmla="*/ 182 w 250"/>
                  <a:gd name="T53" fmla="*/ 58 h 142"/>
                  <a:gd name="T54" fmla="*/ 182 w 250"/>
                  <a:gd name="T55" fmla="*/ 68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0" h="142">
                    <a:moveTo>
                      <a:pt x="203" y="69"/>
                    </a:moveTo>
                    <a:cubicBezTo>
                      <a:pt x="203" y="66"/>
                      <a:pt x="203" y="66"/>
                      <a:pt x="203" y="66"/>
                    </a:cubicBezTo>
                    <a:cubicBezTo>
                      <a:pt x="203" y="37"/>
                      <a:pt x="158" y="0"/>
                      <a:pt x="130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67" y="0"/>
                      <a:pt x="34" y="11"/>
                      <a:pt x="34" y="39"/>
                    </a:cubicBezTo>
                    <a:cubicBezTo>
                      <a:pt x="32" y="53"/>
                      <a:pt x="32" y="53"/>
                      <a:pt x="32" y="53"/>
                    </a:cubicBezTo>
                    <a:cubicBezTo>
                      <a:pt x="6" y="54"/>
                      <a:pt x="0" y="85"/>
                      <a:pt x="0" y="105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0" y="121"/>
                      <a:pt x="14" y="135"/>
                      <a:pt x="33" y="140"/>
                    </a:cubicBezTo>
                    <a:cubicBezTo>
                      <a:pt x="32" y="137"/>
                      <a:pt x="32" y="135"/>
                      <a:pt x="32" y="133"/>
                    </a:cubicBezTo>
                    <a:cubicBezTo>
                      <a:pt x="32" y="115"/>
                      <a:pt x="46" y="100"/>
                      <a:pt x="64" y="100"/>
                    </a:cubicBezTo>
                    <a:cubicBezTo>
                      <a:pt x="82" y="100"/>
                      <a:pt x="96" y="115"/>
                      <a:pt x="96" y="133"/>
                    </a:cubicBezTo>
                    <a:cubicBezTo>
                      <a:pt x="96" y="136"/>
                      <a:pt x="96" y="139"/>
                      <a:pt x="95" y="142"/>
                    </a:cubicBezTo>
                    <a:cubicBezTo>
                      <a:pt x="162" y="142"/>
                      <a:pt x="162" y="142"/>
                      <a:pt x="162" y="142"/>
                    </a:cubicBezTo>
                    <a:cubicBezTo>
                      <a:pt x="161" y="139"/>
                      <a:pt x="160" y="136"/>
                      <a:pt x="160" y="133"/>
                    </a:cubicBezTo>
                    <a:cubicBezTo>
                      <a:pt x="160" y="115"/>
                      <a:pt x="175" y="100"/>
                      <a:pt x="193" y="100"/>
                    </a:cubicBezTo>
                    <a:cubicBezTo>
                      <a:pt x="210" y="100"/>
                      <a:pt x="225" y="115"/>
                      <a:pt x="225" y="133"/>
                    </a:cubicBezTo>
                    <a:cubicBezTo>
                      <a:pt x="225" y="134"/>
                      <a:pt x="225" y="136"/>
                      <a:pt x="224" y="137"/>
                    </a:cubicBezTo>
                    <a:cubicBezTo>
                      <a:pt x="240" y="131"/>
                      <a:pt x="250" y="119"/>
                      <a:pt x="250" y="105"/>
                    </a:cubicBezTo>
                    <a:cubicBezTo>
                      <a:pt x="250" y="105"/>
                      <a:pt x="250" y="105"/>
                      <a:pt x="250" y="105"/>
                    </a:cubicBezTo>
                    <a:cubicBezTo>
                      <a:pt x="250" y="85"/>
                      <a:pt x="229" y="69"/>
                      <a:pt x="203" y="69"/>
                    </a:cubicBezTo>
                    <a:close/>
                    <a:moveTo>
                      <a:pt x="182" y="68"/>
                    </a:moveTo>
                    <a:cubicBezTo>
                      <a:pt x="69" y="68"/>
                      <a:pt x="69" y="68"/>
                      <a:pt x="69" y="68"/>
                    </a:cubicBezTo>
                    <a:cubicBezTo>
                      <a:pt x="69" y="48"/>
                      <a:pt x="69" y="48"/>
                      <a:pt x="69" y="48"/>
                    </a:cubicBezTo>
                    <a:cubicBezTo>
                      <a:pt x="69" y="28"/>
                      <a:pt x="86" y="11"/>
                      <a:pt x="106" y="11"/>
                    </a:cubicBezTo>
                    <a:cubicBezTo>
                      <a:pt x="129" y="11"/>
                      <a:pt x="129" y="11"/>
                      <a:pt x="129" y="11"/>
                    </a:cubicBezTo>
                    <a:cubicBezTo>
                      <a:pt x="149" y="11"/>
                      <a:pt x="182" y="37"/>
                      <a:pt x="182" y="58"/>
                    </a:cubicBezTo>
                    <a:lnTo>
                      <a:pt x="182" y="68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34" name="Group 115"/>
            <p:cNvGrpSpPr/>
            <p:nvPr/>
          </p:nvGrpSpPr>
          <p:grpSpPr>
            <a:xfrm flipH="1">
              <a:off x="3299591" y="1359398"/>
              <a:ext cx="634828" cy="354691"/>
              <a:chOff x="-3778250" y="3316288"/>
              <a:chExt cx="892175" cy="498475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126" name="Freeform 34"/>
              <p:cNvSpPr>
                <a:spLocks noEditPoints="1"/>
              </p:cNvSpPr>
              <p:nvPr/>
            </p:nvSpPr>
            <p:spPr bwMode="auto">
              <a:xfrm>
                <a:off x="-3554413" y="3319463"/>
                <a:ext cx="487363" cy="492125"/>
              </a:xfrm>
              <a:custGeom>
                <a:avLst/>
                <a:gdLst>
                  <a:gd name="T0" fmla="*/ 65 w 130"/>
                  <a:gd name="T1" fmla="*/ 0 h 131"/>
                  <a:gd name="T2" fmla="*/ 0 w 130"/>
                  <a:gd name="T3" fmla="*/ 66 h 131"/>
                  <a:gd name="T4" fmla="*/ 65 w 130"/>
                  <a:gd name="T5" fmla="*/ 131 h 131"/>
                  <a:gd name="T6" fmla="*/ 130 w 130"/>
                  <a:gd name="T7" fmla="*/ 66 h 131"/>
                  <a:gd name="T8" fmla="*/ 65 w 130"/>
                  <a:gd name="T9" fmla="*/ 0 h 131"/>
                  <a:gd name="T10" fmla="*/ 65 w 130"/>
                  <a:gd name="T11" fmla="*/ 117 h 131"/>
                  <a:gd name="T12" fmla="*/ 13 w 130"/>
                  <a:gd name="T13" fmla="*/ 66 h 131"/>
                  <a:gd name="T14" fmla="*/ 65 w 130"/>
                  <a:gd name="T15" fmla="*/ 14 h 131"/>
                  <a:gd name="T16" fmla="*/ 116 w 130"/>
                  <a:gd name="T17" fmla="*/ 66 h 131"/>
                  <a:gd name="T18" fmla="*/ 65 w 130"/>
                  <a:gd name="T19" fmla="*/ 11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1">
                    <a:moveTo>
                      <a:pt x="65" y="0"/>
                    </a:moveTo>
                    <a:cubicBezTo>
                      <a:pt x="29" y="0"/>
                      <a:pt x="0" y="30"/>
                      <a:pt x="0" y="66"/>
                    </a:cubicBezTo>
                    <a:cubicBezTo>
                      <a:pt x="0" y="101"/>
                      <a:pt x="29" y="131"/>
                      <a:pt x="65" y="131"/>
                    </a:cubicBezTo>
                    <a:cubicBezTo>
                      <a:pt x="101" y="131"/>
                      <a:pt x="130" y="101"/>
                      <a:pt x="130" y="66"/>
                    </a:cubicBezTo>
                    <a:cubicBezTo>
                      <a:pt x="130" y="30"/>
                      <a:pt x="101" y="0"/>
                      <a:pt x="65" y="0"/>
                    </a:cubicBezTo>
                    <a:close/>
                    <a:moveTo>
                      <a:pt x="65" y="117"/>
                    </a:moveTo>
                    <a:cubicBezTo>
                      <a:pt x="36" y="117"/>
                      <a:pt x="13" y="94"/>
                      <a:pt x="13" y="66"/>
                    </a:cubicBezTo>
                    <a:cubicBezTo>
                      <a:pt x="13" y="37"/>
                      <a:pt x="36" y="14"/>
                      <a:pt x="65" y="14"/>
                    </a:cubicBezTo>
                    <a:cubicBezTo>
                      <a:pt x="93" y="14"/>
                      <a:pt x="116" y="37"/>
                      <a:pt x="116" y="66"/>
                    </a:cubicBezTo>
                    <a:cubicBezTo>
                      <a:pt x="116" y="94"/>
                      <a:pt x="93" y="117"/>
                      <a:pt x="65" y="117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7" name="Oval 35"/>
              <p:cNvSpPr>
                <a:spLocks noChangeArrowheads="1"/>
              </p:cNvSpPr>
              <p:nvPr/>
            </p:nvSpPr>
            <p:spPr bwMode="auto">
              <a:xfrm>
                <a:off x="-3467100" y="3409950"/>
                <a:ext cx="311150" cy="311150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8" name="Freeform 36"/>
              <p:cNvSpPr>
                <a:spLocks/>
              </p:cNvSpPr>
              <p:nvPr/>
            </p:nvSpPr>
            <p:spPr bwMode="auto">
              <a:xfrm>
                <a:off x="-3778250" y="3316288"/>
                <a:ext cx="168275" cy="498475"/>
              </a:xfrm>
              <a:custGeom>
                <a:avLst/>
                <a:gdLst>
                  <a:gd name="T0" fmla="*/ 45 w 45"/>
                  <a:gd name="T1" fmla="*/ 33 h 133"/>
                  <a:gd name="T2" fmla="*/ 22 w 45"/>
                  <a:gd name="T3" fmla="*/ 0 h 133"/>
                  <a:gd name="T4" fmla="*/ 0 w 45"/>
                  <a:gd name="T5" fmla="*/ 33 h 133"/>
                  <a:gd name="T6" fmla="*/ 16 w 45"/>
                  <a:gd name="T7" fmla="*/ 57 h 133"/>
                  <a:gd name="T8" fmla="*/ 14 w 45"/>
                  <a:gd name="T9" fmla="*/ 133 h 133"/>
                  <a:gd name="T10" fmla="*/ 31 w 45"/>
                  <a:gd name="T11" fmla="*/ 133 h 133"/>
                  <a:gd name="T12" fmla="*/ 28 w 45"/>
                  <a:gd name="T13" fmla="*/ 57 h 133"/>
                  <a:gd name="T14" fmla="*/ 45 w 45"/>
                  <a:gd name="T15" fmla="*/ 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133">
                    <a:moveTo>
                      <a:pt x="45" y="33"/>
                    </a:moveTo>
                    <a:cubicBezTo>
                      <a:pt x="45" y="17"/>
                      <a:pt x="35" y="0"/>
                      <a:pt x="22" y="0"/>
                    </a:cubicBezTo>
                    <a:cubicBezTo>
                      <a:pt x="10" y="0"/>
                      <a:pt x="0" y="17"/>
                      <a:pt x="0" y="33"/>
                    </a:cubicBezTo>
                    <a:cubicBezTo>
                      <a:pt x="0" y="46"/>
                      <a:pt x="7" y="55"/>
                      <a:pt x="16" y="57"/>
                    </a:cubicBezTo>
                    <a:cubicBezTo>
                      <a:pt x="14" y="133"/>
                      <a:pt x="14" y="133"/>
                      <a:pt x="14" y="133"/>
                    </a:cubicBezTo>
                    <a:cubicBezTo>
                      <a:pt x="31" y="133"/>
                      <a:pt x="31" y="133"/>
                      <a:pt x="31" y="133"/>
                    </a:cubicBezTo>
                    <a:cubicBezTo>
                      <a:pt x="28" y="57"/>
                      <a:pt x="28" y="57"/>
                      <a:pt x="28" y="57"/>
                    </a:cubicBezTo>
                    <a:cubicBezTo>
                      <a:pt x="38" y="55"/>
                      <a:pt x="45" y="46"/>
                      <a:pt x="4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9" name="Freeform 37"/>
              <p:cNvSpPr>
                <a:spLocks/>
              </p:cNvSpPr>
              <p:nvPr/>
            </p:nvSpPr>
            <p:spPr bwMode="auto">
              <a:xfrm>
                <a:off x="-3036888" y="3319463"/>
                <a:ext cx="150813" cy="492125"/>
              </a:xfrm>
              <a:custGeom>
                <a:avLst/>
                <a:gdLst>
                  <a:gd name="T0" fmla="*/ 40 w 40"/>
                  <a:gd name="T1" fmla="*/ 39 h 131"/>
                  <a:gd name="T2" fmla="*/ 37 w 40"/>
                  <a:gd name="T3" fmla="*/ 15 h 131"/>
                  <a:gd name="T4" fmla="*/ 31 w 40"/>
                  <a:gd name="T5" fmla="*/ 1 h 131"/>
                  <a:gd name="T6" fmla="*/ 31 w 40"/>
                  <a:gd name="T7" fmla="*/ 31 h 131"/>
                  <a:gd name="T8" fmla="*/ 27 w 40"/>
                  <a:gd name="T9" fmla="*/ 31 h 131"/>
                  <a:gd name="T10" fmla="*/ 27 w 40"/>
                  <a:gd name="T11" fmla="*/ 0 h 131"/>
                  <a:gd name="T12" fmla="*/ 22 w 40"/>
                  <a:gd name="T13" fmla="*/ 0 h 131"/>
                  <a:gd name="T14" fmla="*/ 22 w 40"/>
                  <a:gd name="T15" fmla="*/ 31 h 131"/>
                  <a:gd name="T16" fmla="*/ 21 w 40"/>
                  <a:gd name="T17" fmla="*/ 31 h 131"/>
                  <a:gd name="T18" fmla="*/ 21 w 40"/>
                  <a:gd name="T19" fmla="*/ 31 h 131"/>
                  <a:gd name="T20" fmla="*/ 17 w 40"/>
                  <a:gd name="T21" fmla="*/ 31 h 131"/>
                  <a:gd name="T22" fmla="*/ 17 w 40"/>
                  <a:gd name="T23" fmla="*/ 0 h 131"/>
                  <a:gd name="T24" fmla="*/ 13 w 40"/>
                  <a:gd name="T25" fmla="*/ 0 h 131"/>
                  <a:gd name="T26" fmla="*/ 13 w 40"/>
                  <a:gd name="T27" fmla="*/ 31 h 131"/>
                  <a:gd name="T28" fmla="*/ 8 w 40"/>
                  <a:gd name="T29" fmla="*/ 31 h 131"/>
                  <a:gd name="T30" fmla="*/ 8 w 40"/>
                  <a:gd name="T31" fmla="*/ 1 h 131"/>
                  <a:gd name="T32" fmla="*/ 2 w 40"/>
                  <a:gd name="T33" fmla="*/ 15 h 131"/>
                  <a:gd name="T34" fmla="*/ 0 w 40"/>
                  <a:gd name="T35" fmla="*/ 39 h 131"/>
                  <a:gd name="T36" fmla="*/ 14 w 40"/>
                  <a:gd name="T37" fmla="*/ 56 h 131"/>
                  <a:gd name="T38" fmla="*/ 11 w 40"/>
                  <a:gd name="T39" fmla="*/ 131 h 131"/>
                  <a:gd name="T40" fmla="*/ 28 w 40"/>
                  <a:gd name="T41" fmla="*/ 131 h 131"/>
                  <a:gd name="T42" fmla="*/ 26 w 40"/>
                  <a:gd name="T43" fmla="*/ 56 h 131"/>
                  <a:gd name="T44" fmla="*/ 40 w 40"/>
                  <a:gd name="T45" fmla="*/ 39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0" h="131">
                    <a:moveTo>
                      <a:pt x="40" y="39"/>
                    </a:moveTo>
                    <a:cubicBezTo>
                      <a:pt x="37" y="15"/>
                      <a:pt x="37" y="15"/>
                      <a:pt x="37" y="15"/>
                    </a:cubicBezTo>
                    <a:cubicBezTo>
                      <a:pt x="37" y="10"/>
                      <a:pt x="35" y="4"/>
                      <a:pt x="31" y="1"/>
                    </a:cubicBezTo>
                    <a:cubicBezTo>
                      <a:pt x="31" y="31"/>
                      <a:pt x="31" y="31"/>
                      <a:pt x="31" y="31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5" y="0"/>
                      <a:pt x="24" y="0"/>
                      <a:pt x="22" y="0"/>
                    </a:cubicBezTo>
                    <a:cubicBezTo>
                      <a:pt x="22" y="31"/>
                      <a:pt x="22" y="31"/>
                      <a:pt x="22" y="31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6" y="0"/>
                      <a:pt x="15" y="0"/>
                      <a:pt x="13" y="0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5" y="4"/>
                      <a:pt x="2" y="10"/>
                      <a:pt x="2" y="1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7"/>
                      <a:pt x="5" y="54"/>
                      <a:pt x="14" y="56"/>
                    </a:cubicBezTo>
                    <a:cubicBezTo>
                      <a:pt x="11" y="131"/>
                      <a:pt x="11" y="131"/>
                      <a:pt x="11" y="131"/>
                    </a:cubicBezTo>
                    <a:cubicBezTo>
                      <a:pt x="28" y="131"/>
                      <a:pt x="28" y="131"/>
                      <a:pt x="28" y="131"/>
                    </a:cubicBezTo>
                    <a:cubicBezTo>
                      <a:pt x="26" y="56"/>
                      <a:pt x="26" y="56"/>
                      <a:pt x="26" y="56"/>
                    </a:cubicBezTo>
                    <a:cubicBezTo>
                      <a:pt x="34" y="54"/>
                      <a:pt x="40" y="47"/>
                      <a:pt x="40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35" name="Group 120"/>
            <p:cNvGrpSpPr/>
            <p:nvPr/>
          </p:nvGrpSpPr>
          <p:grpSpPr>
            <a:xfrm flipH="1">
              <a:off x="3650547" y="1872906"/>
              <a:ext cx="249622" cy="169404"/>
              <a:chOff x="-1341438" y="968375"/>
              <a:chExt cx="795338" cy="539751"/>
            </a:xfrm>
            <a:solidFill>
              <a:schemeClr val="accent4">
                <a:lumMod val="40000"/>
                <a:lumOff val="60000"/>
              </a:schemeClr>
            </a:solidFill>
          </p:grpSpPr>
          <p:sp>
            <p:nvSpPr>
              <p:cNvPr id="123" name="Freeform 38"/>
              <p:cNvSpPr>
                <a:spLocks/>
              </p:cNvSpPr>
              <p:nvPr/>
            </p:nvSpPr>
            <p:spPr bwMode="auto">
              <a:xfrm>
                <a:off x="-1341438" y="1392238"/>
                <a:ext cx="795338" cy="115888"/>
              </a:xfrm>
              <a:custGeom>
                <a:avLst/>
                <a:gdLst>
                  <a:gd name="T0" fmla="*/ 0 w 212"/>
                  <a:gd name="T1" fmla="*/ 17 h 31"/>
                  <a:gd name="T2" fmla="*/ 14 w 212"/>
                  <a:gd name="T3" fmla="*/ 31 h 31"/>
                  <a:gd name="T4" fmla="*/ 197 w 212"/>
                  <a:gd name="T5" fmla="*/ 31 h 31"/>
                  <a:gd name="T6" fmla="*/ 212 w 212"/>
                  <a:gd name="T7" fmla="*/ 17 h 31"/>
                  <a:gd name="T8" fmla="*/ 212 w 212"/>
                  <a:gd name="T9" fmla="*/ 0 h 31"/>
                  <a:gd name="T10" fmla="*/ 0 w 212"/>
                  <a:gd name="T11" fmla="*/ 0 h 31"/>
                  <a:gd name="T12" fmla="*/ 0 w 212"/>
                  <a:gd name="T13" fmla="*/ 1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2" h="31">
                    <a:moveTo>
                      <a:pt x="0" y="17"/>
                    </a:moveTo>
                    <a:cubicBezTo>
                      <a:pt x="0" y="25"/>
                      <a:pt x="6" y="31"/>
                      <a:pt x="14" y="31"/>
                    </a:cubicBezTo>
                    <a:cubicBezTo>
                      <a:pt x="197" y="31"/>
                      <a:pt x="197" y="31"/>
                      <a:pt x="197" y="31"/>
                    </a:cubicBezTo>
                    <a:cubicBezTo>
                      <a:pt x="205" y="31"/>
                      <a:pt x="212" y="25"/>
                      <a:pt x="212" y="17"/>
                    </a:cubicBezTo>
                    <a:cubicBezTo>
                      <a:pt x="212" y="0"/>
                      <a:pt x="212" y="0"/>
                      <a:pt x="212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4" name="Rectangle 39"/>
              <p:cNvSpPr>
                <a:spLocks noChangeArrowheads="1"/>
              </p:cNvSpPr>
              <p:nvPr/>
            </p:nvSpPr>
            <p:spPr bwMode="auto">
              <a:xfrm>
                <a:off x="-1341438" y="1235075"/>
                <a:ext cx="795338" cy="127000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5" name="Freeform 40"/>
              <p:cNvSpPr>
                <a:spLocks noEditPoints="1"/>
              </p:cNvSpPr>
              <p:nvPr/>
            </p:nvSpPr>
            <p:spPr bwMode="auto">
              <a:xfrm>
                <a:off x="-1341438" y="968375"/>
                <a:ext cx="795338" cy="236538"/>
              </a:xfrm>
              <a:custGeom>
                <a:avLst/>
                <a:gdLst>
                  <a:gd name="T0" fmla="*/ 197 w 212"/>
                  <a:gd name="T1" fmla="*/ 0 h 63"/>
                  <a:gd name="T2" fmla="*/ 14 w 212"/>
                  <a:gd name="T3" fmla="*/ 0 h 63"/>
                  <a:gd name="T4" fmla="*/ 0 w 212"/>
                  <a:gd name="T5" fmla="*/ 14 h 63"/>
                  <a:gd name="T6" fmla="*/ 0 w 212"/>
                  <a:gd name="T7" fmla="*/ 63 h 63"/>
                  <a:gd name="T8" fmla="*/ 212 w 212"/>
                  <a:gd name="T9" fmla="*/ 63 h 63"/>
                  <a:gd name="T10" fmla="*/ 212 w 212"/>
                  <a:gd name="T11" fmla="*/ 14 h 63"/>
                  <a:gd name="T12" fmla="*/ 197 w 212"/>
                  <a:gd name="T13" fmla="*/ 0 h 63"/>
                  <a:gd name="T14" fmla="*/ 26 w 212"/>
                  <a:gd name="T15" fmla="*/ 14 h 63"/>
                  <a:gd name="T16" fmla="*/ 87 w 212"/>
                  <a:gd name="T17" fmla="*/ 14 h 63"/>
                  <a:gd name="T18" fmla="*/ 87 w 212"/>
                  <a:gd name="T19" fmla="*/ 25 h 63"/>
                  <a:gd name="T20" fmla="*/ 26 w 212"/>
                  <a:gd name="T21" fmla="*/ 25 h 63"/>
                  <a:gd name="T22" fmla="*/ 26 w 212"/>
                  <a:gd name="T23" fmla="*/ 14 h 63"/>
                  <a:gd name="T24" fmla="*/ 26 w 212"/>
                  <a:gd name="T25" fmla="*/ 28 h 63"/>
                  <a:gd name="T26" fmla="*/ 97 w 212"/>
                  <a:gd name="T27" fmla="*/ 28 h 63"/>
                  <a:gd name="T28" fmla="*/ 97 w 212"/>
                  <a:gd name="T29" fmla="*/ 39 h 63"/>
                  <a:gd name="T30" fmla="*/ 26 w 212"/>
                  <a:gd name="T31" fmla="*/ 39 h 63"/>
                  <a:gd name="T32" fmla="*/ 26 w 212"/>
                  <a:gd name="T33" fmla="*/ 28 h 63"/>
                  <a:gd name="T34" fmla="*/ 102 w 212"/>
                  <a:gd name="T35" fmla="*/ 54 h 63"/>
                  <a:gd name="T36" fmla="*/ 26 w 212"/>
                  <a:gd name="T37" fmla="*/ 54 h 63"/>
                  <a:gd name="T38" fmla="*/ 26 w 212"/>
                  <a:gd name="T39" fmla="*/ 43 h 63"/>
                  <a:gd name="T40" fmla="*/ 102 w 212"/>
                  <a:gd name="T41" fmla="*/ 43 h 63"/>
                  <a:gd name="T42" fmla="*/ 102 w 212"/>
                  <a:gd name="T43" fmla="*/ 54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2" h="63">
                    <a:moveTo>
                      <a:pt x="197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212" y="63"/>
                      <a:pt x="212" y="63"/>
                      <a:pt x="212" y="63"/>
                    </a:cubicBezTo>
                    <a:cubicBezTo>
                      <a:pt x="212" y="14"/>
                      <a:pt x="212" y="14"/>
                      <a:pt x="212" y="14"/>
                    </a:cubicBezTo>
                    <a:cubicBezTo>
                      <a:pt x="212" y="6"/>
                      <a:pt x="205" y="0"/>
                      <a:pt x="197" y="0"/>
                    </a:cubicBezTo>
                    <a:close/>
                    <a:moveTo>
                      <a:pt x="26" y="14"/>
                    </a:moveTo>
                    <a:cubicBezTo>
                      <a:pt x="87" y="14"/>
                      <a:pt x="87" y="14"/>
                      <a:pt x="87" y="14"/>
                    </a:cubicBezTo>
                    <a:cubicBezTo>
                      <a:pt x="87" y="25"/>
                      <a:pt x="87" y="25"/>
                      <a:pt x="87" y="25"/>
                    </a:cubicBezTo>
                    <a:cubicBezTo>
                      <a:pt x="26" y="25"/>
                      <a:pt x="26" y="25"/>
                      <a:pt x="26" y="25"/>
                    </a:cubicBezTo>
                    <a:lnTo>
                      <a:pt x="26" y="14"/>
                    </a:lnTo>
                    <a:close/>
                    <a:moveTo>
                      <a:pt x="26" y="28"/>
                    </a:moveTo>
                    <a:cubicBezTo>
                      <a:pt x="97" y="28"/>
                      <a:pt x="97" y="28"/>
                      <a:pt x="97" y="28"/>
                    </a:cubicBezTo>
                    <a:cubicBezTo>
                      <a:pt x="97" y="39"/>
                      <a:pt x="97" y="39"/>
                      <a:pt x="97" y="39"/>
                    </a:cubicBezTo>
                    <a:cubicBezTo>
                      <a:pt x="26" y="39"/>
                      <a:pt x="26" y="39"/>
                      <a:pt x="26" y="39"/>
                    </a:cubicBezTo>
                    <a:lnTo>
                      <a:pt x="26" y="28"/>
                    </a:lnTo>
                    <a:close/>
                    <a:moveTo>
                      <a:pt x="102" y="54"/>
                    </a:move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43"/>
                      <a:pt x="26" y="43"/>
                      <a:pt x="26" y="43"/>
                    </a:cubicBezTo>
                    <a:cubicBezTo>
                      <a:pt x="102" y="43"/>
                      <a:pt x="102" y="43"/>
                      <a:pt x="102" y="43"/>
                    </a:cubicBezTo>
                    <a:lnTo>
                      <a:pt x="102" y="54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36" name="Freeform 45"/>
            <p:cNvSpPr>
              <a:spLocks noEditPoints="1"/>
            </p:cNvSpPr>
            <p:nvPr/>
          </p:nvSpPr>
          <p:spPr bwMode="auto">
            <a:xfrm flipH="1">
              <a:off x="3684370" y="2221127"/>
              <a:ext cx="317459" cy="481058"/>
            </a:xfrm>
            <a:custGeom>
              <a:avLst/>
              <a:gdLst>
                <a:gd name="T0" fmla="*/ 266 w 266"/>
                <a:gd name="T1" fmla="*/ 133 h 403"/>
                <a:gd name="T2" fmla="*/ 133 w 266"/>
                <a:gd name="T3" fmla="*/ 0 h 403"/>
                <a:gd name="T4" fmla="*/ 0 w 266"/>
                <a:gd name="T5" fmla="*/ 133 h 403"/>
                <a:gd name="T6" fmla="*/ 2 w 266"/>
                <a:gd name="T7" fmla="*/ 156 h 403"/>
                <a:gd name="T8" fmla="*/ 19 w 266"/>
                <a:gd name="T9" fmla="*/ 203 h 403"/>
                <a:gd name="T10" fmla="*/ 19 w 266"/>
                <a:gd name="T11" fmla="*/ 203 h 403"/>
                <a:gd name="T12" fmla="*/ 133 w 266"/>
                <a:gd name="T13" fmla="*/ 403 h 403"/>
                <a:gd name="T14" fmla="*/ 133 w 266"/>
                <a:gd name="T15" fmla="*/ 403 h 403"/>
                <a:gd name="T16" fmla="*/ 133 w 266"/>
                <a:gd name="T17" fmla="*/ 403 h 403"/>
                <a:gd name="T18" fmla="*/ 247 w 266"/>
                <a:gd name="T19" fmla="*/ 203 h 403"/>
                <a:gd name="T20" fmla="*/ 247 w 266"/>
                <a:gd name="T21" fmla="*/ 203 h 403"/>
                <a:gd name="T22" fmla="*/ 266 w 266"/>
                <a:gd name="T23" fmla="*/ 133 h 403"/>
                <a:gd name="T24" fmla="*/ 133 w 266"/>
                <a:gd name="T25" fmla="*/ 189 h 403"/>
                <a:gd name="T26" fmla="*/ 76 w 266"/>
                <a:gd name="T27" fmla="*/ 131 h 403"/>
                <a:gd name="T28" fmla="*/ 133 w 266"/>
                <a:gd name="T29" fmla="*/ 74 h 403"/>
                <a:gd name="T30" fmla="*/ 190 w 266"/>
                <a:gd name="T31" fmla="*/ 131 h 403"/>
                <a:gd name="T32" fmla="*/ 133 w 266"/>
                <a:gd name="T33" fmla="*/ 189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6" h="403">
                  <a:moveTo>
                    <a:pt x="266" y="133"/>
                  </a:moveTo>
                  <a:cubicBezTo>
                    <a:pt x="266" y="60"/>
                    <a:pt x="207" y="0"/>
                    <a:pt x="133" y="0"/>
                  </a:cubicBezTo>
                  <a:cubicBezTo>
                    <a:pt x="59" y="0"/>
                    <a:pt x="0" y="60"/>
                    <a:pt x="0" y="133"/>
                  </a:cubicBezTo>
                  <a:cubicBezTo>
                    <a:pt x="0" y="141"/>
                    <a:pt x="0" y="149"/>
                    <a:pt x="2" y="156"/>
                  </a:cubicBezTo>
                  <a:cubicBezTo>
                    <a:pt x="4" y="173"/>
                    <a:pt x="11" y="189"/>
                    <a:pt x="19" y="203"/>
                  </a:cubicBezTo>
                  <a:cubicBezTo>
                    <a:pt x="19" y="203"/>
                    <a:pt x="19" y="203"/>
                    <a:pt x="19" y="203"/>
                  </a:cubicBezTo>
                  <a:cubicBezTo>
                    <a:pt x="133" y="403"/>
                    <a:pt x="133" y="403"/>
                    <a:pt x="133" y="403"/>
                  </a:cubicBezTo>
                  <a:cubicBezTo>
                    <a:pt x="133" y="403"/>
                    <a:pt x="133" y="403"/>
                    <a:pt x="133" y="403"/>
                  </a:cubicBezTo>
                  <a:cubicBezTo>
                    <a:pt x="133" y="403"/>
                    <a:pt x="133" y="403"/>
                    <a:pt x="133" y="403"/>
                  </a:cubicBezTo>
                  <a:cubicBezTo>
                    <a:pt x="247" y="203"/>
                    <a:pt x="247" y="203"/>
                    <a:pt x="247" y="203"/>
                  </a:cubicBezTo>
                  <a:cubicBezTo>
                    <a:pt x="247" y="203"/>
                    <a:pt x="247" y="203"/>
                    <a:pt x="247" y="203"/>
                  </a:cubicBezTo>
                  <a:cubicBezTo>
                    <a:pt x="259" y="182"/>
                    <a:pt x="266" y="159"/>
                    <a:pt x="266" y="133"/>
                  </a:cubicBezTo>
                  <a:close/>
                  <a:moveTo>
                    <a:pt x="133" y="189"/>
                  </a:moveTo>
                  <a:cubicBezTo>
                    <a:pt x="101" y="189"/>
                    <a:pt x="76" y="163"/>
                    <a:pt x="76" y="131"/>
                  </a:cubicBezTo>
                  <a:cubicBezTo>
                    <a:pt x="76" y="100"/>
                    <a:pt x="101" y="74"/>
                    <a:pt x="133" y="74"/>
                  </a:cubicBezTo>
                  <a:cubicBezTo>
                    <a:pt x="165" y="74"/>
                    <a:pt x="190" y="100"/>
                    <a:pt x="190" y="131"/>
                  </a:cubicBezTo>
                  <a:cubicBezTo>
                    <a:pt x="190" y="163"/>
                    <a:pt x="165" y="189"/>
                    <a:pt x="133" y="189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37" name="Group 125"/>
            <p:cNvGrpSpPr/>
            <p:nvPr/>
          </p:nvGrpSpPr>
          <p:grpSpPr>
            <a:xfrm flipH="1">
              <a:off x="3352614" y="1907315"/>
              <a:ext cx="229232" cy="316076"/>
              <a:chOff x="-2284413" y="254000"/>
              <a:chExt cx="1185862" cy="1635126"/>
            </a:xfrm>
            <a:solidFill>
              <a:schemeClr val="accent4">
                <a:lumMod val="40000"/>
                <a:lumOff val="60000"/>
              </a:schemeClr>
            </a:solidFill>
          </p:grpSpPr>
          <p:sp>
            <p:nvSpPr>
              <p:cNvPr id="121" name="Freeform 9"/>
              <p:cNvSpPr>
                <a:spLocks noEditPoints="1"/>
              </p:cNvSpPr>
              <p:nvPr/>
            </p:nvSpPr>
            <p:spPr bwMode="auto">
              <a:xfrm>
                <a:off x="-2119313" y="254000"/>
                <a:ext cx="858837" cy="1181100"/>
              </a:xfrm>
              <a:custGeom>
                <a:avLst/>
                <a:gdLst>
                  <a:gd name="T0" fmla="*/ 33 w 229"/>
                  <a:gd name="T1" fmla="*/ 286 h 315"/>
                  <a:gd name="T2" fmla="*/ 195 w 229"/>
                  <a:gd name="T3" fmla="*/ 286 h 315"/>
                  <a:gd name="T4" fmla="*/ 209 w 229"/>
                  <a:gd name="T5" fmla="*/ 315 h 315"/>
                  <a:gd name="T6" fmla="*/ 19 w 229"/>
                  <a:gd name="T7" fmla="*/ 315 h 315"/>
                  <a:gd name="T8" fmla="*/ 33 w 229"/>
                  <a:gd name="T9" fmla="*/ 286 h 315"/>
                  <a:gd name="T10" fmla="*/ 52 w 229"/>
                  <a:gd name="T11" fmla="*/ 75 h 315"/>
                  <a:gd name="T12" fmla="*/ 176 w 229"/>
                  <a:gd name="T13" fmla="*/ 75 h 315"/>
                  <a:gd name="T14" fmla="*/ 190 w 229"/>
                  <a:gd name="T15" fmla="*/ 89 h 315"/>
                  <a:gd name="T16" fmla="*/ 194 w 229"/>
                  <a:gd name="T17" fmla="*/ 137 h 315"/>
                  <a:gd name="T18" fmla="*/ 180 w 229"/>
                  <a:gd name="T19" fmla="*/ 151 h 315"/>
                  <a:gd name="T20" fmla="*/ 48 w 229"/>
                  <a:gd name="T21" fmla="*/ 151 h 315"/>
                  <a:gd name="T22" fmla="*/ 34 w 229"/>
                  <a:gd name="T23" fmla="*/ 137 h 315"/>
                  <a:gd name="T24" fmla="*/ 38 w 229"/>
                  <a:gd name="T25" fmla="*/ 89 h 315"/>
                  <a:gd name="T26" fmla="*/ 52 w 229"/>
                  <a:gd name="T27" fmla="*/ 75 h 315"/>
                  <a:gd name="T28" fmla="*/ 83 w 229"/>
                  <a:gd name="T29" fmla="*/ 43 h 315"/>
                  <a:gd name="T30" fmla="*/ 145 w 229"/>
                  <a:gd name="T31" fmla="*/ 43 h 315"/>
                  <a:gd name="T32" fmla="*/ 151 w 229"/>
                  <a:gd name="T33" fmla="*/ 49 h 315"/>
                  <a:gd name="T34" fmla="*/ 151 w 229"/>
                  <a:gd name="T35" fmla="*/ 59 h 315"/>
                  <a:gd name="T36" fmla="*/ 145 w 229"/>
                  <a:gd name="T37" fmla="*/ 65 h 315"/>
                  <a:gd name="T38" fmla="*/ 83 w 229"/>
                  <a:gd name="T39" fmla="*/ 65 h 315"/>
                  <a:gd name="T40" fmla="*/ 77 w 229"/>
                  <a:gd name="T41" fmla="*/ 59 h 315"/>
                  <a:gd name="T42" fmla="*/ 77 w 229"/>
                  <a:gd name="T43" fmla="*/ 49 h 315"/>
                  <a:gd name="T44" fmla="*/ 83 w 229"/>
                  <a:gd name="T45" fmla="*/ 43 h 315"/>
                  <a:gd name="T46" fmla="*/ 46 w 229"/>
                  <a:gd name="T47" fmla="*/ 33 h 315"/>
                  <a:gd name="T48" fmla="*/ 182 w 229"/>
                  <a:gd name="T49" fmla="*/ 33 h 315"/>
                  <a:gd name="T50" fmla="*/ 212 w 229"/>
                  <a:gd name="T51" fmla="*/ 63 h 315"/>
                  <a:gd name="T52" fmla="*/ 227 w 229"/>
                  <a:gd name="T53" fmla="*/ 249 h 315"/>
                  <a:gd name="T54" fmla="*/ 198 w 229"/>
                  <a:gd name="T55" fmla="*/ 278 h 315"/>
                  <a:gd name="T56" fmla="*/ 30 w 229"/>
                  <a:gd name="T57" fmla="*/ 278 h 315"/>
                  <a:gd name="T58" fmla="*/ 1 w 229"/>
                  <a:gd name="T59" fmla="*/ 249 h 315"/>
                  <a:gd name="T60" fmla="*/ 16 w 229"/>
                  <a:gd name="T61" fmla="*/ 63 h 315"/>
                  <a:gd name="T62" fmla="*/ 46 w 229"/>
                  <a:gd name="T63" fmla="*/ 33 h 315"/>
                  <a:gd name="T64" fmla="*/ 185 w 229"/>
                  <a:gd name="T65" fmla="*/ 216 h 315"/>
                  <a:gd name="T66" fmla="*/ 201 w 229"/>
                  <a:gd name="T67" fmla="*/ 233 h 315"/>
                  <a:gd name="T68" fmla="*/ 185 w 229"/>
                  <a:gd name="T69" fmla="*/ 249 h 315"/>
                  <a:gd name="T70" fmla="*/ 168 w 229"/>
                  <a:gd name="T71" fmla="*/ 233 h 315"/>
                  <a:gd name="T72" fmla="*/ 185 w 229"/>
                  <a:gd name="T73" fmla="*/ 216 h 315"/>
                  <a:gd name="T74" fmla="*/ 44 w 229"/>
                  <a:gd name="T75" fmla="*/ 216 h 315"/>
                  <a:gd name="T76" fmla="*/ 60 w 229"/>
                  <a:gd name="T77" fmla="*/ 233 h 315"/>
                  <a:gd name="T78" fmla="*/ 44 w 229"/>
                  <a:gd name="T79" fmla="*/ 249 h 315"/>
                  <a:gd name="T80" fmla="*/ 27 w 229"/>
                  <a:gd name="T81" fmla="*/ 233 h 315"/>
                  <a:gd name="T82" fmla="*/ 44 w 229"/>
                  <a:gd name="T83" fmla="*/ 216 h 315"/>
                  <a:gd name="T84" fmla="*/ 80 w 229"/>
                  <a:gd name="T85" fmla="*/ 0 h 315"/>
                  <a:gd name="T86" fmla="*/ 93 w 229"/>
                  <a:gd name="T87" fmla="*/ 0 h 315"/>
                  <a:gd name="T88" fmla="*/ 93 w 229"/>
                  <a:gd name="T89" fmla="*/ 26 h 315"/>
                  <a:gd name="T90" fmla="*/ 80 w 229"/>
                  <a:gd name="T91" fmla="*/ 26 h 315"/>
                  <a:gd name="T92" fmla="*/ 80 w 229"/>
                  <a:gd name="T93" fmla="*/ 0 h 315"/>
                  <a:gd name="T94" fmla="*/ 135 w 229"/>
                  <a:gd name="T95" fmla="*/ 0 h 315"/>
                  <a:gd name="T96" fmla="*/ 148 w 229"/>
                  <a:gd name="T97" fmla="*/ 0 h 315"/>
                  <a:gd name="T98" fmla="*/ 148 w 229"/>
                  <a:gd name="T99" fmla="*/ 26 h 315"/>
                  <a:gd name="T100" fmla="*/ 135 w 229"/>
                  <a:gd name="T101" fmla="*/ 26 h 315"/>
                  <a:gd name="T102" fmla="*/ 135 w 229"/>
                  <a:gd name="T103" fmla="*/ 0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29" h="315">
                    <a:moveTo>
                      <a:pt x="33" y="286"/>
                    </a:moveTo>
                    <a:cubicBezTo>
                      <a:pt x="195" y="286"/>
                      <a:pt x="195" y="286"/>
                      <a:pt x="195" y="286"/>
                    </a:cubicBezTo>
                    <a:cubicBezTo>
                      <a:pt x="209" y="315"/>
                      <a:pt x="209" y="315"/>
                      <a:pt x="209" y="315"/>
                    </a:cubicBezTo>
                    <a:cubicBezTo>
                      <a:pt x="19" y="315"/>
                      <a:pt x="19" y="315"/>
                      <a:pt x="19" y="315"/>
                    </a:cubicBezTo>
                    <a:cubicBezTo>
                      <a:pt x="33" y="286"/>
                      <a:pt x="33" y="286"/>
                      <a:pt x="33" y="286"/>
                    </a:cubicBezTo>
                    <a:close/>
                    <a:moveTo>
                      <a:pt x="52" y="75"/>
                    </a:moveTo>
                    <a:cubicBezTo>
                      <a:pt x="176" y="75"/>
                      <a:pt x="176" y="75"/>
                      <a:pt x="176" y="75"/>
                    </a:cubicBezTo>
                    <a:cubicBezTo>
                      <a:pt x="184" y="75"/>
                      <a:pt x="190" y="81"/>
                      <a:pt x="190" y="89"/>
                    </a:cubicBezTo>
                    <a:cubicBezTo>
                      <a:pt x="194" y="137"/>
                      <a:pt x="194" y="137"/>
                      <a:pt x="194" y="137"/>
                    </a:cubicBezTo>
                    <a:cubicBezTo>
                      <a:pt x="195" y="145"/>
                      <a:pt x="188" y="151"/>
                      <a:pt x="180" y="151"/>
                    </a:cubicBezTo>
                    <a:cubicBezTo>
                      <a:pt x="48" y="151"/>
                      <a:pt x="48" y="151"/>
                      <a:pt x="48" y="151"/>
                    </a:cubicBezTo>
                    <a:cubicBezTo>
                      <a:pt x="40" y="151"/>
                      <a:pt x="33" y="145"/>
                      <a:pt x="34" y="137"/>
                    </a:cubicBezTo>
                    <a:cubicBezTo>
                      <a:pt x="38" y="89"/>
                      <a:pt x="38" y="89"/>
                      <a:pt x="38" y="89"/>
                    </a:cubicBezTo>
                    <a:cubicBezTo>
                      <a:pt x="39" y="81"/>
                      <a:pt x="44" y="75"/>
                      <a:pt x="52" y="75"/>
                    </a:cubicBezTo>
                    <a:close/>
                    <a:moveTo>
                      <a:pt x="83" y="43"/>
                    </a:moveTo>
                    <a:cubicBezTo>
                      <a:pt x="145" y="43"/>
                      <a:pt x="145" y="43"/>
                      <a:pt x="145" y="43"/>
                    </a:cubicBezTo>
                    <a:cubicBezTo>
                      <a:pt x="149" y="43"/>
                      <a:pt x="151" y="46"/>
                      <a:pt x="151" y="49"/>
                    </a:cubicBezTo>
                    <a:cubicBezTo>
                      <a:pt x="151" y="59"/>
                      <a:pt x="151" y="59"/>
                      <a:pt x="151" y="59"/>
                    </a:cubicBezTo>
                    <a:cubicBezTo>
                      <a:pt x="151" y="63"/>
                      <a:pt x="149" y="65"/>
                      <a:pt x="145" y="65"/>
                    </a:cubicBezTo>
                    <a:cubicBezTo>
                      <a:pt x="83" y="65"/>
                      <a:pt x="83" y="65"/>
                      <a:pt x="83" y="65"/>
                    </a:cubicBezTo>
                    <a:cubicBezTo>
                      <a:pt x="80" y="65"/>
                      <a:pt x="77" y="63"/>
                      <a:pt x="77" y="59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46"/>
                      <a:pt x="80" y="43"/>
                      <a:pt x="83" y="43"/>
                    </a:cubicBezTo>
                    <a:close/>
                    <a:moveTo>
                      <a:pt x="46" y="33"/>
                    </a:moveTo>
                    <a:cubicBezTo>
                      <a:pt x="182" y="33"/>
                      <a:pt x="182" y="33"/>
                      <a:pt x="182" y="33"/>
                    </a:cubicBezTo>
                    <a:cubicBezTo>
                      <a:pt x="199" y="33"/>
                      <a:pt x="211" y="47"/>
                      <a:pt x="212" y="63"/>
                    </a:cubicBezTo>
                    <a:cubicBezTo>
                      <a:pt x="227" y="249"/>
                      <a:pt x="227" y="249"/>
                      <a:pt x="227" y="249"/>
                    </a:cubicBezTo>
                    <a:cubicBezTo>
                      <a:pt x="229" y="265"/>
                      <a:pt x="214" y="278"/>
                      <a:pt x="198" y="278"/>
                    </a:cubicBezTo>
                    <a:cubicBezTo>
                      <a:pt x="30" y="278"/>
                      <a:pt x="30" y="278"/>
                      <a:pt x="30" y="278"/>
                    </a:cubicBezTo>
                    <a:cubicBezTo>
                      <a:pt x="14" y="278"/>
                      <a:pt x="0" y="265"/>
                      <a:pt x="1" y="249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18" y="47"/>
                      <a:pt x="30" y="33"/>
                      <a:pt x="46" y="33"/>
                    </a:cubicBezTo>
                    <a:close/>
                    <a:moveTo>
                      <a:pt x="185" y="216"/>
                    </a:moveTo>
                    <a:cubicBezTo>
                      <a:pt x="194" y="216"/>
                      <a:pt x="201" y="223"/>
                      <a:pt x="201" y="233"/>
                    </a:cubicBezTo>
                    <a:cubicBezTo>
                      <a:pt x="201" y="242"/>
                      <a:pt x="194" y="249"/>
                      <a:pt x="185" y="249"/>
                    </a:cubicBezTo>
                    <a:cubicBezTo>
                      <a:pt x="176" y="249"/>
                      <a:pt x="168" y="242"/>
                      <a:pt x="168" y="233"/>
                    </a:cubicBezTo>
                    <a:cubicBezTo>
                      <a:pt x="168" y="223"/>
                      <a:pt x="176" y="216"/>
                      <a:pt x="185" y="216"/>
                    </a:cubicBezTo>
                    <a:close/>
                    <a:moveTo>
                      <a:pt x="44" y="216"/>
                    </a:moveTo>
                    <a:cubicBezTo>
                      <a:pt x="53" y="216"/>
                      <a:pt x="60" y="223"/>
                      <a:pt x="60" y="233"/>
                    </a:cubicBezTo>
                    <a:cubicBezTo>
                      <a:pt x="60" y="242"/>
                      <a:pt x="53" y="249"/>
                      <a:pt x="44" y="249"/>
                    </a:cubicBezTo>
                    <a:cubicBezTo>
                      <a:pt x="35" y="249"/>
                      <a:pt x="27" y="242"/>
                      <a:pt x="27" y="233"/>
                    </a:cubicBezTo>
                    <a:cubicBezTo>
                      <a:pt x="27" y="223"/>
                      <a:pt x="35" y="216"/>
                      <a:pt x="44" y="216"/>
                    </a:cubicBezTo>
                    <a:close/>
                    <a:moveTo>
                      <a:pt x="80" y="0"/>
                    </a:moveTo>
                    <a:cubicBezTo>
                      <a:pt x="93" y="0"/>
                      <a:pt x="93" y="0"/>
                      <a:pt x="93" y="0"/>
                    </a:cubicBezTo>
                    <a:cubicBezTo>
                      <a:pt x="93" y="26"/>
                      <a:pt x="93" y="26"/>
                      <a:pt x="93" y="26"/>
                    </a:cubicBezTo>
                    <a:cubicBezTo>
                      <a:pt x="80" y="26"/>
                      <a:pt x="80" y="26"/>
                      <a:pt x="80" y="26"/>
                    </a:cubicBezTo>
                    <a:cubicBezTo>
                      <a:pt x="80" y="0"/>
                      <a:pt x="80" y="0"/>
                      <a:pt x="80" y="0"/>
                    </a:cubicBezTo>
                    <a:close/>
                    <a:moveTo>
                      <a:pt x="135" y="0"/>
                    </a:moveTo>
                    <a:cubicBezTo>
                      <a:pt x="148" y="0"/>
                      <a:pt x="148" y="0"/>
                      <a:pt x="148" y="0"/>
                    </a:cubicBezTo>
                    <a:cubicBezTo>
                      <a:pt x="148" y="26"/>
                      <a:pt x="148" y="26"/>
                      <a:pt x="148" y="26"/>
                    </a:cubicBezTo>
                    <a:cubicBezTo>
                      <a:pt x="135" y="26"/>
                      <a:pt x="135" y="26"/>
                      <a:pt x="135" y="26"/>
                    </a:cubicBezTo>
                    <a:cubicBezTo>
                      <a:pt x="135" y="0"/>
                      <a:pt x="135" y="0"/>
                      <a:pt x="1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2" name="Freeform 10"/>
              <p:cNvSpPr>
                <a:spLocks noEditPoints="1"/>
              </p:cNvSpPr>
              <p:nvPr/>
            </p:nvSpPr>
            <p:spPr bwMode="auto">
              <a:xfrm>
                <a:off x="-2284413" y="1468438"/>
                <a:ext cx="1185862" cy="420688"/>
              </a:xfrm>
              <a:custGeom>
                <a:avLst/>
                <a:gdLst>
                  <a:gd name="T0" fmla="*/ 144 w 747"/>
                  <a:gd name="T1" fmla="*/ 0 h 265"/>
                  <a:gd name="T2" fmla="*/ 198 w 747"/>
                  <a:gd name="T3" fmla="*/ 0 h 265"/>
                  <a:gd name="T4" fmla="*/ 85 w 747"/>
                  <a:gd name="T5" fmla="*/ 265 h 265"/>
                  <a:gd name="T6" fmla="*/ 0 w 747"/>
                  <a:gd name="T7" fmla="*/ 265 h 265"/>
                  <a:gd name="T8" fmla="*/ 144 w 747"/>
                  <a:gd name="T9" fmla="*/ 0 h 265"/>
                  <a:gd name="T10" fmla="*/ 144 w 747"/>
                  <a:gd name="T11" fmla="*/ 0 h 265"/>
                  <a:gd name="T12" fmla="*/ 605 w 747"/>
                  <a:gd name="T13" fmla="*/ 0 h 265"/>
                  <a:gd name="T14" fmla="*/ 550 w 747"/>
                  <a:gd name="T15" fmla="*/ 0 h 265"/>
                  <a:gd name="T16" fmla="*/ 661 w 747"/>
                  <a:gd name="T17" fmla="*/ 265 h 265"/>
                  <a:gd name="T18" fmla="*/ 747 w 747"/>
                  <a:gd name="T19" fmla="*/ 265 h 265"/>
                  <a:gd name="T20" fmla="*/ 605 w 747"/>
                  <a:gd name="T21" fmla="*/ 0 h 265"/>
                  <a:gd name="T22" fmla="*/ 605 w 747"/>
                  <a:gd name="T23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7" h="265">
                    <a:moveTo>
                      <a:pt x="144" y="0"/>
                    </a:moveTo>
                    <a:lnTo>
                      <a:pt x="198" y="0"/>
                    </a:lnTo>
                    <a:lnTo>
                      <a:pt x="85" y="265"/>
                    </a:lnTo>
                    <a:lnTo>
                      <a:pt x="0" y="265"/>
                    </a:lnTo>
                    <a:lnTo>
                      <a:pt x="144" y="0"/>
                    </a:lnTo>
                    <a:lnTo>
                      <a:pt x="144" y="0"/>
                    </a:lnTo>
                    <a:close/>
                    <a:moveTo>
                      <a:pt x="605" y="0"/>
                    </a:moveTo>
                    <a:lnTo>
                      <a:pt x="550" y="0"/>
                    </a:lnTo>
                    <a:lnTo>
                      <a:pt x="661" y="265"/>
                    </a:lnTo>
                    <a:lnTo>
                      <a:pt x="747" y="265"/>
                    </a:lnTo>
                    <a:lnTo>
                      <a:pt x="605" y="0"/>
                    </a:lnTo>
                    <a:lnTo>
                      <a:pt x="605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38" name="Freeform 35"/>
            <p:cNvSpPr>
              <a:spLocks noEditPoints="1"/>
            </p:cNvSpPr>
            <p:nvPr/>
          </p:nvSpPr>
          <p:spPr bwMode="auto">
            <a:xfrm flipH="1">
              <a:off x="3506593" y="723970"/>
              <a:ext cx="407936" cy="330232"/>
            </a:xfrm>
            <a:custGeom>
              <a:avLst/>
              <a:gdLst>
                <a:gd name="T0" fmla="*/ 92 w 430"/>
                <a:gd name="T1" fmla="*/ 49 h 348"/>
                <a:gd name="T2" fmla="*/ 71 w 430"/>
                <a:gd name="T3" fmla="*/ 31 h 348"/>
                <a:gd name="T4" fmla="*/ 32 w 430"/>
                <a:gd name="T5" fmla="*/ 11 h 348"/>
                <a:gd name="T6" fmla="*/ 24 w 430"/>
                <a:gd name="T7" fmla="*/ 31 h 348"/>
                <a:gd name="T8" fmla="*/ 134 w 430"/>
                <a:gd name="T9" fmla="*/ 240 h 348"/>
                <a:gd name="T10" fmla="*/ 155 w 430"/>
                <a:gd name="T11" fmla="*/ 289 h 348"/>
                <a:gd name="T12" fmla="*/ 141 w 430"/>
                <a:gd name="T13" fmla="*/ 314 h 348"/>
                <a:gd name="T14" fmla="*/ 140 w 430"/>
                <a:gd name="T15" fmla="*/ 320 h 348"/>
                <a:gd name="T16" fmla="*/ 195 w 430"/>
                <a:gd name="T17" fmla="*/ 317 h 348"/>
                <a:gd name="T18" fmla="*/ 181 w 430"/>
                <a:gd name="T19" fmla="*/ 295 h 348"/>
                <a:gd name="T20" fmla="*/ 340 w 430"/>
                <a:gd name="T21" fmla="*/ 291 h 348"/>
                <a:gd name="T22" fmla="*/ 381 w 430"/>
                <a:gd name="T23" fmla="*/ 320 h 348"/>
                <a:gd name="T24" fmla="*/ 387 w 430"/>
                <a:gd name="T25" fmla="*/ 289 h 348"/>
                <a:gd name="T26" fmla="*/ 393 w 430"/>
                <a:gd name="T27" fmla="*/ 274 h 348"/>
                <a:gd name="T28" fmla="*/ 390 w 430"/>
                <a:gd name="T29" fmla="*/ 273 h 348"/>
                <a:gd name="T30" fmla="*/ 135 w 430"/>
                <a:gd name="T31" fmla="*/ 272 h 348"/>
                <a:gd name="T32" fmla="*/ 154 w 430"/>
                <a:gd name="T33" fmla="*/ 234 h 348"/>
                <a:gd name="T34" fmla="*/ 180 w 430"/>
                <a:gd name="T35" fmla="*/ 238 h 348"/>
                <a:gd name="T36" fmla="*/ 405 w 430"/>
                <a:gd name="T37" fmla="*/ 218 h 348"/>
                <a:gd name="T38" fmla="*/ 430 w 430"/>
                <a:gd name="T39" fmla="*/ 81 h 348"/>
                <a:gd name="T40" fmla="*/ 140 w 430"/>
                <a:gd name="T41" fmla="*/ 79 h 348"/>
                <a:gd name="T42" fmla="*/ 118 w 430"/>
                <a:gd name="T43" fmla="*/ 101 h 348"/>
                <a:gd name="T44" fmla="*/ 134 w 430"/>
                <a:gd name="T45" fmla="*/ 113 h 348"/>
                <a:gd name="T46" fmla="*/ 351 w 430"/>
                <a:gd name="T47" fmla="*/ 125 h 348"/>
                <a:gd name="T48" fmla="*/ 311 w 430"/>
                <a:gd name="T49" fmla="*/ 90 h 348"/>
                <a:gd name="T50" fmla="*/ 302 w 430"/>
                <a:gd name="T51" fmla="*/ 99 h 348"/>
                <a:gd name="T52" fmla="*/ 211 w 430"/>
                <a:gd name="T53" fmla="*/ 111 h 348"/>
                <a:gd name="T54" fmla="*/ 185 w 430"/>
                <a:gd name="T55" fmla="*/ 85 h 348"/>
                <a:gd name="T56" fmla="*/ 171 w 430"/>
                <a:gd name="T57" fmla="*/ 99 h 348"/>
                <a:gd name="T58" fmla="*/ 166 w 430"/>
                <a:gd name="T59" fmla="*/ 207 h 348"/>
                <a:gd name="T60" fmla="*/ 171 w 430"/>
                <a:gd name="T61" fmla="*/ 202 h 348"/>
                <a:gd name="T62" fmla="*/ 160 w 430"/>
                <a:gd name="T63" fmla="*/ 139 h 348"/>
                <a:gd name="T64" fmla="*/ 185 w 430"/>
                <a:gd name="T65" fmla="*/ 216 h 348"/>
                <a:gd name="T66" fmla="*/ 174 w 430"/>
                <a:gd name="T67" fmla="*/ 176 h 348"/>
                <a:gd name="T68" fmla="*/ 185 w 430"/>
                <a:gd name="T69" fmla="*/ 136 h 348"/>
                <a:gd name="T70" fmla="*/ 185 w 430"/>
                <a:gd name="T71" fmla="*/ 136 h 348"/>
                <a:gd name="T72" fmla="*/ 222 w 430"/>
                <a:gd name="T73" fmla="*/ 202 h 348"/>
                <a:gd name="T74" fmla="*/ 211 w 430"/>
                <a:gd name="T75" fmla="*/ 139 h 348"/>
                <a:gd name="T76" fmla="*/ 225 w 430"/>
                <a:gd name="T77" fmla="*/ 176 h 348"/>
                <a:gd name="T78" fmla="*/ 236 w 430"/>
                <a:gd name="T79" fmla="*/ 136 h 348"/>
                <a:gd name="T80" fmla="*/ 236 w 430"/>
                <a:gd name="T81" fmla="*/ 136 h 348"/>
                <a:gd name="T82" fmla="*/ 251 w 430"/>
                <a:gd name="T83" fmla="*/ 99 h 348"/>
                <a:gd name="T84" fmla="*/ 251 w 430"/>
                <a:gd name="T85" fmla="*/ 202 h 348"/>
                <a:gd name="T86" fmla="*/ 262 w 430"/>
                <a:gd name="T87" fmla="*/ 162 h 348"/>
                <a:gd name="T88" fmla="*/ 262 w 430"/>
                <a:gd name="T89" fmla="*/ 162 h 348"/>
                <a:gd name="T90" fmla="*/ 299 w 430"/>
                <a:gd name="T91" fmla="*/ 176 h 348"/>
                <a:gd name="T92" fmla="*/ 288 w 430"/>
                <a:gd name="T93" fmla="*/ 113 h 348"/>
                <a:gd name="T94" fmla="*/ 311 w 430"/>
                <a:gd name="T95" fmla="*/ 211 h 348"/>
                <a:gd name="T96" fmla="*/ 316 w 430"/>
                <a:gd name="T97" fmla="*/ 211 h 348"/>
                <a:gd name="T98" fmla="*/ 325 w 430"/>
                <a:gd name="T99" fmla="*/ 150 h 348"/>
                <a:gd name="T100" fmla="*/ 339 w 430"/>
                <a:gd name="T101" fmla="*/ 164 h 348"/>
                <a:gd name="T102" fmla="*/ 360 w 430"/>
                <a:gd name="T103" fmla="*/ 209 h 348"/>
                <a:gd name="T104" fmla="*/ 370 w 430"/>
                <a:gd name="T105" fmla="*/ 208 h 348"/>
                <a:gd name="T106" fmla="*/ 376 w 430"/>
                <a:gd name="T107" fmla="*/ 150 h 348"/>
                <a:gd name="T108" fmla="*/ 359 w 430"/>
                <a:gd name="T109" fmla="*/ 93 h 348"/>
                <a:gd name="T110" fmla="*/ 396 w 430"/>
                <a:gd name="T111" fmla="*/ 182 h 348"/>
                <a:gd name="T112" fmla="*/ 398 w 430"/>
                <a:gd name="T113" fmla="*/ 172 h 348"/>
                <a:gd name="T114" fmla="*/ 390 w 430"/>
                <a:gd name="T115" fmla="*/ 113 h 348"/>
                <a:gd name="T116" fmla="*/ 404 w 430"/>
                <a:gd name="T117" fmla="*/ 99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30" h="348">
                  <a:moveTo>
                    <a:pt x="430" y="81"/>
                  </a:moveTo>
                  <a:cubicBezTo>
                    <a:pt x="430" y="78"/>
                    <a:pt x="430" y="76"/>
                    <a:pt x="428" y="74"/>
                  </a:cubicBezTo>
                  <a:cubicBezTo>
                    <a:pt x="427" y="72"/>
                    <a:pt x="424" y="71"/>
                    <a:pt x="422" y="71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89" y="48"/>
                    <a:pt x="86" y="50"/>
                    <a:pt x="84" y="52"/>
                  </a:cubicBezTo>
                  <a:cubicBezTo>
                    <a:pt x="83" y="54"/>
                    <a:pt x="82" y="57"/>
                    <a:pt x="83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71" y="31"/>
                    <a:pt x="71" y="31"/>
                    <a:pt x="71" y="31"/>
                  </a:cubicBezTo>
                  <a:cubicBezTo>
                    <a:pt x="71" y="29"/>
                    <a:pt x="69" y="27"/>
                    <a:pt x="67" y="26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0" y="4"/>
                    <a:pt x="24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2"/>
                    <a:pt x="17" y="32"/>
                  </a:cubicBezTo>
                  <a:cubicBezTo>
                    <a:pt x="19" y="32"/>
                    <a:pt x="22" y="32"/>
                    <a:pt x="24" y="3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13" y="276"/>
                    <a:pt x="113" y="276"/>
                    <a:pt x="113" y="276"/>
                  </a:cubicBezTo>
                  <a:cubicBezTo>
                    <a:pt x="111" y="279"/>
                    <a:pt x="111" y="282"/>
                    <a:pt x="113" y="284"/>
                  </a:cubicBezTo>
                  <a:cubicBezTo>
                    <a:pt x="114" y="287"/>
                    <a:pt x="117" y="289"/>
                    <a:pt x="120" y="289"/>
                  </a:cubicBezTo>
                  <a:cubicBezTo>
                    <a:pt x="155" y="289"/>
                    <a:pt x="155" y="289"/>
                    <a:pt x="155" y="289"/>
                  </a:cubicBezTo>
                  <a:cubicBezTo>
                    <a:pt x="155" y="291"/>
                    <a:pt x="155" y="291"/>
                    <a:pt x="155" y="291"/>
                  </a:cubicBezTo>
                  <a:cubicBezTo>
                    <a:pt x="155" y="295"/>
                    <a:pt x="155" y="295"/>
                    <a:pt x="155" y="295"/>
                  </a:cubicBezTo>
                  <a:cubicBezTo>
                    <a:pt x="148" y="299"/>
                    <a:pt x="143" y="306"/>
                    <a:pt x="141" y="314"/>
                  </a:cubicBezTo>
                  <a:cubicBezTo>
                    <a:pt x="141" y="314"/>
                    <a:pt x="141" y="314"/>
                    <a:pt x="141" y="314"/>
                  </a:cubicBezTo>
                  <a:cubicBezTo>
                    <a:pt x="141" y="314"/>
                    <a:pt x="141" y="314"/>
                    <a:pt x="141" y="314"/>
                  </a:cubicBezTo>
                  <a:cubicBezTo>
                    <a:pt x="141" y="315"/>
                    <a:pt x="140" y="316"/>
                    <a:pt x="140" y="316"/>
                  </a:cubicBezTo>
                  <a:cubicBezTo>
                    <a:pt x="140" y="317"/>
                    <a:pt x="140" y="317"/>
                    <a:pt x="140" y="317"/>
                  </a:cubicBezTo>
                  <a:cubicBezTo>
                    <a:pt x="140" y="318"/>
                    <a:pt x="140" y="319"/>
                    <a:pt x="140" y="320"/>
                  </a:cubicBezTo>
                  <a:cubicBezTo>
                    <a:pt x="140" y="335"/>
                    <a:pt x="153" y="348"/>
                    <a:pt x="168" y="348"/>
                  </a:cubicBezTo>
                  <a:cubicBezTo>
                    <a:pt x="183" y="348"/>
                    <a:pt x="195" y="335"/>
                    <a:pt x="195" y="320"/>
                  </a:cubicBezTo>
                  <a:cubicBezTo>
                    <a:pt x="195" y="319"/>
                    <a:pt x="195" y="318"/>
                    <a:pt x="195" y="317"/>
                  </a:cubicBezTo>
                  <a:cubicBezTo>
                    <a:pt x="195" y="317"/>
                    <a:pt x="195" y="317"/>
                    <a:pt x="195" y="317"/>
                  </a:cubicBezTo>
                  <a:cubicBezTo>
                    <a:pt x="195" y="316"/>
                    <a:pt x="195" y="315"/>
                    <a:pt x="195" y="314"/>
                  </a:cubicBezTo>
                  <a:cubicBezTo>
                    <a:pt x="195" y="314"/>
                    <a:pt x="195" y="314"/>
                    <a:pt x="195" y="314"/>
                  </a:cubicBezTo>
                  <a:cubicBezTo>
                    <a:pt x="195" y="314"/>
                    <a:pt x="195" y="314"/>
                    <a:pt x="195" y="314"/>
                  </a:cubicBezTo>
                  <a:cubicBezTo>
                    <a:pt x="193" y="306"/>
                    <a:pt x="188" y="299"/>
                    <a:pt x="181" y="295"/>
                  </a:cubicBezTo>
                  <a:cubicBezTo>
                    <a:pt x="181" y="291"/>
                    <a:pt x="181" y="291"/>
                    <a:pt x="181" y="291"/>
                  </a:cubicBezTo>
                  <a:cubicBezTo>
                    <a:pt x="181" y="289"/>
                    <a:pt x="181" y="289"/>
                    <a:pt x="181" y="289"/>
                  </a:cubicBezTo>
                  <a:cubicBezTo>
                    <a:pt x="340" y="289"/>
                    <a:pt x="340" y="289"/>
                    <a:pt x="340" y="289"/>
                  </a:cubicBezTo>
                  <a:cubicBezTo>
                    <a:pt x="340" y="291"/>
                    <a:pt x="340" y="291"/>
                    <a:pt x="340" y="291"/>
                  </a:cubicBezTo>
                  <a:cubicBezTo>
                    <a:pt x="340" y="295"/>
                    <a:pt x="340" y="295"/>
                    <a:pt x="340" y="295"/>
                  </a:cubicBezTo>
                  <a:cubicBezTo>
                    <a:pt x="331" y="300"/>
                    <a:pt x="325" y="309"/>
                    <a:pt x="325" y="320"/>
                  </a:cubicBezTo>
                  <a:cubicBezTo>
                    <a:pt x="325" y="335"/>
                    <a:pt x="338" y="348"/>
                    <a:pt x="353" y="348"/>
                  </a:cubicBezTo>
                  <a:cubicBezTo>
                    <a:pt x="368" y="348"/>
                    <a:pt x="381" y="335"/>
                    <a:pt x="381" y="320"/>
                  </a:cubicBezTo>
                  <a:cubicBezTo>
                    <a:pt x="381" y="309"/>
                    <a:pt x="375" y="300"/>
                    <a:pt x="366" y="295"/>
                  </a:cubicBezTo>
                  <a:cubicBezTo>
                    <a:pt x="366" y="291"/>
                    <a:pt x="366" y="291"/>
                    <a:pt x="366" y="291"/>
                  </a:cubicBezTo>
                  <a:cubicBezTo>
                    <a:pt x="366" y="289"/>
                    <a:pt x="366" y="289"/>
                    <a:pt x="366" y="289"/>
                  </a:cubicBezTo>
                  <a:cubicBezTo>
                    <a:pt x="387" y="289"/>
                    <a:pt x="387" y="289"/>
                    <a:pt x="387" y="289"/>
                  </a:cubicBezTo>
                  <a:cubicBezTo>
                    <a:pt x="391" y="289"/>
                    <a:pt x="395" y="285"/>
                    <a:pt x="395" y="280"/>
                  </a:cubicBezTo>
                  <a:cubicBezTo>
                    <a:pt x="395" y="278"/>
                    <a:pt x="394" y="276"/>
                    <a:pt x="393" y="275"/>
                  </a:cubicBezTo>
                  <a:cubicBezTo>
                    <a:pt x="393" y="275"/>
                    <a:pt x="393" y="275"/>
                    <a:pt x="393" y="275"/>
                  </a:cubicBezTo>
                  <a:cubicBezTo>
                    <a:pt x="393" y="274"/>
                    <a:pt x="393" y="274"/>
                    <a:pt x="393" y="274"/>
                  </a:cubicBezTo>
                  <a:cubicBezTo>
                    <a:pt x="392" y="274"/>
                    <a:pt x="392" y="274"/>
                    <a:pt x="392" y="274"/>
                  </a:cubicBezTo>
                  <a:cubicBezTo>
                    <a:pt x="392" y="274"/>
                    <a:pt x="392" y="273"/>
                    <a:pt x="391" y="273"/>
                  </a:cubicBezTo>
                  <a:cubicBezTo>
                    <a:pt x="391" y="273"/>
                    <a:pt x="391" y="273"/>
                    <a:pt x="390" y="273"/>
                  </a:cubicBezTo>
                  <a:cubicBezTo>
                    <a:pt x="390" y="273"/>
                    <a:pt x="390" y="273"/>
                    <a:pt x="390" y="273"/>
                  </a:cubicBezTo>
                  <a:cubicBezTo>
                    <a:pt x="390" y="272"/>
                    <a:pt x="389" y="272"/>
                    <a:pt x="389" y="272"/>
                  </a:cubicBezTo>
                  <a:cubicBezTo>
                    <a:pt x="389" y="272"/>
                    <a:pt x="389" y="272"/>
                    <a:pt x="388" y="272"/>
                  </a:cubicBezTo>
                  <a:cubicBezTo>
                    <a:pt x="388" y="272"/>
                    <a:pt x="387" y="272"/>
                    <a:pt x="387" y="272"/>
                  </a:cubicBezTo>
                  <a:cubicBezTo>
                    <a:pt x="135" y="272"/>
                    <a:pt x="135" y="272"/>
                    <a:pt x="135" y="272"/>
                  </a:cubicBezTo>
                  <a:cubicBezTo>
                    <a:pt x="153" y="242"/>
                    <a:pt x="153" y="242"/>
                    <a:pt x="153" y="242"/>
                  </a:cubicBezTo>
                  <a:cubicBezTo>
                    <a:pt x="153" y="242"/>
                    <a:pt x="153" y="242"/>
                    <a:pt x="153" y="242"/>
                  </a:cubicBezTo>
                  <a:cubicBezTo>
                    <a:pt x="153" y="242"/>
                    <a:pt x="153" y="242"/>
                    <a:pt x="153" y="242"/>
                  </a:cubicBezTo>
                  <a:cubicBezTo>
                    <a:pt x="154" y="240"/>
                    <a:pt x="155" y="237"/>
                    <a:pt x="154" y="234"/>
                  </a:cubicBezTo>
                  <a:cubicBezTo>
                    <a:pt x="148" y="220"/>
                    <a:pt x="148" y="220"/>
                    <a:pt x="148" y="220"/>
                  </a:cubicBezTo>
                  <a:cubicBezTo>
                    <a:pt x="148" y="220"/>
                    <a:pt x="148" y="220"/>
                    <a:pt x="148" y="220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7" y="238"/>
                    <a:pt x="178" y="238"/>
                    <a:pt x="180" y="238"/>
                  </a:cubicBezTo>
                  <a:cubicBezTo>
                    <a:pt x="180" y="238"/>
                    <a:pt x="180" y="238"/>
                    <a:pt x="180" y="238"/>
                  </a:cubicBezTo>
                  <a:cubicBezTo>
                    <a:pt x="382" y="229"/>
                    <a:pt x="382" y="229"/>
                    <a:pt x="382" y="229"/>
                  </a:cubicBezTo>
                  <a:cubicBezTo>
                    <a:pt x="383" y="229"/>
                    <a:pt x="384" y="229"/>
                    <a:pt x="385" y="228"/>
                  </a:cubicBezTo>
                  <a:cubicBezTo>
                    <a:pt x="405" y="218"/>
                    <a:pt x="405" y="218"/>
                    <a:pt x="405" y="218"/>
                  </a:cubicBezTo>
                  <a:cubicBezTo>
                    <a:pt x="407" y="217"/>
                    <a:pt x="409" y="215"/>
                    <a:pt x="409" y="212"/>
                  </a:cubicBezTo>
                  <a:cubicBezTo>
                    <a:pt x="430" y="85"/>
                    <a:pt x="430" y="85"/>
                    <a:pt x="430" y="85"/>
                  </a:cubicBezTo>
                  <a:cubicBezTo>
                    <a:pt x="430" y="84"/>
                    <a:pt x="430" y="83"/>
                    <a:pt x="430" y="82"/>
                  </a:cubicBezTo>
                  <a:lnTo>
                    <a:pt x="430" y="81"/>
                  </a:lnTo>
                  <a:close/>
                  <a:moveTo>
                    <a:pt x="140" y="79"/>
                  </a:moveTo>
                  <a:cubicBezTo>
                    <a:pt x="134" y="85"/>
                    <a:pt x="134" y="85"/>
                    <a:pt x="134" y="85"/>
                  </a:cubicBezTo>
                  <a:cubicBezTo>
                    <a:pt x="127" y="78"/>
                    <a:pt x="127" y="78"/>
                    <a:pt x="127" y="78"/>
                  </a:cubicBezTo>
                  <a:lnTo>
                    <a:pt x="140" y="79"/>
                  </a:lnTo>
                  <a:close/>
                  <a:moveTo>
                    <a:pt x="118" y="101"/>
                  </a:moveTo>
                  <a:cubicBezTo>
                    <a:pt x="116" y="95"/>
                    <a:pt x="116" y="95"/>
                    <a:pt x="116" y="95"/>
                  </a:cubicBezTo>
                  <a:cubicBezTo>
                    <a:pt x="120" y="99"/>
                    <a:pt x="120" y="99"/>
                    <a:pt x="120" y="99"/>
                  </a:cubicBezTo>
                  <a:lnTo>
                    <a:pt x="118" y="101"/>
                  </a:lnTo>
                  <a:close/>
                  <a:moveTo>
                    <a:pt x="134" y="136"/>
                  </a:moveTo>
                  <a:cubicBezTo>
                    <a:pt x="131" y="134"/>
                    <a:pt x="131" y="134"/>
                    <a:pt x="131" y="134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34" y="113"/>
                    <a:pt x="134" y="113"/>
                    <a:pt x="134" y="113"/>
                  </a:cubicBezTo>
                  <a:cubicBezTo>
                    <a:pt x="145" y="125"/>
                    <a:pt x="145" y="125"/>
                    <a:pt x="145" y="125"/>
                  </a:cubicBezTo>
                  <a:lnTo>
                    <a:pt x="134" y="136"/>
                  </a:lnTo>
                  <a:close/>
                  <a:moveTo>
                    <a:pt x="339" y="113"/>
                  </a:moveTo>
                  <a:cubicBezTo>
                    <a:pt x="351" y="125"/>
                    <a:pt x="351" y="125"/>
                    <a:pt x="351" y="125"/>
                  </a:cubicBezTo>
                  <a:cubicBezTo>
                    <a:pt x="339" y="136"/>
                    <a:pt x="339" y="136"/>
                    <a:pt x="339" y="136"/>
                  </a:cubicBezTo>
                  <a:cubicBezTo>
                    <a:pt x="327" y="125"/>
                    <a:pt x="327" y="125"/>
                    <a:pt x="327" y="125"/>
                  </a:cubicBezTo>
                  <a:lnTo>
                    <a:pt x="339" y="113"/>
                  </a:lnTo>
                  <a:close/>
                  <a:moveTo>
                    <a:pt x="311" y="90"/>
                  </a:moveTo>
                  <a:cubicBezTo>
                    <a:pt x="316" y="90"/>
                    <a:pt x="316" y="90"/>
                    <a:pt x="316" y="90"/>
                  </a:cubicBezTo>
                  <a:cubicBezTo>
                    <a:pt x="325" y="99"/>
                    <a:pt x="325" y="99"/>
                    <a:pt x="325" y="99"/>
                  </a:cubicBezTo>
                  <a:cubicBezTo>
                    <a:pt x="313" y="111"/>
                    <a:pt x="313" y="111"/>
                    <a:pt x="313" y="111"/>
                  </a:cubicBezTo>
                  <a:cubicBezTo>
                    <a:pt x="302" y="99"/>
                    <a:pt x="302" y="99"/>
                    <a:pt x="302" y="99"/>
                  </a:cubicBezTo>
                  <a:lnTo>
                    <a:pt x="311" y="90"/>
                  </a:lnTo>
                  <a:close/>
                  <a:moveTo>
                    <a:pt x="211" y="87"/>
                  </a:moveTo>
                  <a:cubicBezTo>
                    <a:pt x="222" y="99"/>
                    <a:pt x="222" y="99"/>
                    <a:pt x="222" y="99"/>
                  </a:cubicBezTo>
                  <a:cubicBezTo>
                    <a:pt x="211" y="111"/>
                    <a:pt x="211" y="111"/>
                    <a:pt x="211" y="111"/>
                  </a:cubicBezTo>
                  <a:cubicBezTo>
                    <a:pt x="199" y="99"/>
                    <a:pt x="199" y="99"/>
                    <a:pt x="199" y="99"/>
                  </a:cubicBezTo>
                  <a:lnTo>
                    <a:pt x="211" y="87"/>
                  </a:lnTo>
                  <a:close/>
                  <a:moveTo>
                    <a:pt x="188" y="82"/>
                  </a:moveTo>
                  <a:cubicBezTo>
                    <a:pt x="185" y="85"/>
                    <a:pt x="185" y="85"/>
                    <a:pt x="185" y="85"/>
                  </a:cubicBezTo>
                  <a:cubicBezTo>
                    <a:pt x="182" y="81"/>
                    <a:pt x="182" y="81"/>
                    <a:pt x="182" y="81"/>
                  </a:cubicBezTo>
                  <a:lnTo>
                    <a:pt x="188" y="82"/>
                  </a:lnTo>
                  <a:close/>
                  <a:moveTo>
                    <a:pt x="160" y="87"/>
                  </a:moveTo>
                  <a:cubicBezTo>
                    <a:pt x="171" y="99"/>
                    <a:pt x="171" y="99"/>
                    <a:pt x="171" y="99"/>
                  </a:cubicBezTo>
                  <a:cubicBezTo>
                    <a:pt x="160" y="111"/>
                    <a:pt x="160" y="111"/>
                    <a:pt x="160" y="111"/>
                  </a:cubicBezTo>
                  <a:cubicBezTo>
                    <a:pt x="148" y="99"/>
                    <a:pt x="148" y="99"/>
                    <a:pt x="148" y="99"/>
                  </a:cubicBezTo>
                  <a:lnTo>
                    <a:pt x="160" y="87"/>
                  </a:lnTo>
                  <a:close/>
                  <a:moveTo>
                    <a:pt x="166" y="207"/>
                  </a:moveTo>
                  <a:cubicBezTo>
                    <a:pt x="159" y="203"/>
                    <a:pt x="159" y="203"/>
                    <a:pt x="159" y="203"/>
                  </a:cubicBezTo>
                  <a:cubicBezTo>
                    <a:pt x="156" y="194"/>
                    <a:pt x="156" y="194"/>
                    <a:pt x="156" y="194"/>
                  </a:cubicBezTo>
                  <a:cubicBezTo>
                    <a:pt x="160" y="190"/>
                    <a:pt x="160" y="190"/>
                    <a:pt x="160" y="190"/>
                  </a:cubicBezTo>
                  <a:cubicBezTo>
                    <a:pt x="171" y="202"/>
                    <a:pt x="171" y="202"/>
                    <a:pt x="171" y="202"/>
                  </a:cubicBezTo>
                  <a:lnTo>
                    <a:pt x="166" y="207"/>
                  </a:lnTo>
                  <a:close/>
                  <a:moveTo>
                    <a:pt x="160" y="162"/>
                  </a:moveTo>
                  <a:cubicBezTo>
                    <a:pt x="148" y="150"/>
                    <a:pt x="148" y="150"/>
                    <a:pt x="148" y="150"/>
                  </a:cubicBezTo>
                  <a:cubicBezTo>
                    <a:pt x="160" y="139"/>
                    <a:pt x="160" y="139"/>
                    <a:pt x="160" y="139"/>
                  </a:cubicBezTo>
                  <a:cubicBezTo>
                    <a:pt x="171" y="150"/>
                    <a:pt x="171" y="150"/>
                    <a:pt x="171" y="150"/>
                  </a:cubicBezTo>
                  <a:lnTo>
                    <a:pt x="160" y="162"/>
                  </a:lnTo>
                  <a:close/>
                  <a:moveTo>
                    <a:pt x="185" y="216"/>
                  </a:moveTo>
                  <a:cubicBezTo>
                    <a:pt x="185" y="216"/>
                    <a:pt x="185" y="216"/>
                    <a:pt x="185" y="216"/>
                  </a:cubicBezTo>
                  <a:cubicBezTo>
                    <a:pt x="186" y="216"/>
                    <a:pt x="186" y="216"/>
                    <a:pt x="186" y="216"/>
                  </a:cubicBezTo>
                  <a:lnTo>
                    <a:pt x="185" y="216"/>
                  </a:lnTo>
                  <a:close/>
                  <a:moveTo>
                    <a:pt x="185" y="188"/>
                  </a:moveTo>
                  <a:cubicBezTo>
                    <a:pt x="174" y="176"/>
                    <a:pt x="174" y="176"/>
                    <a:pt x="174" y="176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97" y="176"/>
                    <a:pt x="197" y="176"/>
                    <a:pt x="197" y="176"/>
                  </a:cubicBezTo>
                  <a:lnTo>
                    <a:pt x="185" y="188"/>
                  </a:lnTo>
                  <a:close/>
                  <a:moveTo>
                    <a:pt x="185" y="136"/>
                  </a:moveTo>
                  <a:cubicBezTo>
                    <a:pt x="174" y="125"/>
                    <a:pt x="174" y="125"/>
                    <a:pt x="174" y="125"/>
                  </a:cubicBezTo>
                  <a:cubicBezTo>
                    <a:pt x="185" y="113"/>
                    <a:pt x="185" y="113"/>
                    <a:pt x="185" y="113"/>
                  </a:cubicBezTo>
                  <a:cubicBezTo>
                    <a:pt x="197" y="125"/>
                    <a:pt x="197" y="125"/>
                    <a:pt x="197" y="125"/>
                  </a:cubicBezTo>
                  <a:lnTo>
                    <a:pt x="185" y="136"/>
                  </a:lnTo>
                  <a:close/>
                  <a:moveTo>
                    <a:pt x="211" y="213"/>
                  </a:moveTo>
                  <a:cubicBezTo>
                    <a:pt x="199" y="202"/>
                    <a:pt x="199" y="202"/>
                    <a:pt x="199" y="202"/>
                  </a:cubicBezTo>
                  <a:cubicBezTo>
                    <a:pt x="211" y="190"/>
                    <a:pt x="211" y="190"/>
                    <a:pt x="211" y="190"/>
                  </a:cubicBezTo>
                  <a:cubicBezTo>
                    <a:pt x="222" y="202"/>
                    <a:pt x="222" y="202"/>
                    <a:pt x="222" y="202"/>
                  </a:cubicBezTo>
                  <a:lnTo>
                    <a:pt x="211" y="213"/>
                  </a:lnTo>
                  <a:close/>
                  <a:moveTo>
                    <a:pt x="211" y="162"/>
                  </a:moveTo>
                  <a:cubicBezTo>
                    <a:pt x="199" y="150"/>
                    <a:pt x="199" y="150"/>
                    <a:pt x="199" y="150"/>
                  </a:cubicBezTo>
                  <a:cubicBezTo>
                    <a:pt x="211" y="139"/>
                    <a:pt x="211" y="139"/>
                    <a:pt x="211" y="139"/>
                  </a:cubicBezTo>
                  <a:cubicBezTo>
                    <a:pt x="222" y="150"/>
                    <a:pt x="222" y="150"/>
                    <a:pt x="222" y="150"/>
                  </a:cubicBezTo>
                  <a:lnTo>
                    <a:pt x="211" y="162"/>
                  </a:lnTo>
                  <a:close/>
                  <a:moveTo>
                    <a:pt x="236" y="188"/>
                  </a:moveTo>
                  <a:cubicBezTo>
                    <a:pt x="225" y="176"/>
                    <a:pt x="225" y="176"/>
                    <a:pt x="225" y="176"/>
                  </a:cubicBezTo>
                  <a:cubicBezTo>
                    <a:pt x="236" y="164"/>
                    <a:pt x="236" y="164"/>
                    <a:pt x="236" y="164"/>
                  </a:cubicBezTo>
                  <a:cubicBezTo>
                    <a:pt x="248" y="176"/>
                    <a:pt x="248" y="176"/>
                    <a:pt x="248" y="176"/>
                  </a:cubicBezTo>
                  <a:lnTo>
                    <a:pt x="236" y="188"/>
                  </a:lnTo>
                  <a:close/>
                  <a:moveTo>
                    <a:pt x="236" y="136"/>
                  </a:moveTo>
                  <a:cubicBezTo>
                    <a:pt x="225" y="125"/>
                    <a:pt x="225" y="125"/>
                    <a:pt x="225" y="125"/>
                  </a:cubicBezTo>
                  <a:cubicBezTo>
                    <a:pt x="236" y="113"/>
                    <a:pt x="236" y="113"/>
                    <a:pt x="236" y="113"/>
                  </a:cubicBezTo>
                  <a:cubicBezTo>
                    <a:pt x="248" y="125"/>
                    <a:pt x="248" y="125"/>
                    <a:pt x="248" y="125"/>
                  </a:cubicBezTo>
                  <a:lnTo>
                    <a:pt x="236" y="136"/>
                  </a:lnTo>
                  <a:close/>
                  <a:moveTo>
                    <a:pt x="262" y="87"/>
                  </a:moveTo>
                  <a:cubicBezTo>
                    <a:pt x="274" y="99"/>
                    <a:pt x="274" y="99"/>
                    <a:pt x="274" y="99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51" y="99"/>
                    <a:pt x="251" y="99"/>
                    <a:pt x="251" y="99"/>
                  </a:cubicBezTo>
                  <a:lnTo>
                    <a:pt x="262" y="87"/>
                  </a:lnTo>
                  <a:close/>
                  <a:moveTo>
                    <a:pt x="263" y="213"/>
                  </a:moveTo>
                  <a:cubicBezTo>
                    <a:pt x="262" y="213"/>
                    <a:pt x="262" y="213"/>
                    <a:pt x="262" y="213"/>
                  </a:cubicBezTo>
                  <a:cubicBezTo>
                    <a:pt x="251" y="202"/>
                    <a:pt x="251" y="202"/>
                    <a:pt x="251" y="202"/>
                  </a:cubicBezTo>
                  <a:cubicBezTo>
                    <a:pt x="262" y="190"/>
                    <a:pt x="262" y="190"/>
                    <a:pt x="262" y="190"/>
                  </a:cubicBezTo>
                  <a:cubicBezTo>
                    <a:pt x="274" y="202"/>
                    <a:pt x="274" y="202"/>
                    <a:pt x="274" y="202"/>
                  </a:cubicBezTo>
                  <a:lnTo>
                    <a:pt x="263" y="213"/>
                  </a:lnTo>
                  <a:close/>
                  <a:moveTo>
                    <a:pt x="262" y="162"/>
                  </a:moveTo>
                  <a:cubicBezTo>
                    <a:pt x="251" y="150"/>
                    <a:pt x="251" y="150"/>
                    <a:pt x="251" y="150"/>
                  </a:cubicBezTo>
                  <a:cubicBezTo>
                    <a:pt x="262" y="139"/>
                    <a:pt x="262" y="139"/>
                    <a:pt x="262" y="139"/>
                  </a:cubicBezTo>
                  <a:cubicBezTo>
                    <a:pt x="274" y="150"/>
                    <a:pt x="274" y="150"/>
                    <a:pt x="274" y="150"/>
                  </a:cubicBezTo>
                  <a:lnTo>
                    <a:pt x="262" y="162"/>
                  </a:lnTo>
                  <a:close/>
                  <a:moveTo>
                    <a:pt x="288" y="188"/>
                  </a:moveTo>
                  <a:cubicBezTo>
                    <a:pt x="276" y="176"/>
                    <a:pt x="276" y="176"/>
                    <a:pt x="276" y="176"/>
                  </a:cubicBezTo>
                  <a:cubicBezTo>
                    <a:pt x="288" y="164"/>
                    <a:pt x="288" y="164"/>
                    <a:pt x="288" y="164"/>
                  </a:cubicBezTo>
                  <a:cubicBezTo>
                    <a:pt x="299" y="176"/>
                    <a:pt x="299" y="176"/>
                    <a:pt x="299" y="176"/>
                  </a:cubicBezTo>
                  <a:lnTo>
                    <a:pt x="288" y="188"/>
                  </a:lnTo>
                  <a:close/>
                  <a:moveTo>
                    <a:pt x="288" y="136"/>
                  </a:moveTo>
                  <a:cubicBezTo>
                    <a:pt x="276" y="125"/>
                    <a:pt x="276" y="125"/>
                    <a:pt x="276" y="125"/>
                  </a:cubicBezTo>
                  <a:cubicBezTo>
                    <a:pt x="288" y="113"/>
                    <a:pt x="288" y="113"/>
                    <a:pt x="288" y="113"/>
                  </a:cubicBezTo>
                  <a:cubicBezTo>
                    <a:pt x="299" y="125"/>
                    <a:pt x="299" y="125"/>
                    <a:pt x="299" y="125"/>
                  </a:cubicBezTo>
                  <a:lnTo>
                    <a:pt x="288" y="136"/>
                  </a:lnTo>
                  <a:close/>
                  <a:moveTo>
                    <a:pt x="316" y="211"/>
                  </a:moveTo>
                  <a:cubicBezTo>
                    <a:pt x="311" y="211"/>
                    <a:pt x="311" y="211"/>
                    <a:pt x="311" y="211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13" y="190"/>
                    <a:pt x="313" y="190"/>
                    <a:pt x="313" y="190"/>
                  </a:cubicBezTo>
                  <a:cubicBezTo>
                    <a:pt x="325" y="202"/>
                    <a:pt x="325" y="202"/>
                    <a:pt x="325" y="202"/>
                  </a:cubicBezTo>
                  <a:lnTo>
                    <a:pt x="316" y="211"/>
                  </a:lnTo>
                  <a:close/>
                  <a:moveTo>
                    <a:pt x="313" y="162"/>
                  </a:moveTo>
                  <a:cubicBezTo>
                    <a:pt x="302" y="150"/>
                    <a:pt x="302" y="150"/>
                    <a:pt x="302" y="150"/>
                  </a:cubicBezTo>
                  <a:cubicBezTo>
                    <a:pt x="313" y="139"/>
                    <a:pt x="313" y="139"/>
                    <a:pt x="313" y="139"/>
                  </a:cubicBezTo>
                  <a:cubicBezTo>
                    <a:pt x="325" y="150"/>
                    <a:pt x="325" y="150"/>
                    <a:pt x="325" y="150"/>
                  </a:cubicBezTo>
                  <a:lnTo>
                    <a:pt x="313" y="162"/>
                  </a:lnTo>
                  <a:close/>
                  <a:moveTo>
                    <a:pt x="339" y="188"/>
                  </a:moveTo>
                  <a:cubicBezTo>
                    <a:pt x="327" y="176"/>
                    <a:pt x="327" y="176"/>
                    <a:pt x="327" y="176"/>
                  </a:cubicBezTo>
                  <a:cubicBezTo>
                    <a:pt x="339" y="164"/>
                    <a:pt x="339" y="164"/>
                    <a:pt x="339" y="164"/>
                  </a:cubicBezTo>
                  <a:cubicBezTo>
                    <a:pt x="351" y="176"/>
                    <a:pt x="351" y="176"/>
                    <a:pt x="351" y="176"/>
                  </a:cubicBezTo>
                  <a:lnTo>
                    <a:pt x="339" y="188"/>
                  </a:lnTo>
                  <a:close/>
                  <a:moveTo>
                    <a:pt x="370" y="208"/>
                  </a:moveTo>
                  <a:cubicBezTo>
                    <a:pt x="360" y="209"/>
                    <a:pt x="360" y="209"/>
                    <a:pt x="360" y="209"/>
                  </a:cubicBezTo>
                  <a:cubicBezTo>
                    <a:pt x="353" y="202"/>
                    <a:pt x="353" y="202"/>
                    <a:pt x="353" y="202"/>
                  </a:cubicBezTo>
                  <a:cubicBezTo>
                    <a:pt x="365" y="190"/>
                    <a:pt x="365" y="190"/>
                    <a:pt x="365" y="190"/>
                  </a:cubicBezTo>
                  <a:cubicBezTo>
                    <a:pt x="376" y="202"/>
                    <a:pt x="376" y="202"/>
                    <a:pt x="376" y="202"/>
                  </a:cubicBezTo>
                  <a:lnTo>
                    <a:pt x="370" y="208"/>
                  </a:lnTo>
                  <a:close/>
                  <a:moveTo>
                    <a:pt x="365" y="162"/>
                  </a:moveTo>
                  <a:cubicBezTo>
                    <a:pt x="353" y="150"/>
                    <a:pt x="353" y="150"/>
                    <a:pt x="353" y="150"/>
                  </a:cubicBezTo>
                  <a:cubicBezTo>
                    <a:pt x="365" y="139"/>
                    <a:pt x="365" y="139"/>
                    <a:pt x="365" y="139"/>
                  </a:cubicBezTo>
                  <a:cubicBezTo>
                    <a:pt x="376" y="150"/>
                    <a:pt x="376" y="150"/>
                    <a:pt x="376" y="150"/>
                  </a:cubicBezTo>
                  <a:lnTo>
                    <a:pt x="365" y="162"/>
                  </a:lnTo>
                  <a:close/>
                  <a:moveTo>
                    <a:pt x="365" y="111"/>
                  </a:moveTo>
                  <a:cubicBezTo>
                    <a:pt x="353" y="99"/>
                    <a:pt x="353" y="99"/>
                    <a:pt x="353" y="99"/>
                  </a:cubicBezTo>
                  <a:cubicBezTo>
                    <a:pt x="359" y="93"/>
                    <a:pt x="359" y="93"/>
                    <a:pt x="359" y="93"/>
                  </a:cubicBezTo>
                  <a:cubicBezTo>
                    <a:pt x="371" y="94"/>
                    <a:pt x="371" y="94"/>
                    <a:pt x="371" y="94"/>
                  </a:cubicBezTo>
                  <a:cubicBezTo>
                    <a:pt x="376" y="99"/>
                    <a:pt x="376" y="99"/>
                    <a:pt x="376" y="99"/>
                  </a:cubicBezTo>
                  <a:lnTo>
                    <a:pt x="365" y="111"/>
                  </a:lnTo>
                  <a:close/>
                  <a:moveTo>
                    <a:pt x="396" y="182"/>
                  </a:moveTo>
                  <a:cubicBezTo>
                    <a:pt x="390" y="188"/>
                    <a:pt x="390" y="188"/>
                    <a:pt x="390" y="188"/>
                  </a:cubicBezTo>
                  <a:cubicBezTo>
                    <a:pt x="379" y="176"/>
                    <a:pt x="379" y="176"/>
                    <a:pt x="379" y="176"/>
                  </a:cubicBezTo>
                  <a:cubicBezTo>
                    <a:pt x="390" y="164"/>
                    <a:pt x="390" y="164"/>
                    <a:pt x="390" y="164"/>
                  </a:cubicBezTo>
                  <a:cubicBezTo>
                    <a:pt x="398" y="172"/>
                    <a:pt x="398" y="172"/>
                    <a:pt x="398" y="172"/>
                  </a:cubicBezTo>
                  <a:lnTo>
                    <a:pt x="396" y="182"/>
                  </a:lnTo>
                  <a:close/>
                  <a:moveTo>
                    <a:pt x="390" y="136"/>
                  </a:moveTo>
                  <a:cubicBezTo>
                    <a:pt x="379" y="125"/>
                    <a:pt x="379" y="125"/>
                    <a:pt x="379" y="125"/>
                  </a:cubicBezTo>
                  <a:cubicBezTo>
                    <a:pt x="390" y="113"/>
                    <a:pt x="390" y="113"/>
                    <a:pt x="390" y="113"/>
                  </a:cubicBezTo>
                  <a:cubicBezTo>
                    <a:pt x="402" y="125"/>
                    <a:pt x="402" y="125"/>
                    <a:pt x="402" y="125"/>
                  </a:cubicBezTo>
                  <a:lnTo>
                    <a:pt x="390" y="136"/>
                  </a:lnTo>
                  <a:close/>
                  <a:moveTo>
                    <a:pt x="409" y="103"/>
                  </a:moveTo>
                  <a:cubicBezTo>
                    <a:pt x="404" y="99"/>
                    <a:pt x="404" y="99"/>
                    <a:pt x="404" y="99"/>
                  </a:cubicBezTo>
                  <a:cubicBezTo>
                    <a:pt x="407" y="96"/>
                    <a:pt x="407" y="96"/>
                    <a:pt x="407" y="96"/>
                  </a:cubicBezTo>
                  <a:cubicBezTo>
                    <a:pt x="410" y="97"/>
                    <a:pt x="410" y="97"/>
                    <a:pt x="410" y="97"/>
                  </a:cubicBezTo>
                  <a:lnTo>
                    <a:pt x="409" y="103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9" name="Freeform 35"/>
            <p:cNvSpPr>
              <a:spLocks noEditPoints="1"/>
            </p:cNvSpPr>
            <p:nvPr/>
          </p:nvSpPr>
          <p:spPr bwMode="auto">
            <a:xfrm flipH="1">
              <a:off x="1400251" y="4275551"/>
              <a:ext cx="523808" cy="423903"/>
            </a:xfrm>
            <a:custGeom>
              <a:avLst/>
              <a:gdLst>
                <a:gd name="T0" fmla="*/ 92 w 430"/>
                <a:gd name="T1" fmla="*/ 49 h 348"/>
                <a:gd name="T2" fmla="*/ 71 w 430"/>
                <a:gd name="T3" fmla="*/ 31 h 348"/>
                <a:gd name="T4" fmla="*/ 32 w 430"/>
                <a:gd name="T5" fmla="*/ 11 h 348"/>
                <a:gd name="T6" fmla="*/ 24 w 430"/>
                <a:gd name="T7" fmla="*/ 31 h 348"/>
                <a:gd name="T8" fmla="*/ 134 w 430"/>
                <a:gd name="T9" fmla="*/ 240 h 348"/>
                <a:gd name="T10" fmla="*/ 155 w 430"/>
                <a:gd name="T11" fmla="*/ 289 h 348"/>
                <a:gd name="T12" fmla="*/ 141 w 430"/>
                <a:gd name="T13" fmla="*/ 314 h 348"/>
                <a:gd name="T14" fmla="*/ 140 w 430"/>
                <a:gd name="T15" fmla="*/ 320 h 348"/>
                <a:gd name="T16" fmla="*/ 195 w 430"/>
                <a:gd name="T17" fmla="*/ 317 h 348"/>
                <a:gd name="T18" fmla="*/ 181 w 430"/>
                <a:gd name="T19" fmla="*/ 295 h 348"/>
                <a:gd name="T20" fmla="*/ 340 w 430"/>
                <a:gd name="T21" fmla="*/ 291 h 348"/>
                <a:gd name="T22" fmla="*/ 381 w 430"/>
                <a:gd name="T23" fmla="*/ 320 h 348"/>
                <a:gd name="T24" fmla="*/ 387 w 430"/>
                <a:gd name="T25" fmla="*/ 289 h 348"/>
                <a:gd name="T26" fmla="*/ 393 w 430"/>
                <a:gd name="T27" fmla="*/ 274 h 348"/>
                <a:gd name="T28" fmla="*/ 390 w 430"/>
                <a:gd name="T29" fmla="*/ 273 h 348"/>
                <a:gd name="T30" fmla="*/ 135 w 430"/>
                <a:gd name="T31" fmla="*/ 272 h 348"/>
                <a:gd name="T32" fmla="*/ 154 w 430"/>
                <a:gd name="T33" fmla="*/ 234 h 348"/>
                <a:gd name="T34" fmla="*/ 180 w 430"/>
                <a:gd name="T35" fmla="*/ 238 h 348"/>
                <a:gd name="T36" fmla="*/ 405 w 430"/>
                <a:gd name="T37" fmla="*/ 218 h 348"/>
                <a:gd name="T38" fmla="*/ 430 w 430"/>
                <a:gd name="T39" fmla="*/ 81 h 348"/>
                <a:gd name="T40" fmla="*/ 140 w 430"/>
                <a:gd name="T41" fmla="*/ 79 h 348"/>
                <a:gd name="T42" fmla="*/ 118 w 430"/>
                <a:gd name="T43" fmla="*/ 101 h 348"/>
                <a:gd name="T44" fmla="*/ 134 w 430"/>
                <a:gd name="T45" fmla="*/ 113 h 348"/>
                <a:gd name="T46" fmla="*/ 351 w 430"/>
                <a:gd name="T47" fmla="*/ 125 h 348"/>
                <a:gd name="T48" fmla="*/ 311 w 430"/>
                <a:gd name="T49" fmla="*/ 90 h 348"/>
                <a:gd name="T50" fmla="*/ 302 w 430"/>
                <a:gd name="T51" fmla="*/ 99 h 348"/>
                <a:gd name="T52" fmla="*/ 211 w 430"/>
                <a:gd name="T53" fmla="*/ 111 h 348"/>
                <a:gd name="T54" fmla="*/ 185 w 430"/>
                <a:gd name="T55" fmla="*/ 85 h 348"/>
                <a:gd name="T56" fmla="*/ 171 w 430"/>
                <a:gd name="T57" fmla="*/ 99 h 348"/>
                <a:gd name="T58" fmla="*/ 166 w 430"/>
                <a:gd name="T59" fmla="*/ 207 h 348"/>
                <a:gd name="T60" fmla="*/ 171 w 430"/>
                <a:gd name="T61" fmla="*/ 202 h 348"/>
                <a:gd name="T62" fmla="*/ 160 w 430"/>
                <a:gd name="T63" fmla="*/ 139 h 348"/>
                <a:gd name="T64" fmla="*/ 185 w 430"/>
                <a:gd name="T65" fmla="*/ 216 h 348"/>
                <a:gd name="T66" fmla="*/ 174 w 430"/>
                <a:gd name="T67" fmla="*/ 176 h 348"/>
                <a:gd name="T68" fmla="*/ 185 w 430"/>
                <a:gd name="T69" fmla="*/ 136 h 348"/>
                <a:gd name="T70" fmla="*/ 185 w 430"/>
                <a:gd name="T71" fmla="*/ 136 h 348"/>
                <a:gd name="T72" fmla="*/ 222 w 430"/>
                <a:gd name="T73" fmla="*/ 202 h 348"/>
                <a:gd name="T74" fmla="*/ 211 w 430"/>
                <a:gd name="T75" fmla="*/ 139 h 348"/>
                <a:gd name="T76" fmla="*/ 225 w 430"/>
                <a:gd name="T77" fmla="*/ 176 h 348"/>
                <a:gd name="T78" fmla="*/ 236 w 430"/>
                <a:gd name="T79" fmla="*/ 136 h 348"/>
                <a:gd name="T80" fmla="*/ 236 w 430"/>
                <a:gd name="T81" fmla="*/ 136 h 348"/>
                <a:gd name="T82" fmla="*/ 251 w 430"/>
                <a:gd name="T83" fmla="*/ 99 h 348"/>
                <a:gd name="T84" fmla="*/ 251 w 430"/>
                <a:gd name="T85" fmla="*/ 202 h 348"/>
                <a:gd name="T86" fmla="*/ 262 w 430"/>
                <a:gd name="T87" fmla="*/ 162 h 348"/>
                <a:gd name="T88" fmla="*/ 262 w 430"/>
                <a:gd name="T89" fmla="*/ 162 h 348"/>
                <a:gd name="T90" fmla="*/ 299 w 430"/>
                <a:gd name="T91" fmla="*/ 176 h 348"/>
                <a:gd name="T92" fmla="*/ 288 w 430"/>
                <a:gd name="T93" fmla="*/ 113 h 348"/>
                <a:gd name="T94" fmla="*/ 311 w 430"/>
                <a:gd name="T95" fmla="*/ 211 h 348"/>
                <a:gd name="T96" fmla="*/ 316 w 430"/>
                <a:gd name="T97" fmla="*/ 211 h 348"/>
                <a:gd name="T98" fmla="*/ 325 w 430"/>
                <a:gd name="T99" fmla="*/ 150 h 348"/>
                <a:gd name="T100" fmla="*/ 339 w 430"/>
                <a:gd name="T101" fmla="*/ 164 h 348"/>
                <a:gd name="T102" fmla="*/ 360 w 430"/>
                <a:gd name="T103" fmla="*/ 209 h 348"/>
                <a:gd name="T104" fmla="*/ 370 w 430"/>
                <a:gd name="T105" fmla="*/ 208 h 348"/>
                <a:gd name="T106" fmla="*/ 376 w 430"/>
                <a:gd name="T107" fmla="*/ 150 h 348"/>
                <a:gd name="T108" fmla="*/ 359 w 430"/>
                <a:gd name="T109" fmla="*/ 93 h 348"/>
                <a:gd name="T110" fmla="*/ 396 w 430"/>
                <a:gd name="T111" fmla="*/ 182 h 348"/>
                <a:gd name="T112" fmla="*/ 398 w 430"/>
                <a:gd name="T113" fmla="*/ 172 h 348"/>
                <a:gd name="T114" fmla="*/ 390 w 430"/>
                <a:gd name="T115" fmla="*/ 113 h 348"/>
                <a:gd name="T116" fmla="*/ 404 w 430"/>
                <a:gd name="T117" fmla="*/ 99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30" h="348">
                  <a:moveTo>
                    <a:pt x="430" y="81"/>
                  </a:moveTo>
                  <a:cubicBezTo>
                    <a:pt x="430" y="78"/>
                    <a:pt x="430" y="76"/>
                    <a:pt x="428" y="74"/>
                  </a:cubicBezTo>
                  <a:cubicBezTo>
                    <a:pt x="427" y="72"/>
                    <a:pt x="424" y="71"/>
                    <a:pt x="422" y="71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89" y="48"/>
                    <a:pt x="86" y="50"/>
                    <a:pt x="84" y="52"/>
                  </a:cubicBezTo>
                  <a:cubicBezTo>
                    <a:pt x="83" y="54"/>
                    <a:pt x="82" y="57"/>
                    <a:pt x="83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71" y="31"/>
                    <a:pt x="71" y="31"/>
                    <a:pt x="71" y="31"/>
                  </a:cubicBezTo>
                  <a:cubicBezTo>
                    <a:pt x="71" y="29"/>
                    <a:pt x="69" y="27"/>
                    <a:pt x="67" y="26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0" y="4"/>
                    <a:pt x="24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2"/>
                    <a:pt x="17" y="32"/>
                  </a:cubicBezTo>
                  <a:cubicBezTo>
                    <a:pt x="19" y="32"/>
                    <a:pt x="22" y="32"/>
                    <a:pt x="24" y="3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13" y="276"/>
                    <a:pt x="113" y="276"/>
                    <a:pt x="113" y="276"/>
                  </a:cubicBezTo>
                  <a:cubicBezTo>
                    <a:pt x="111" y="279"/>
                    <a:pt x="111" y="282"/>
                    <a:pt x="113" y="284"/>
                  </a:cubicBezTo>
                  <a:cubicBezTo>
                    <a:pt x="114" y="287"/>
                    <a:pt x="117" y="289"/>
                    <a:pt x="120" y="289"/>
                  </a:cubicBezTo>
                  <a:cubicBezTo>
                    <a:pt x="155" y="289"/>
                    <a:pt x="155" y="289"/>
                    <a:pt x="155" y="289"/>
                  </a:cubicBezTo>
                  <a:cubicBezTo>
                    <a:pt x="155" y="291"/>
                    <a:pt x="155" y="291"/>
                    <a:pt x="155" y="291"/>
                  </a:cubicBezTo>
                  <a:cubicBezTo>
                    <a:pt x="155" y="295"/>
                    <a:pt x="155" y="295"/>
                    <a:pt x="155" y="295"/>
                  </a:cubicBezTo>
                  <a:cubicBezTo>
                    <a:pt x="148" y="299"/>
                    <a:pt x="143" y="306"/>
                    <a:pt x="141" y="314"/>
                  </a:cubicBezTo>
                  <a:cubicBezTo>
                    <a:pt x="141" y="314"/>
                    <a:pt x="141" y="314"/>
                    <a:pt x="141" y="314"/>
                  </a:cubicBezTo>
                  <a:cubicBezTo>
                    <a:pt x="141" y="314"/>
                    <a:pt x="141" y="314"/>
                    <a:pt x="141" y="314"/>
                  </a:cubicBezTo>
                  <a:cubicBezTo>
                    <a:pt x="141" y="315"/>
                    <a:pt x="140" y="316"/>
                    <a:pt x="140" y="316"/>
                  </a:cubicBezTo>
                  <a:cubicBezTo>
                    <a:pt x="140" y="317"/>
                    <a:pt x="140" y="317"/>
                    <a:pt x="140" y="317"/>
                  </a:cubicBezTo>
                  <a:cubicBezTo>
                    <a:pt x="140" y="318"/>
                    <a:pt x="140" y="319"/>
                    <a:pt x="140" y="320"/>
                  </a:cubicBezTo>
                  <a:cubicBezTo>
                    <a:pt x="140" y="335"/>
                    <a:pt x="153" y="348"/>
                    <a:pt x="168" y="348"/>
                  </a:cubicBezTo>
                  <a:cubicBezTo>
                    <a:pt x="183" y="348"/>
                    <a:pt x="195" y="335"/>
                    <a:pt x="195" y="320"/>
                  </a:cubicBezTo>
                  <a:cubicBezTo>
                    <a:pt x="195" y="319"/>
                    <a:pt x="195" y="318"/>
                    <a:pt x="195" y="317"/>
                  </a:cubicBezTo>
                  <a:cubicBezTo>
                    <a:pt x="195" y="317"/>
                    <a:pt x="195" y="317"/>
                    <a:pt x="195" y="317"/>
                  </a:cubicBezTo>
                  <a:cubicBezTo>
                    <a:pt x="195" y="316"/>
                    <a:pt x="195" y="315"/>
                    <a:pt x="195" y="314"/>
                  </a:cubicBezTo>
                  <a:cubicBezTo>
                    <a:pt x="195" y="314"/>
                    <a:pt x="195" y="314"/>
                    <a:pt x="195" y="314"/>
                  </a:cubicBezTo>
                  <a:cubicBezTo>
                    <a:pt x="195" y="314"/>
                    <a:pt x="195" y="314"/>
                    <a:pt x="195" y="314"/>
                  </a:cubicBezTo>
                  <a:cubicBezTo>
                    <a:pt x="193" y="306"/>
                    <a:pt x="188" y="299"/>
                    <a:pt x="181" y="295"/>
                  </a:cubicBezTo>
                  <a:cubicBezTo>
                    <a:pt x="181" y="291"/>
                    <a:pt x="181" y="291"/>
                    <a:pt x="181" y="291"/>
                  </a:cubicBezTo>
                  <a:cubicBezTo>
                    <a:pt x="181" y="289"/>
                    <a:pt x="181" y="289"/>
                    <a:pt x="181" y="289"/>
                  </a:cubicBezTo>
                  <a:cubicBezTo>
                    <a:pt x="340" y="289"/>
                    <a:pt x="340" y="289"/>
                    <a:pt x="340" y="289"/>
                  </a:cubicBezTo>
                  <a:cubicBezTo>
                    <a:pt x="340" y="291"/>
                    <a:pt x="340" y="291"/>
                    <a:pt x="340" y="291"/>
                  </a:cubicBezTo>
                  <a:cubicBezTo>
                    <a:pt x="340" y="295"/>
                    <a:pt x="340" y="295"/>
                    <a:pt x="340" y="295"/>
                  </a:cubicBezTo>
                  <a:cubicBezTo>
                    <a:pt x="331" y="300"/>
                    <a:pt x="325" y="309"/>
                    <a:pt x="325" y="320"/>
                  </a:cubicBezTo>
                  <a:cubicBezTo>
                    <a:pt x="325" y="335"/>
                    <a:pt x="338" y="348"/>
                    <a:pt x="353" y="348"/>
                  </a:cubicBezTo>
                  <a:cubicBezTo>
                    <a:pt x="368" y="348"/>
                    <a:pt x="381" y="335"/>
                    <a:pt x="381" y="320"/>
                  </a:cubicBezTo>
                  <a:cubicBezTo>
                    <a:pt x="381" y="309"/>
                    <a:pt x="375" y="300"/>
                    <a:pt x="366" y="295"/>
                  </a:cubicBezTo>
                  <a:cubicBezTo>
                    <a:pt x="366" y="291"/>
                    <a:pt x="366" y="291"/>
                    <a:pt x="366" y="291"/>
                  </a:cubicBezTo>
                  <a:cubicBezTo>
                    <a:pt x="366" y="289"/>
                    <a:pt x="366" y="289"/>
                    <a:pt x="366" y="289"/>
                  </a:cubicBezTo>
                  <a:cubicBezTo>
                    <a:pt x="387" y="289"/>
                    <a:pt x="387" y="289"/>
                    <a:pt x="387" y="289"/>
                  </a:cubicBezTo>
                  <a:cubicBezTo>
                    <a:pt x="391" y="289"/>
                    <a:pt x="395" y="285"/>
                    <a:pt x="395" y="280"/>
                  </a:cubicBezTo>
                  <a:cubicBezTo>
                    <a:pt x="395" y="278"/>
                    <a:pt x="394" y="276"/>
                    <a:pt x="393" y="275"/>
                  </a:cubicBezTo>
                  <a:cubicBezTo>
                    <a:pt x="393" y="275"/>
                    <a:pt x="393" y="275"/>
                    <a:pt x="393" y="275"/>
                  </a:cubicBezTo>
                  <a:cubicBezTo>
                    <a:pt x="393" y="274"/>
                    <a:pt x="393" y="274"/>
                    <a:pt x="393" y="274"/>
                  </a:cubicBezTo>
                  <a:cubicBezTo>
                    <a:pt x="392" y="274"/>
                    <a:pt x="392" y="274"/>
                    <a:pt x="392" y="274"/>
                  </a:cubicBezTo>
                  <a:cubicBezTo>
                    <a:pt x="392" y="274"/>
                    <a:pt x="392" y="273"/>
                    <a:pt x="391" y="273"/>
                  </a:cubicBezTo>
                  <a:cubicBezTo>
                    <a:pt x="391" y="273"/>
                    <a:pt x="391" y="273"/>
                    <a:pt x="390" y="273"/>
                  </a:cubicBezTo>
                  <a:cubicBezTo>
                    <a:pt x="390" y="273"/>
                    <a:pt x="390" y="273"/>
                    <a:pt x="390" y="273"/>
                  </a:cubicBezTo>
                  <a:cubicBezTo>
                    <a:pt x="390" y="272"/>
                    <a:pt x="389" y="272"/>
                    <a:pt x="389" y="272"/>
                  </a:cubicBezTo>
                  <a:cubicBezTo>
                    <a:pt x="389" y="272"/>
                    <a:pt x="389" y="272"/>
                    <a:pt x="388" y="272"/>
                  </a:cubicBezTo>
                  <a:cubicBezTo>
                    <a:pt x="388" y="272"/>
                    <a:pt x="387" y="272"/>
                    <a:pt x="387" y="272"/>
                  </a:cubicBezTo>
                  <a:cubicBezTo>
                    <a:pt x="135" y="272"/>
                    <a:pt x="135" y="272"/>
                    <a:pt x="135" y="272"/>
                  </a:cubicBezTo>
                  <a:cubicBezTo>
                    <a:pt x="153" y="242"/>
                    <a:pt x="153" y="242"/>
                    <a:pt x="153" y="242"/>
                  </a:cubicBezTo>
                  <a:cubicBezTo>
                    <a:pt x="153" y="242"/>
                    <a:pt x="153" y="242"/>
                    <a:pt x="153" y="242"/>
                  </a:cubicBezTo>
                  <a:cubicBezTo>
                    <a:pt x="153" y="242"/>
                    <a:pt x="153" y="242"/>
                    <a:pt x="153" y="242"/>
                  </a:cubicBezTo>
                  <a:cubicBezTo>
                    <a:pt x="154" y="240"/>
                    <a:pt x="155" y="237"/>
                    <a:pt x="154" y="234"/>
                  </a:cubicBezTo>
                  <a:cubicBezTo>
                    <a:pt x="148" y="220"/>
                    <a:pt x="148" y="220"/>
                    <a:pt x="148" y="220"/>
                  </a:cubicBezTo>
                  <a:cubicBezTo>
                    <a:pt x="148" y="220"/>
                    <a:pt x="148" y="220"/>
                    <a:pt x="148" y="220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7" y="238"/>
                    <a:pt x="178" y="238"/>
                    <a:pt x="180" y="238"/>
                  </a:cubicBezTo>
                  <a:cubicBezTo>
                    <a:pt x="180" y="238"/>
                    <a:pt x="180" y="238"/>
                    <a:pt x="180" y="238"/>
                  </a:cubicBezTo>
                  <a:cubicBezTo>
                    <a:pt x="382" y="229"/>
                    <a:pt x="382" y="229"/>
                    <a:pt x="382" y="229"/>
                  </a:cubicBezTo>
                  <a:cubicBezTo>
                    <a:pt x="383" y="229"/>
                    <a:pt x="384" y="229"/>
                    <a:pt x="385" y="228"/>
                  </a:cubicBezTo>
                  <a:cubicBezTo>
                    <a:pt x="405" y="218"/>
                    <a:pt x="405" y="218"/>
                    <a:pt x="405" y="218"/>
                  </a:cubicBezTo>
                  <a:cubicBezTo>
                    <a:pt x="407" y="217"/>
                    <a:pt x="409" y="215"/>
                    <a:pt x="409" y="212"/>
                  </a:cubicBezTo>
                  <a:cubicBezTo>
                    <a:pt x="430" y="85"/>
                    <a:pt x="430" y="85"/>
                    <a:pt x="430" y="85"/>
                  </a:cubicBezTo>
                  <a:cubicBezTo>
                    <a:pt x="430" y="84"/>
                    <a:pt x="430" y="83"/>
                    <a:pt x="430" y="82"/>
                  </a:cubicBezTo>
                  <a:lnTo>
                    <a:pt x="430" y="81"/>
                  </a:lnTo>
                  <a:close/>
                  <a:moveTo>
                    <a:pt x="140" y="79"/>
                  </a:moveTo>
                  <a:cubicBezTo>
                    <a:pt x="134" y="85"/>
                    <a:pt x="134" y="85"/>
                    <a:pt x="134" y="85"/>
                  </a:cubicBezTo>
                  <a:cubicBezTo>
                    <a:pt x="127" y="78"/>
                    <a:pt x="127" y="78"/>
                    <a:pt x="127" y="78"/>
                  </a:cubicBezTo>
                  <a:lnTo>
                    <a:pt x="140" y="79"/>
                  </a:lnTo>
                  <a:close/>
                  <a:moveTo>
                    <a:pt x="118" y="101"/>
                  </a:moveTo>
                  <a:cubicBezTo>
                    <a:pt x="116" y="95"/>
                    <a:pt x="116" y="95"/>
                    <a:pt x="116" y="95"/>
                  </a:cubicBezTo>
                  <a:cubicBezTo>
                    <a:pt x="120" y="99"/>
                    <a:pt x="120" y="99"/>
                    <a:pt x="120" y="99"/>
                  </a:cubicBezTo>
                  <a:lnTo>
                    <a:pt x="118" y="101"/>
                  </a:lnTo>
                  <a:close/>
                  <a:moveTo>
                    <a:pt x="134" y="136"/>
                  </a:moveTo>
                  <a:cubicBezTo>
                    <a:pt x="131" y="134"/>
                    <a:pt x="131" y="134"/>
                    <a:pt x="131" y="134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34" y="113"/>
                    <a:pt x="134" y="113"/>
                    <a:pt x="134" y="113"/>
                  </a:cubicBezTo>
                  <a:cubicBezTo>
                    <a:pt x="145" y="125"/>
                    <a:pt x="145" y="125"/>
                    <a:pt x="145" y="125"/>
                  </a:cubicBezTo>
                  <a:lnTo>
                    <a:pt x="134" y="136"/>
                  </a:lnTo>
                  <a:close/>
                  <a:moveTo>
                    <a:pt x="339" y="113"/>
                  </a:moveTo>
                  <a:cubicBezTo>
                    <a:pt x="351" y="125"/>
                    <a:pt x="351" y="125"/>
                    <a:pt x="351" y="125"/>
                  </a:cubicBezTo>
                  <a:cubicBezTo>
                    <a:pt x="339" y="136"/>
                    <a:pt x="339" y="136"/>
                    <a:pt x="339" y="136"/>
                  </a:cubicBezTo>
                  <a:cubicBezTo>
                    <a:pt x="327" y="125"/>
                    <a:pt x="327" y="125"/>
                    <a:pt x="327" y="125"/>
                  </a:cubicBezTo>
                  <a:lnTo>
                    <a:pt x="339" y="113"/>
                  </a:lnTo>
                  <a:close/>
                  <a:moveTo>
                    <a:pt x="311" y="90"/>
                  </a:moveTo>
                  <a:cubicBezTo>
                    <a:pt x="316" y="90"/>
                    <a:pt x="316" y="90"/>
                    <a:pt x="316" y="90"/>
                  </a:cubicBezTo>
                  <a:cubicBezTo>
                    <a:pt x="325" y="99"/>
                    <a:pt x="325" y="99"/>
                    <a:pt x="325" y="99"/>
                  </a:cubicBezTo>
                  <a:cubicBezTo>
                    <a:pt x="313" y="111"/>
                    <a:pt x="313" y="111"/>
                    <a:pt x="313" y="111"/>
                  </a:cubicBezTo>
                  <a:cubicBezTo>
                    <a:pt x="302" y="99"/>
                    <a:pt x="302" y="99"/>
                    <a:pt x="302" y="99"/>
                  </a:cubicBezTo>
                  <a:lnTo>
                    <a:pt x="311" y="90"/>
                  </a:lnTo>
                  <a:close/>
                  <a:moveTo>
                    <a:pt x="211" y="87"/>
                  </a:moveTo>
                  <a:cubicBezTo>
                    <a:pt x="222" y="99"/>
                    <a:pt x="222" y="99"/>
                    <a:pt x="222" y="99"/>
                  </a:cubicBezTo>
                  <a:cubicBezTo>
                    <a:pt x="211" y="111"/>
                    <a:pt x="211" y="111"/>
                    <a:pt x="211" y="111"/>
                  </a:cubicBezTo>
                  <a:cubicBezTo>
                    <a:pt x="199" y="99"/>
                    <a:pt x="199" y="99"/>
                    <a:pt x="199" y="99"/>
                  </a:cubicBezTo>
                  <a:lnTo>
                    <a:pt x="211" y="87"/>
                  </a:lnTo>
                  <a:close/>
                  <a:moveTo>
                    <a:pt x="188" y="82"/>
                  </a:moveTo>
                  <a:cubicBezTo>
                    <a:pt x="185" y="85"/>
                    <a:pt x="185" y="85"/>
                    <a:pt x="185" y="85"/>
                  </a:cubicBezTo>
                  <a:cubicBezTo>
                    <a:pt x="182" y="81"/>
                    <a:pt x="182" y="81"/>
                    <a:pt x="182" y="81"/>
                  </a:cubicBezTo>
                  <a:lnTo>
                    <a:pt x="188" y="82"/>
                  </a:lnTo>
                  <a:close/>
                  <a:moveTo>
                    <a:pt x="160" y="87"/>
                  </a:moveTo>
                  <a:cubicBezTo>
                    <a:pt x="171" y="99"/>
                    <a:pt x="171" y="99"/>
                    <a:pt x="171" y="99"/>
                  </a:cubicBezTo>
                  <a:cubicBezTo>
                    <a:pt x="160" y="111"/>
                    <a:pt x="160" y="111"/>
                    <a:pt x="160" y="111"/>
                  </a:cubicBezTo>
                  <a:cubicBezTo>
                    <a:pt x="148" y="99"/>
                    <a:pt x="148" y="99"/>
                    <a:pt x="148" y="99"/>
                  </a:cubicBezTo>
                  <a:lnTo>
                    <a:pt x="160" y="87"/>
                  </a:lnTo>
                  <a:close/>
                  <a:moveTo>
                    <a:pt x="166" y="207"/>
                  </a:moveTo>
                  <a:cubicBezTo>
                    <a:pt x="159" y="203"/>
                    <a:pt x="159" y="203"/>
                    <a:pt x="159" y="203"/>
                  </a:cubicBezTo>
                  <a:cubicBezTo>
                    <a:pt x="156" y="194"/>
                    <a:pt x="156" y="194"/>
                    <a:pt x="156" y="194"/>
                  </a:cubicBezTo>
                  <a:cubicBezTo>
                    <a:pt x="160" y="190"/>
                    <a:pt x="160" y="190"/>
                    <a:pt x="160" y="190"/>
                  </a:cubicBezTo>
                  <a:cubicBezTo>
                    <a:pt x="171" y="202"/>
                    <a:pt x="171" y="202"/>
                    <a:pt x="171" y="202"/>
                  </a:cubicBezTo>
                  <a:lnTo>
                    <a:pt x="166" y="207"/>
                  </a:lnTo>
                  <a:close/>
                  <a:moveTo>
                    <a:pt x="160" y="162"/>
                  </a:moveTo>
                  <a:cubicBezTo>
                    <a:pt x="148" y="150"/>
                    <a:pt x="148" y="150"/>
                    <a:pt x="148" y="150"/>
                  </a:cubicBezTo>
                  <a:cubicBezTo>
                    <a:pt x="160" y="139"/>
                    <a:pt x="160" y="139"/>
                    <a:pt x="160" y="139"/>
                  </a:cubicBezTo>
                  <a:cubicBezTo>
                    <a:pt x="171" y="150"/>
                    <a:pt x="171" y="150"/>
                    <a:pt x="171" y="150"/>
                  </a:cubicBezTo>
                  <a:lnTo>
                    <a:pt x="160" y="162"/>
                  </a:lnTo>
                  <a:close/>
                  <a:moveTo>
                    <a:pt x="185" y="216"/>
                  </a:moveTo>
                  <a:cubicBezTo>
                    <a:pt x="185" y="216"/>
                    <a:pt x="185" y="216"/>
                    <a:pt x="185" y="216"/>
                  </a:cubicBezTo>
                  <a:cubicBezTo>
                    <a:pt x="186" y="216"/>
                    <a:pt x="186" y="216"/>
                    <a:pt x="186" y="216"/>
                  </a:cubicBezTo>
                  <a:lnTo>
                    <a:pt x="185" y="216"/>
                  </a:lnTo>
                  <a:close/>
                  <a:moveTo>
                    <a:pt x="185" y="188"/>
                  </a:moveTo>
                  <a:cubicBezTo>
                    <a:pt x="174" y="176"/>
                    <a:pt x="174" y="176"/>
                    <a:pt x="174" y="176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97" y="176"/>
                    <a:pt x="197" y="176"/>
                    <a:pt x="197" y="176"/>
                  </a:cubicBezTo>
                  <a:lnTo>
                    <a:pt x="185" y="188"/>
                  </a:lnTo>
                  <a:close/>
                  <a:moveTo>
                    <a:pt x="185" y="136"/>
                  </a:moveTo>
                  <a:cubicBezTo>
                    <a:pt x="174" y="125"/>
                    <a:pt x="174" y="125"/>
                    <a:pt x="174" y="125"/>
                  </a:cubicBezTo>
                  <a:cubicBezTo>
                    <a:pt x="185" y="113"/>
                    <a:pt x="185" y="113"/>
                    <a:pt x="185" y="113"/>
                  </a:cubicBezTo>
                  <a:cubicBezTo>
                    <a:pt x="197" y="125"/>
                    <a:pt x="197" y="125"/>
                    <a:pt x="197" y="125"/>
                  </a:cubicBezTo>
                  <a:lnTo>
                    <a:pt x="185" y="136"/>
                  </a:lnTo>
                  <a:close/>
                  <a:moveTo>
                    <a:pt x="211" y="213"/>
                  </a:moveTo>
                  <a:cubicBezTo>
                    <a:pt x="199" y="202"/>
                    <a:pt x="199" y="202"/>
                    <a:pt x="199" y="202"/>
                  </a:cubicBezTo>
                  <a:cubicBezTo>
                    <a:pt x="211" y="190"/>
                    <a:pt x="211" y="190"/>
                    <a:pt x="211" y="190"/>
                  </a:cubicBezTo>
                  <a:cubicBezTo>
                    <a:pt x="222" y="202"/>
                    <a:pt x="222" y="202"/>
                    <a:pt x="222" y="202"/>
                  </a:cubicBezTo>
                  <a:lnTo>
                    <a:pt x="211" y="213"/>
                  </a:lnTo>
                  <a:close/>
                  <a:moveTo>
                    <a:pt x="211" y="162"/>
                  </a:moveTo>
                  <a:cubicBezTo>
                    <a:pt x="199" y="150"/>
                    <a:pt x="199" y="150"/>
                    <a:pt x="199" y="150"/>
                  </a:cubicBezTo>
                  <a:cubicBezTo>
                    <a:pt x="211" y="139"/>
                    <a:pt x="211" y="139"/>
                    <a:pt x="211" y="139"/>
                  </a:cubicBezTo>
                  <a:cubicBezTo>
                    <a:pt x="222" y="150"/>
                    <a:pt x="222" y="150"/>
                    <a:pt x="222" y="150"/>
                  </a:cubicBezTo>
                  <a:lnTo>
                    <a:pt x="211" y="162"/>
                  </a:lnTo>
                  <a:close/>
                  <a:moveTo>
                    <a:pt x="236" y="188"/>
                  </a:moveTo>
                  <a:cubicBezTo>
                    <a:pt x="225" y="176"/>
                    <a:pt x="225" y="176"/>
                    <a:pt x="225" y="176"/>
                  </a:cubicBezTo>
                  <a:cubicBezTo>
                    <a:pt x="236" y="164"/>
                    <a:pt x="236" y="164"/>
                    <a:pt x="236" y="164"/>
                  </a:cubicBezTo>
                  <a:cubicBezTo>
                    <a:pt x="248" y="176"/>
                    <a:pt x="248" y="176"/>
                    <a:pt x="248" y="176"/>
                  </a:cubicBezTo>
                  <a:lnTo>
                    <a:pt x="236" y="188"/>
                  </a:lnTo>
                  <a:close/>
                  <a:moveTo>
                    <a:pt x="236" y="136"/>
                  </a:moveTo>
                  <a:cubicBezTo>
                    <a:pt x="225" y="125"/>
                    <a:pt x="225" y="125"/>
                    <a:pt x="225" y="125"/>
                  </a:cubicBezTo>
                  <a:cubicBezTo>
                    <a:pt x="236" y="113"/>
                    <a:pt x="236" y="113"/>
                    <a:pt x="236" y="113"/>
                  </a:cubicBezTo>
                  <a:cubicBezTo>
                    <a:pt x="248" y="125"/>
                    <a:pt x="248" y="125"/>
                    <a:pt x="248" y="125"/>
                  </a:cubicBezTo>
                  <a:lnTo>
                    <a:pt x="236" y="136"/>
                  </a:lnTo>
                  <a:close/>
                  <a:moveTo>
                    <a:pt x="262" y="87"/>
                  </a:moveTo>
                  <a:cubicBezTo>
                    <a:pt x="274" y="99"/>
                    <a:pt x="274" y="99"/>
                    <a:pt x="274" y="99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51" y="99"/>
                    <a:pt x="251" y="99"/>
                    <a:pt x="251" y="99"/>
                  </a:cubicBezTo>
                  <a:lnTo>
                    <a:pt x="262" y="87"/>
                  </a:lnTo>
                  <a:close/>
                  <a:moveTo>
                    <a:pt x="263" y="213"/>
                  </a:moveTo>
                  <a:cubicBezTo>
                    <a:pt x="262" y="213"/>
                    <a:pt x="262" y="213"/>
                    <a:pt x="262" y="213"/>
                  </a:cubicBezTo>
                  <a:cubicBezTo>
                    <a:pt x="251" y="202"/>
                    <a:pt x="251" y="202"/>
                    <a:pt x="251" y="202"/>
                  </a:cubicBezTo>
                  <a:cubicBezTo>
                    <a:pt x="262" y="190"/>
                    <a:pt x="262" y="190"/>
                    <a:pt x="262" y="190"/>
                  </a:cubicBezTo>
                  <a:cubicBezTo>
                    <a:pt x="274" y="202"/>
                    <a:pt x="274" y="202"/>
                    <a:pt x="274" y="202"/>
                  </a:cubicBezTo>
                  <a:lnTo>
                    <a:pt x="263" y="213"/>
                  </a:lnTo>
                  <a:close/>
                  <a:moveTo>
                    <a:pt x="262" y="162"/>
                  </a:moveTo>
                  <a:cubicBezTo>
                    <a:pt x="251" y="150"/>
                    <a:pt x="251" y="150"/>
                    <a:pt x="251" y="150"/>
                  </a:cubicBezTo>
                  <a:cubicBezTo>
                    <a:pt x="262" y="139"/>
                    <a:pt x="262" y="139"/>
                    <a:pt x="262" y="139"/>
                  </a:cubicBezTo>
                  <a:cubicBezTo>
                    <a:pt x="274" y="150"/>
                    <a:pt x="274" y="150"/>
                    <a:pt x="274" y="150"/>
                  </a:cubicBezTo>
                  <a:lnTo>
                    <a:pt x="262" y="162"/>
                  </a:lnTo>
                  <a:close/>
                  <a:moveTo>
                    <a:pt x="288" y="188"/>
                  </a:moveTo>
                  <a:cubicBezTo>
                    <a:pt x="276" y="176"/>
                    <a:pt x="276" y="176"/>
                    <a:pt x="276" y="176"/>
                  </a:cubicBezTo>
                  <a:cubicBezTo>
                    <a:pt x="288" y="164"/>
                    <a:pt x="288" y="164"/>
                    <a:pt x="288" y="164"/>
                  </a:cubicBezTo>
                  <a:cubicBezTo>
                    <a:pt x="299" y="176"/>
                    <a:pt x="299" y="176"/>
                    <a:pt x="299" y="176"/>
                  </a:cubicBezTo>
                  <a:lnTo>
                    <a:pt x="288" y="188"/>
                  </a:lnTo>
                  <a:close/>
                  <a:moveTo>
                    <a:pt x="288" y="136"/>
                  </a:moveTo>
                  <a:cubicBezTo>
                    <a:pt x="276" y="125"/>
                    <a:pt x="276" y="125"/>
                    <a:pt x="276" y="125"/>
                  </a:cubicBezTo>
                  <a:cubicBezTo>
                    <a:pt x="288" y="113"/>
                    <a:pt x="288" y="113"/>
                    <a:pt x="288" y="113"/>
                  </a:cubicBezTo>
                  <a:cubicBezTo>
                    <a:pt x="299" y="125"/>
                    <a:pt x="299" y="125"/>
                    <a:pt x="299" y="125"/>
                  </a:cubicBezTo>
                  <a:lnTo>
                    <a:pt x="288" y="136"/>
                  </a:lnTo>
                  <a:close/>
                  <a:moveTo>
                    <a:pt x="316" y="211"/>
                  </a:moveTo>
                  <a:cubicBezTo>
                    <a:pt x="311" y="211"/>
                    <a:pt x="311" y="211"/>
                    <a:pt x="311" y="211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13" y="190"/>
                    <a:pt x="313" y="190"/>
                    <a:pt x="313" y="190"/>
                  </a:cubicBezTo>
                  <a:cubicBezTo>
                    <a:pt x="325" y="202"/>
                    <a:pt x="325" y="202"/>
                    <a:pt x="325" y="202"/>
                  </a:cubicBezTo>
                  <a:lnTo>
                    <a:pt x="316" y="211"/>
                  </a:lnTo>
                  <a:close/>
                  <a:moveTo>
                    <a:pt x="313" y="162"/>
                  </a:moveTo>
                  <a:cubicBezTo>
                    <a:pt x="302" y="150"/>
                    <a:pt x="302" y="150"/>
                    <a:pt x="302" y="150"/>
                  </a:cubicBezTo>
                  <a:cubicBezTo>
                    <a:pt x="313" y="139"/>
                    <a:pt x="313" y="139"/>
                    <a:pt x="313" y="139"/>
                  </a:cubicBezTo>
                  <a:cubicBezTo>
                    <a:pt x="325" y="150"/>
                    <a:pt x="325" y="150"/>
                    <a:pt x="325" y="150"/>
                  </a:cubicBezTo>
                  <a:lnTo>
                    <a:pt x="313" y="162"/>
                  </a:lnTo>
                  <a:close/>
                  <a:moveTo>
                    <a:pt x="339" y="188"/>
                  </a:moveTo>
                  <a:cubicBezTo>
                    <a:pt x="327" y="176"/>
                    <a:pt x="327" y="176"/>
                    <a:pt x="327" y="176"/>
                  </a:cubicBezTo>
                  <a:cubicBezTo>
                    <a:pt x="339" y="164"/>
                    <a:pt x="339" y="164"/>
                    <a:pt x="339" y="164"/>
                  </a:cubicBezTo>
                  <a:cubicBezTo>
                    <a:pt x="351" y="176"/>
                    <a:pt x="351" y="176"/>
                    <a:pt x="351" y="176"/>
                  </a:cubicBezTo>
                  <a:lnTo>
                    <a:pt x="339" y="188"/>
                  </a:lnTo>
                  <a:close/>
                  <a:moveTo>
                    <a:pt x="370" y="208"/>
                  </a:moveTo>
                  <a:cubicBezTo>
                    <a:pt x="360" y="209"/>
                    <a:pt x="360" y="209"/>
                    <a:pt x="360" y="209"/>
                  </a:cubicBezTo>
                  <a:cubicBezTo>
                    <a:pt x="353" y="202"/>
                    <a:pt x="353" y="202"/>
                    <a:pt x="353" y="202"/>
                  </a:cubicBezTo>
                  <a:cubicBezTo>
                    <a:pt x="365" y="190"/>
                    <a:pt x="365" y="190"/>
                    <a:pt x="365" y="190"/>
                  </a:cubicBezTo>
                  <a:cubicBezTo>
                    <a:pt x="376" y="202"/>
                    <a:pt x="376" y="202"/>
                    <a:pt x="376" y="202"/>
                  </a:cubicBezTo>
                  <a:lnTo>
                    <a:pt x="370" y="208"/>
                  </a:lnTo>
                  <a:close/>
                  <a:moveTo>
                    <a:pt x="365" y="162"/>
                  </a:moveTo>
                  <a:cubicBezTo>
                    <a:pt x="353" y="150"/>
                    <a:pt x="353" y="150"/>
                    <a:pt x="353" y="150"/>
                  </a:cubicBezTo>
                  <a:cubicBezTo>
                    <a:pt x="365" y="139"/>
                    <a:pt x="365" y="139"/>
                    <a:pt x="365" y="139"/>
                  </a:cubicBezTo>
                  <a:cubicBezTo>
                    <a:pt x="376" y="150"/>
                    <a:pt x="376" y="150"/>
                    <a:pt x="376" y="150"/>
                  </a:cubicBezTo>
                  <a:lnTo>
                    <a:pt x="365" y="162"/>
                  </a:lnTo>
                  <a:close/>
                  <a:moveTo>
                    <a:pt x="365" y="111"/>
                  </a:moveTo>
                  <a:cubicBezTo>
                    <a:pt x="353" y="99"/>
                    <a:pt x="353" y="99"/>
                    <a:pt x="353" y="99"/>
                  </a:cubicBezTo>
                  <a:cubicBezTo>
                    <a:pt x="359" y="93"/>
                    <a:pt x="359" y="93"/>
                    <a:pt x="359" y="93"/>
                  </a:cubicBezTo>
                  <a:cubicBezTo>
                    <a:pt x="371" y="94"/>
                    <a:pt x="371" y="94"/>
                    <a:pt x="371" y="94"/>
                  </a:cubicBezTo>
                  <a:cubicBezTo>
                    <a:pt x="376" y="99"/>
                    <a:pt x="376" y="99"/>
                    <a:pt x="376" y="99"/>
                  </a:cubicBezTo>
                  <a:lnTo>
                    <a:pt x="365" y="111"/>
                  </a:lnTo>
                  <a:close/>
                  <a:moveTo>
                    <a:pt x="396" y="182"/>
                  </a:moveTo>
                  <a:cubicBezTo>
                    <a:pt x="390" y="188"/>
                    <a:pt x="390" y="188"/>
                    <a:pt x="390" y="188"/>
                  </a:cubicBezTo>
                  <a:cubicBezTo>
                    <a:pt x="379" y="176"/>
                    <a:pt x="379" y="176"/>
                    <a:pt x="379" y="176"/>
                  </a:cubicBezTo>
                  <a:cubicBezTo>
                    <a:pt x="390" y="164"/>
                    <a:pt x="390" y="164"/>
                    <a:pt x="390" y="164"/>
                  </a:cubicBezTo>
                  <a:cubicBezTo>
                    <a:pt x="398" y="172"/>
                    <a:pt x="398" y="172"/>
                    <a:pt x="398" y="172"/>
                  </a:cubicBezTo>
                  <a:lnTo>
                    <a:pt x="396" y="182"/>
                  </a:lnTo>
                  <a:close/>
                  <a:moveTo>
                    <a:pt x="390" y="136"/>
                  </a:moveTo>
                  <a:cubicBezTo>
                    <a:pt x="379" y="125"/>
                    <a:pt x="379" y="125"/>
                    <a:pt x="379" y="125"/>
                  </a:cubicBezTo>
                  <a:cubicBezTo>
                    <a:pt x="390" y="113"/>
                    <a:pt x="390" y="113"/>
                    <a:pt x="390" y="113"/>
                  </a:cubicBezTo>
                  <a:cubicBezTo>
                    <a:pt x="402" y="125"/>
                    <a:pt x="402" y="125"/>
                    <a:pt x="402" y="125"/>
                  </a:cubicBezTo>
                  <a:lnTo>
                    <a:pt x="390" y="136"/>
                  </a:lnTo>
                  <a:close/>
                  <a:moveTo>
                    <a:pt x="409" y="103"/>
                  </a:moveTo>
                  <a:cubicBezTo>
                    <a:pt x="404" y="99"/>
                    <a:pt x="404" y="99"/>
                    <a:pt x="404" y="99"/>
                  </a:cubicBezTo>
                  <a:cubicBezTo>
                    <a:pt x="407" y="96"/>
                    <a:pt x="407" y="96"/>
                    <a:pt x="407" y="96"/>
                  </a:cubicBezTo>
                  <a:cubicBezTo>
                    <a:pt x="410" y="97"/>
                    <a:pt x="410" y="97"/>
                    <a:pt x="410" y="97"/>
                  </a:cubicBezTo>
                  <a:lnTo>
                    <a:pt x="409" y="103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0" name="Freeform 45"/>
            <p:cNvSpPr>
              <a:spLocks noEditPoints="1"/>
            </p:cNvSpPr>
            <p:nvPr/>
          </p:nvSpPr>
          <p:spPr bwMode="auto">
            <a:xfrm flipH="1">
              <a:off x="608190" y="4196168"/>
              <a:ext cx="192063" cy="290540"/>
            </a:xfrm>
            <a:custGeom>
              <a:avLst/>
              <a:gdLst>
                <a:gd name="T0" fmla="*/ 266 w 266"/>
                <a:gd name="T1" fmla="*/ 133 h 403"/>
                <a:gd name="T2" fmla="*/ 133 w 266"/>
                <a:gd name="T3" fmla="*/ 0 h 403"/>
                <a:gd name="T4" fmla="*/ 0 w 266"/>
                <a:gd name="T5" fmla="*/ 133 h 403"/>
                <a:gd name="T6" fmla="*/ 2 w 266"/>
                <a:gd name="T7" fmla="*/ 156 h 403"/>
                <a:gd name="T8" fmla="*/ 19 w 266"/>
                <a:gd name="T9" fmla="*/ 203 h 403"/>
                <a:gd name="T10" fmla="*/ 19 w 266"/>
                <a:gd name="T11" fmla="*/ 203 h 403"/>
                <a:gd name="T12" fmla="*/ 133 w 266"/>
                <a:gd name="T13" fmla="*/ 403 h 403"/>
                <a:gd name="T14" fmla="*/ 133 w 266"/>
                <a:gd name="T15" fmla="*/ 403 h 403"/>
                <a:gd name="T16" fmla="*/ 133 w 266"/>
                <a:gd name="T17" fmla="*/ 403 h 403"/>
                <a:gd name="T18" fmla="*/ 247 w 266"/>
                <a:gd name="T19" fmla="*/ 203 h 403"/>
                <a:gd name="T20" fmla="*/ 247 w 266"/>
                <a:gd name="T21" fmla="*/ 203 h 403"/>
                <a:gd name="T22" fmla="*/ 266 w 266"/>
                <a:gd name="T23" fmla="*/ 133 h 403"/>
                <a:gd name="T24" fmla="*/ 133 w 266"/>
                <a:gd name="T25" fmla="*/ 189 h 403"/>
                <a:gd name="T26" fmla="*/ 76 w 266"/>
                <a:gd name="T27" fmla="*/ 131 h 403"/>
                <a:gd name="T28" fmla="*/ 133 w 266"/>
                <a:gd name="T29" fmla="*/ 74 h 403"/>
                <a:gd name="T30" fmla="*/ 190 w 266"/>
                <a:gd name="T31" fmla="*/ 131 h 403"/>
                <a:gd name="T32" fmla="*/ 133 w 266"/>
                <a:gd name="T33" fmla="*/ 189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6" h="403">
                  <a:moveTo>
                    <a:pt x="266" y="133"/>
                  </a:moveTo>
                  <a:cubicBezTo>
                    <a:pt x="266" y="60"/>
                    <a:pt x="207" y="0"/>
                    <a:pt x="133" y="0"/>
                  </a:cubicBezTo>
                  <a:cubicBezTo>
                    <a:pt x="59" y="0"/>
                    <a:pt x="0" y="60"/>
                    <a:pt x="0" y="133"/>
                  </a:cubicBezTo>
                  <a:cubicBezTo>
                    <a:pt x="0" y="141"/>
                    <a:pt x="0" y="149"/>
                    <a:pt x="2" y="156"/>
                  </a:cubicBezTo>
                  <a:cubicBezTo>
                    <a:pt x="4" y="173"/>
                    <a:pt x="11" y="189"/>
                    <a:pt x="19" y="203"/>
                  </a:cubicBezTo>
                  <a:cubicBezTo>
                    <a:pt x="19" y="203"/>
                    <a:pt x="19" y="203"/>
                    <a:pt x="19" y="203"/>
                  </a:cubicBezTo>
                  <a:cubicBezTo>
                    <a:pt x="133" y="403"/>
                    <a:pt x="133" y="403"/>
                    <a:pt x="133" y="403"/>
                  </a:cubicBezTo>
                  <a:cubicBezTo>
                    <a:pt x="133" y="403"/>
                    <a:pt x="133" y="403"/>
                    <a:pt x="133" y="403"/>
                  </a:cubicBezTo>
                  <a:cubicBezTo>
                    <a:pt x="133" y="403"/>
                    <a:pt x="133" y="403"/>
                    <a:pt x="133" y="403"/>
                  </a:cubicBezTo>
                  <a:cubicBezTo>
                    <a:pt x="247" y="203"/>
                    <a:pt x="247" y="203"/>
                    <a:pt x="247" y="203"/>
                  </a:cubicBezTo>
                  <a:cubicBezTo>
                    <a:pt x="247" y="203"/>
                    <a:pt x="247" y="203"/>
                    <a:pt x="247" y="203"/>
                  </a:cubicBezTo>
                  <a:cubicBezTo>
                    <a:pt x="259" y="182"/>
                    <a:pt x="266" y="159"/>
                    <a:pt x="266" y="133"/>
                  </a:cubicBezTo>
                  <a:close/>
                  <a:moveTo>
                    <a:pt x="133" y="189"/>
                  </a:moveTo>
                  <a:cubicBezTo>
                    <a:pt x="101" y="189"/>
                    <a:pt x="76" y="163"/>
                    <a:pt x="76" y="131"/>
                  </a:cubicBezTo>
                  <a:cubicBezTo>
                    <a:pt x="76" y="100"/>
                    <a:pt x="101" y="74"/>
                    <a:pt x="133" y="74"/>
                  </a:cubicBezTo>
                  <a:cubicBezTo>
                    <a:pt x="165" y="74"/>
                    <a:pt x="190" y="100"/>
                    <a:pt x="190" y="131"/>
                  </a:cubicBezTo>
                  <a:cubicBezTo>
                    <a:pt x="190" y="163"/>
                    <a:pt x="165" y="189"/>
                    <a:pt x="133" y="189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1" name="Freeform 35"/>
            <p:cNvSpPr>
              <a:spLocks noEditPoints="1"/>
            </p:cNvSpPr>
            <p:nvPr/>
          </p:nvSpPr>
          <p:spPr bwMode="auto">
            <a:xfrm>
              <a:off x="-329902" y="482647"/>
              <a:ext cx="522221" cy="422316"/>
            </a:xfrm>
            <a:custGeom>
              <a:avLst/>
              <a:gdLst>
                <a:gd name="T0" fmla="*/ 92 w 430"/>
                <a:gd name="T1" fmla="*/ 49 h 348"/>
                <a:gd name="T2" fmla="*/ 71 w 430"/>
                <a:gd name="T3" fmla="*/ 31 h 348"/>
                <a:gd name="T4" fmla="*/ 32 w 430"/>
                <a:gd name="T5" fmla="*/ 11 h 348"/>
                <a:gd name="T6" fmla="*/ 24 w 430"/>
                <a:gd name="T7" fmla="*/ 31 h 348"/>
                <a:gd name="T8" fmla="*/ 134 w 430"/>
                <a:gd name="T9" fmla="*/ 240 h 348"/>
                <a:gd name="T10" fmla="*/ 155 w 430"/>
                <a:gd name="T11" fmla="*/ 289 h 348"/>
                <a:gd name="T12" fmla="*/ 141 w 430"/>
                <a:gd name="T13" fmla="*/ 314 h 348"/>
                <a:gd name="T14" fmla="*/ 140 w 430"/>
                <a:gd name="T15" fmla="*/ 320 h 348"/>
                <a:gd name="T16" fmla="*/ 195 w 430"/>
                <a:gd name="T17" fmla="*/ 317 h 348"/>
                <a:gd name="T18" fmla="*/ 181 w 430"/>
                <a:gd name="T19" fmla="*/ 295 h 348"/>
                <a:gd name="T20" fmla="*/ 340 w 430"/>
                <a:gd name="T21" fmla="*/ 291 h 348"/>
                <a:gd name="T22" fmla="*/ 381 w 430"/>
                <a:gd name="T23" fmla="*/ 320 h 348"/>
                <a:gd name="T24" fmla="*/ 387 w 430"/>
                <a:gd name="T25" fmla="*/ 289 h 348"/>
                <a:gd name="T26" fmla="*/ 393 w 430"/>
                <a:gd name="T27" fmla="*/ 274 h 348"/>
                <a:gd name="T28" fmla="*/ 390 w 430"/>
                <a:gd name="T29" fmla="*/ 273 h 348"/>
                <a:gd name="T30" fmla="*/ 135 w 430"/>
                <a:gd name="T31" fmla="*/ 272 h 348"/>
                <a:gd name="T32" fmla="*/ 154 w 430"/>
                <a:gd name="T33" fmla="*/ 234 h 348"/>
                <a:gd name="T34" fmla="*/ 180 w 430"/>
                <a:gd name="T35" fmla="*/ 238 h 348"/>
                <a:gd name="T36" fmla="*/ 405 w 430"/>
                <a:gd name="T37" fmla="*/ 218 h 348"/>
                <a:gd name="T38" fmla="*/ 430 w 430"/>
                <a:gd name="T39" fmla="*/ 81 h 348"/>
                <a:gd name="T40" fmla="*/ 140 w 430"/>
                <a:gd name="T41" fmla="*/ 79 h 348"/>
                <a:gd name="T42" fmla="*/ 118 w 430"/>
                <a:gd name="T43" fmla="*/ 101 h 348"/>
                <a:gd name="T44" fmla="*/ 134 w 430"/>
                <a:gd name="T45" fmla="*/ 113 h 348"/>
                <a:gd name="T46" fmla="*/ 351 w 430"/>
                <a:gd name="T47" fmla="*/ 125 h 348"/>
                <a:gd name="T48" fmla="*/ 311 w 430"/>
                <a:gd name="T49" fmla="*/ 90 h 348"/>
                <a:gd name="T50" fmla="*/ 302 w 430"/>
                <a:gd name="T51" fmla="*/ 99 h 348"/>
                <a:gd name="T52" fmla="*/ 211 w 430"/>
                <a:gd name="T53" fmla="*/ 111 h 348"/>
                <a:gd name="T54" fmla="*/ 185 w 430"/>
                <a:gd name="T55" fmla="*/ 85 h 348"/>
                <a:gd name="T56" fmla="*/ 171 w 430"/>
                <a:gd name="T57" fmla="*/ 99 h 348"/>
                <a:gd name="T58" fmla="*/ 166 w 430"/>
                <a:gd name="T59" fmla="*/ 207 h 348"/>
                <a:gd name="T60" fmla="*/ 171 w 430"/>
                <a:gd name="T61" fmla="*/ 202 h 348"/>
                <a:gd name="T62" fmla="*/ 160 w 430"/>
                <a:gd name="T63" fmla="*/ 139 h 348"/>
                <a:gd name="T64" fmla="*/ 185 w 430"/>
                <a:gd name="T65" fmla="*/ 216 h 348"/>
                <a:gd name="T66" fmla="*/ 174 w 430"/>
                <a:gd name="T67" fmla="*/ 176 h 348"/>
                <a:gd name="T68" fmla="*/ 185 w 430"/>
                <a:gd name="T69" fmla="*/ 136 h 348"/>
                <a:gd name="T70" fmla="*/ 185 w 430"/>
                <a:gd name="T71" fmla="*/ 136 h 348"/>
                <a:gd name="T72" fmla="*/ 222 w 430"/>
                <a:gd name="T73" fmla="*/ 202 h 348"/>
                <a:gd name="T74" fmla="*/ 211 w 430"/>
                <a:gd name="T75" fmla="*/ 139 h 348"/>
                <a:gd name="T76" fmla="*/ 225 w 430"/>
                <a:gd name="T77" fmla="*/ 176 h 348"/>
                <a:gd name="T78" fmla="*/ 236 w 430"/>
                <a:gd name="T79" fmla="*/ 136 h 348"/>
                <a:gd name="T80" fmla="*/ 236 w 430"/>
                <a:gd name="T81" fmla="*/ 136 h 348"/>
                <a:gd name="T82" fmla="*/ 251 w 430"/>
                <a:gd name="T83" fmla="*/ 99 h 348"/>
                <a:gd name="T84" fmla="*/ 251 w 430"/>
                <a:gd name="T85" fmla="*/ 202 h 348"/>
                <a:gd name="T86" fmla="*/ 262 w 430"/>
                <a:gd name="T87" fmla="*/ 162 h 348"/>
                <a:gd name="T88" fmla="*/ 262 w 430"/>
                <a:gd name="T89" fmla="*/ 162 h 348"/>
                <a:gd name="T90" fmla="*/ 299 w 430"/>
                <a:gd name="T91" fmla="*/ 176 h 348"/>
                <a:gd name="T92" fmla="*/ 288 w 430"/>
                <a:gd name="T93" fmla="*/ 113 h 348"/>
                <a:gd name="T94" fmla="*/ 311 w 430"/>
                <a:gd name="T95" fmla="*/ 211 h 348"/>
                <a:gd name="T96" fmla="*/ 316 w 430"/>
                <a:gd name="T97" fmla="*/ 211 h 348"/>
                <a:gd name="T98" fmla="*/ 325 w 430"/>
                <a:gd name="T99" fmla="*/ 150 h 348"/>
                <a:gd name="T100" fmla="*/ 339 w 430"/>
                <a:gd name="T101" fmla="*/ 164 h 348"/>
                <a:gd name="T102" fmla="*/ 360 w 430"/>
                <a:gd name="T103" fmla="*/ 209 h 348"/>
                <a:gd name="T104" fmla="*/ 370 w 430"/>
                <a:gd name="T105" fmla="*/ 208 h 348"/>
                <a:gd name="T106" fmla="*/ 376 w 430"/>
                <a:gd name="T107" fmla="*/ 150 h 348"/>
                <a:gd name="T108" fmla="*/ 359 w 430"/>
                <a:gd name="T109" fmla="*/ 93 h 348"/>
                <a:gd name="T110" fmla="*/ 396 w 430"/>
                <a:gd name="T111" fmla="*/ 182 h 348"/>
                <a:gd name="T112" fmla="*/ 398 w 430"/>
                <a:gd name="T113" fmla="*/ 172 h 348"/>
                <a:gd name="T114" fmla="*/ 390 w 430"/>
                <a:gd name="T115" fmla="*/ 113 h 348"/>
                <a:gd name="T116" fmla="*/ 404 w 430"/>
                <a:gd name="T117" fmla="*/ 99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30" h="348">
                  <a:moveTo>
                    <a:pt x="430" y="81"/>
                  </a:moveTo>
                  <a:cubicBezTo>
                    <a:pt x="430" y="78"/>
                    <a:pt x="430" y="76"/>
                    <a:pt x="428" y="74"/>
                  </a:cubicBezTo>
                  <a:cubicBezTo>
                    <a:pt x="427" y="72"/>
                    <a:pt x="424" y="71"/>
                    <a:pt x="422" y="71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89" y="48"/>
                    <a:pt x="86" y="50"/>
                    <a:pt x="84" y="52"/>
                  </a:cubicBezTo>
                  <a:cubicBezTo>
                    <a:pt x="83" y="54"/>
                    <a:pt x="82" y="57"/>
                    <a:pt x="83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71" y="31"/>
                    <a:pt x="71" y="31"/>
                    <a:pt x="71" y="31"/>
                  </a:cubicBezTo>
                  <a:cubicBezTo>
                    <a:pt x="71" y="29"/>
                    <a:pt x="69" y="27"/>
                    <a:pt x="67" y="26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0" y="4"/>
                    <a:pt x="24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2"/>
                    <a:pt x="17" y="32"/>
                  </a:cubicBezTo>
                  <a:cubicBezTo>
                    <a:pt x="19" y="32"/>
                    <a:pt x="22" y="32"/>
                    <a:pt x="24" y="3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13" y="276"/>
                    <a:pt x="113" y="276"/>
                    <a:pt x="113" y="276"/>
                  </a:cubicBezTo>
                  <a:cubicBezTo>
                    <a:pt x="111" y="279"/>
                    <a:pt x="111" y="282"/>
                    <a:pt x="113" y="284"/>
                  </a:cubicBezTo>
                  <a:cubicBezTo>
                    <a:pt x="114" y="287"/>
                    <a:pt x="117" y="289"/>
                    <a:pt x="120" y="289"/>
                  </a:cubicBezTo>
                  <a:cubicBezTo>
                    <a:pt x="155" y="289"/>
                    <a:pt x="155" y="289"/>
                    <a:pt x="155" y="289"/>
                  </a:cubicBezTo>
                  <a:cubicBezTo>
                    <a:pt x="155" y="291"/>
                    <a:pt x="155" y="291"/>
                    <a:pt x="155" y="291"/>
                  </a:cubicBezTo>
                  <a:cubicBezTo>
                    <a:pt x="155" y="295"/>
                    <a:pt x="155" y="295"/>
                    <a:pt x="155" y="295"/>
                  </a:cubicBezTo>
                  <a:cubicBezTo>
                    <a:pt x="148" y="299"/>
                    <a:pt x="143" y="306"/>
                    <a:pt x="141" y="314"/>
                  </a:cubicBezTo>
                  <a:cubicBezTo>
                    <a:pt x="141" y="314"/>
                    <a:pt x="141" y="314"/>
                    <a:pt x="141" y="314"/>
                  </a:cubicBezTo>
                  <a:cubicBezTo>
                    <a:pt x="141" y="314"/>
                    <a:pt x="141" y="314"/>
                    <a:pt x="141" y="314"/>
                  </a:cubicBezTo>
                  <a:cubicBezTo>
                    <a:pt x="141" y="315"/>
                    <a:pt x="140" y="316"/>
                    <a:pt x="140" y="316"/>
                  </a:cubicBezTo>
                  <a:cubicBezTo>
                    <a:pt x="140" y="317"/>
                    <a:pt x="140" y="317"/>
                    <a:pt x="140" y="317"/>
                  </a:cubicBezTo>
                  <a:cubicBezTo>
                    <a:pt x="140" y="318"/>
                    <a:pt x="140" y="319"/>
                    <a:pt x="140" y="320"/>
                  </a:cubicBezTo>
                  <a:cubicBezTo>
                    <a:pt x="140" y="335"/>
                    <a:pt x="153" y="348"/>
                    <a:pt x="168" y="348"/>
                  </a:cubicBezTo>
                  <a:cubicBezTo>
                    <a:pt x="183" y="348"/>
                    <a:pt x="195" y="335"/>
                    <a:pt x="195" y="320"/>
                  </a:cubicBezTo>
                  <a:cubicBezTo>
                    <a:pt x="195" y="319"/>
                    <a:pt x="195" y="318"/>
                    <a:pt x="195" y="317"/>
                  </a:cubicBezTo>
                  <a:cubicBezTo>
                    <a:pt x="195" y="317"/>
                    <a:pt x="195" y="317"/>
                    <a:pt x="195" y="317"/>
                  </a:cubicBezTo>
                  <a:cubicBezTo>
                    <a:pt x="195" y="316"/>
                    <a:pt x="195" y="315"/>
                    <a:pt x="195" y="314"/>
                  </a:cubicBezTo>
                  <a:cubicBezTo>
                    <a:pt x="195" y="314"/>
                    <a:pt x="195" y="314"/>
                    <a:pt x="195" y="314"/>
                  </a:cubicBezTo>
                  <a:cubicBezTo>
                    <a:pt x="195" y="314"/>
                    <a:pt x="195" y="314"/>
                    <a:pt x="195" y="314"/>
                  </a:cubicBezTo>
                  <a:cubicBezTo>
                    <a:pt x="193" y="306"/>
                    <a:pt x="188" y="299"/>
                    <a:pt x="181" y="295"/>
                  </a:cubicBezTo>
                  <a:cubicBezTo>
                    <a:pt x="181" y="291"/>
                    <a:pt x="181" y="291"/>
                    <a:pt x="181" y="291"/>
                  </a:cubicBezTo>
                  <a:cubicBezTo>
                    <a:pt x="181" y="289"/>
                    <a:pt x="181" y="289"/>
                    <a:pt x="181" y="289"/>
                  </a:cubicBezTo>
                  <a:cubicBezTo>
                    <a:pt x="340" y="289"/>
                    <a:pt x="340" y="289"/>
                    <a:pt x="340" y="289"/>
                  </a:cubicBezTo>
                  <a:cubicBezTo>
                    <a:pt x="340" y="291"/>
                    <a:pt x="340" y="291"/>
                    <a:pt x="340" y="291"/>
                  </a:cubicBezTo>
                  <a:cubicBezTo>
                    <a:pt x="340" y="295"/>
                    <a:pt x="340" y="295"/>
                    <a:pt x="340" y="295"/>
                  </a:cubicBezTo>
                  <a:cubicBezTo>
                    <a:pt x="331" y="300"/>
                    <a:pt x="325" y="309"/>
                    <a:pt x="325" y="320"/>
                  </a:cubicBezTo>
                  <a:cubicBezTo>
                    <a:pt x="325" y="335"/>
                    <a:pt x="338" y="348"/>
                    <a:pt x="353" y="348"/>
                  </a:cubicBezTo>
                  <a:cubicBezTo>
                    <a:pt x="368" y="348"/>
                    <a:pt x="381" y="335"/>
                    <a:pt x="381" y="320"/>
                  </a:cubicBezTo>
                  <a:cubicBezTo>
                    <a:pt x="381" y="309"/>
                    <a:pt x="375" y="300"/>
                    <a:pt x="366" y="295"/>
                  </a:cubicBezTo>
                  <a:cubicBezTo>
                    <a:pt x="366" y="291"/>
                    <a:pt x="366" y="291"/>
                    <a:pt x="366" y="291"/>
                  </a:cubicBezTo>
                  <a:cubicBezTo>
                    <a:pt x="366" y="289"/>
                    <a:pt x="366" y="289"/>
                    <a:pt x="366" y="289"/>
                  </a:cubicBezTo>
                  <a:cubicBezTo>
                    <a:pt x="387" y="289"/>
                    <a:pt x="387" y="289"/>
                    <a:pt x="387" y="289"/>
                  </a:cubicBezTo>
                  <a:cubicBezTo>
                    <a:pt x="391" y="289"/>
                    <a:pt x="395" y="285"/>
                    <a:pt x="395" y="280"/>
                  </a:cubicBezTo>
                  <a:cubicBezTo>
                    <a:pt x="395" y="278"/>
                    <a:pt x="394" y="276"/>
                    <a:pt x="393" y="275"/>
                  </a:cubicBezTo>
                  <a:cubicBezTo>
                    <a:pt x="393" y="275"/>
                    <a:pt x="393" y="275"/>
                    <a:pt x="393" y="275"/>
                  </a:cubicBezTo>
                  <a:cubicBezTo>
                    <a:pt x="393" y="274"/>
                    <a:pt x="393" y="274"/>
                    <a:pt x="393" y="274"/>
                  </a:cubicBezTo>
                  <a:cubicBezTo>
                    <a:pt x="392" y="274"/>
                    <a:pt x="392" y="274"/>
                    <a:pt x="392" y="274"/>
                  </a:cubicBezTo>
                  <a:cubicBezTo>
                    <a:pt x="392" y="274"/>
                    <a:pt x="392" y="273"/>
                    <a:pt x="391" y="273"/>
                  </a:cubicBezTo>
                  <a:cubicBezTo>
                    <a:pt x="391" y="273"/>
                    <a:pt x="391" y="273"/>
                    <a:pt x="390" y="273"/>
                  </a:cubicBezTo>
                  <a:cubicBezTo>
                    <a:pt x="390" y="273"/>
                    <a:pt x="390" y="273"/>
                    <a:pt x="390" y="273"/>
                  </a:cubicBezTo>
                  <a:cubicBezTo>
                    <a:pt x="390" y="272"/>
                    <a:pt x="389" y="272"/>
                    <a:pt x="389" y="272"/>
                  </a:cubicBezTo>
                  <a:cubicBezTo>
                    <a:pt x="389" y="272"/>
                    <a:pt x="389" y="272"/>
                    <a:pt x="388" y="272"/>
                  </a:cubicBezTo>
                  <a:cubicBezTo>
                    <a:pt x="388" y="272"/>
                    <a:pt x="387" y="272"/>
                    <a:pt x="387" y="272"/>
                  </a:cubicBezTo>
                  <a:cubicBezTo>
                    <a:pt x="135" y="272"/>
                    <a:pt x="135" y="272"/>
                    <a:pt x="135" y="272"/>
                  </a:cubicBezTo>
                  <a:cubicBezTo>
                    <a:pt x="153" y="242"/>
                    <a:pt x="153" y="242"/>
                    <a:pt x="153" y="242"/>
                  </a:cubicBezTo>
                  <a:cubicBezTo>
                    <a:pt x="153" y="242"/>
                    <a:pt x="153" y="242"/>
                    <a:pt x="153" y="242"/>
                  </a:cubicBezTo>
                  <a:cubicBezTo>
                    <a:pt x="153" y="242"/>
                    <a:pt x="153" y="242"/>
                    <a:pt x="153" y="242"/>
                  </a:cubicBezTo>
                  <a:cubicBezTo>
                    <a:pt x="154" y="240"/>
                    <a:pt x="155" y="237"/>
                    <a:pt x="154" y="234"/>
                  </a:cubicBezTo>
                  <a:cubicBezTo>
                    <a:pt x="148" y="220"/>
                    <a:pt x="148" y="220"/>
                    <a:pt x="148" y="220"/>
                  </a:cubicBezTo>
                  <a:cubicBezTo>
                    <a:pt x="148" y="220"/>
                    <a:pt x="148" y="220"/>
                    <a:pt x="148" y="220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7" y="238"/>
                    <a:pt x="178" y="238"/>
                    <a:pt x="180" y="238"/>
                  </a:cubicBezTo>
                  <a:cubicBezTo>
                    <a:pt x="180" y="238"/>
                    <a:pt x="180" y="238"/>
                    <a:pt x="180" y="238"/>
                  </a:cubicBezTo>
                  <a:cubicBezTo>
                    <a:pt x="382" y="229"/>
                    <a:pt x="382" y="229"/>
                    <a:pt x="382" y="229"/>
                  </a:cubicBezTo>
                  <a:cubicBezTo>
                    <a:pt x="383" y="229"/>
                    <a:pt x="384" y="229"/>
                    <a:pt x="385" y="228"/>
                  </a:cubicBezTo>
                  <a:cubicBezTo>
                    <a:pt x="405" y="218"/>
                    <a:pt x="405" y="218"/>
                    <a:pt x="405" y="218"/>
                  </a:cubicBezTo>
                  <a:cubicBezTo>
                    <a:pt x="407" y="217"/>
                    <a:pt x="409" y="215"/>
                    <a:pt x="409" y="212"/>
                  </a:cubicBezTo>
                  <a:cubicBezTo>
                    <a:pt x="430" y="85"/>
                    <a:pt x="430" y="85"/>
                    <a:pt x="430" y="85"/>
                  </a:cubicBezTo>
                  <a:cubicBezTo>
                    <a:pt x="430" y="84"/>
                    <a:pt x="430" y="83"/>
                    <a:pt x="430" y="82"/>
                  </a:cubicBezTo>
                  <a:lnTo>
                    <a:pt x="430" y="81"/>
                  </a:lnTo>
                  <a:close/>
                  <a:moveTo>
                    <a:pt x="140" y="79"/>
                  </a:moveTo>
                  <a:cubicBezTo>
                    <a:pt x="134" y="85"/>
                    <a:pt x="134" y="85"/>
                    <a:pt x="134" y="85"/>
                  </a:cubicBezTo>
                  <a:cubicBezTo>
                    <a:pt x="127" y="78"/>
                    <a:pt x="127" y="78"/>
                    <a:pt x="127" y="78"/>
                  </a:cubicBezTo>
                  <a:lnTo>
                    <a:pt x="140" y="79"/>
                  </a:lnTo>
                  <a:close/>
                  <a:moveTo>
                    <a:pt x="118" y="101"/>
                  </a:moveTo>
                  <a:cubicBezTo>
                    <a:pt x="116" y="95"/>
                    <a:pt x="116" y="95"/>
                    <a:pt x="116" y="95"/>
                  </a:cubicBezTo>
                  <a:cubicBezTo>
                    <a:pt x="120" y="99"/>
                    <a:pt x="120" y="99"/>
                    <a:pt x="120" y="99"/>
                  </a:cubicBezTo>
                  <a:lnTo>
                    <a:pt x="118" y="101"/>
                  </a:lnTo>
                  <a:close/>
                  <a:moveTo>
                    <a:pt x="134" y="136"/>
                  </a:moveTo>
                  <a:cubicBezTo>
                    <a:pt x="131" y="134"/>
                    <a:pt x="131" y="134"/>
                    <a:pt x="131" y="134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34" y="113"/>
                    <a:pt x="134" y="113"/>
                    <a:pt x="134" y="113"/>
                  </a:cubicBezTo>
                  <a:cubicBezTo>
                    <a:pt x="145" y="125"/>
                    <a:pt x="145" y="125"/>
                    <a:pt x="145" y="125"/>
                  </a:cubicBezTo>
                  <a:lnTo>
                    <a:pt x="134" y="136"/>
                  </a:lnTo>
                  <a:close/>
                  <a:moveTo>
                    <a:pt x="339" y="113"/>
                  </a:moveTo>
                  <a:cubicBezTo>
                    <a:pt x="351" y="125"/>
                    <a:pt x="351" y="125"/>
                    <a:pt x="351" y="125"/>
                  </a:cubicBezTo>
                  <a:cubicBezTo>
                    <a:pt x="339" y="136"/>
                    <a:pt x="339" y="136"/>
                    <a:pt x="339" y="136"/>
                  </a:cubicBezTo>
                  <a:cubicBezTo>
                    <a:pt x="327" y="125"/>
                    <a:pt x="327" y="125"/>
                    <a:pt x="327" y="125"/>
                  </a:cubicBezTo>
                  <a:lnTo>
                    <a:pt x="339" y="113"/>
                  </a:lnTo>
                  <a:close/>
                  <a:moveTo>
                    <a:pt x="311" y="90"/>
                  </a:moveTo>
                  <a:cubicBezTo>
                    <a:pt x="316" y="90"/>
                    <a:pt x="316" y="90"/>
                    <a:pt x="316" y="90"/>
                  </a:cubicBezTo>
                  <a:cubicBezTo>
                    <a:pt x="325" y="99"/>
                    <a:pt x="325" y="99"/>
                    <a:pt x="325" y="99"/>
                  </a:cubicBezTo>
                  <a:cubicBezTo>
                    <a:pt x="313" y="111"/>
                    <a:pt x="313" y="111"/>
                    <a:pt x="313" y="111"/>
                  </a:cubicBezTo>
                  <a:cubicBezTo>
                    <a:pt x="302" y="99"/>
                    <a:pt x="302" y="99"/>
                    <a:pt x="302" y="99"/>
                  </a:cubicBezTo>
                  <a:lnTo>
                    <a:pt x="311" y="90"/>
                  </a:lnTo>
                  <a:close/>
                  <a:moveTo>
                    <a:pt x="211" y="87"/>
                  </a:moveTo>
                  <a:cubicBezTo>
                    <a:pt x="222" y="99"/>
                    <a:pt x="222" y="99"/>
                    <a:pt x="222" y="99"/>
                  </a:cubicBezTo>
                  <a:cubicBezTo>
                    <a:pt x="211" y="111"/>
                    <a:pt x="211" y="111"/>
                    <a:pt x="211" y="111"/>
                  </a:cubicBezTo>
                  <a:cubicBezTo>
                    <a:pt x="199" y="99"/>
                    <a:pt x="199" y="99"/>
                    <a:pt x="199" y="99"/>
                  </a:cubicBezTo>
                  <a:lnTo>
                    <a:pt x="211" y="87"/>
                  </a:lnTo>
                  <a:close/>
                  <a:moveTo>
                    <a:pt x="188" y="82"/>
                  </a:moveTo>
                  <a:cubicBezTo>
                    <a:pt x="185" y="85"/>
                    <a:pt x="185" y="85"/>
                    <a:pt x="185" y="85"/>
                  </a:cubicBezTo>
                  <a:cubicBezTo>
                    <a:pt x="182" y="81"/>
                    <a:pt x="182" y="81"/>
                    <a:pt x="182" y="81"/>
                  </a:cubicBezTo>
                  <a:lnTo>
                    <a:pt x="188" y="82"/>
                  </a:lnTo>
                  <a:close/>
                  <a:moveTo>
                    <a:pt x="160" y="87"/>
                  </a:moveTo>
                  <a:cubicBezTo>
                    <a:pt x="171" y="99"/>
                    <a:pt x="171" y="99"/>
                    <a:pt x="171" y="99"/>
                  </a:cubicBezTo>
                  <a:cubicBezTo>
                    <a:pt x="160" y="111"/>
                    <a:pt x="160" y="111"/>
                    <a:pt x="160" y="111"/>
                  </a:cubicBezTo>
                  <a:cubicBezTo>
                    <a:pt x="148" y="99"/>
                    <a:pt x="148" y="99"/>
                    <a:pt x="148" y="99"/>
                  </a:cubicBezTo>
                  <a:lnTo>
                    <a:pt x="160" y="87"/>
                  </a:lnTo>
                  <a:close/>
                  <a:moveTo>
                    <a:pt x="166" y="207"/>
                  </a:moveTo>
                  <a:cubicBezTo>
                    <a:pt x="159" y="203"/>
                    <a:pt x="159" y="203"/>
                    <a:pt x="159" y="203"/>
                  </a:cubicBezTo>
                  <a:cubicBezTo>
                    <a:pt x="156" y="194"/>
                    <a:pt x="156" y="194"/>
                    <a:pt x="156" y="194"/>
                  </a:cubicBezTo>
                  <a:cubicBezTo>
                    <a:pt x="160" y="190"/>
                    <a:pt x="160" y="190"/>
                    <a:pt x="160" y="190"/>
                  </a:cubicBezTo>
                  <a:cubicBezTo>
                    <a:pt x="171" y="202"/>
                    <a:pt x="171" y="202"/>
                    <a:pt x="171" y="202"/>
                  </a:cubicBezTo>
                  <a:lnTo>
                    <a:pt x="166" y="207"/>
                  </a:lnTo>
                  <a:close/>
                  <a:moveTo>
                    <a:pt x="160" y="162"/>
                  </a:moveTo>
                  <a:cubicBezTo>
                    <a:pt x="148" y="150"/>
                    <a:pt x="148" y="150"/>
                    <a:pt x="148" y="150"/>
                  </a:cubicBezTo>
                  <a:cubicBezTo>
                    <a:pt x="160" y="139"/>
                    <a:pt x="160" y="139"/>
                    <a:pt x="160" y="139"/>
                  </a:cubicBezTo>
                  <a:cubicBezTo>
                    <a:pt x="171" y="150"/>
                    <a:pt x="171" y="150"/>
                    <a:pt x="171" y="150"/>
                  </a:cubicBezTo>
                  <a:lnTo>
                    <a:pt x="160" y="162"/>
                  </a:lnTo>
                  <a:close/>
                  <a:moveTo>
                    <a:pt x="185" y="216"/>
                  </a:moveTo>
                  <a:cubicBezTo>
                    <a:pt x="185" y="216"/>
                    <a:pt x="185" y="216"/>
                    <a:pt x="185" y="216"/>
                  </a:cubicBezTo>
                  <a:cubicBezTo>
                    <a:pt x="186" y="216"/>
                    <a:pt x="186" y="216"/>
                    <a:pt x="186" y="216"/>
                  </a:cubicBezTo>
                  <a:lnTo>
                    <a:pt x="185" y="216"/>
                  </a:lnTo>
                  <a:close/>
                  <a:moveTo>
                    <a:pt x="185" y="188"/>
                  </a:moveTo>
                  <a:cubicBezTo>
                    <a:pt x="174" y="176"/>
                    <a:pt x="174" y="176"/>
                    <a:pt x="174" y="176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97" y="176"/>
                    <a:pt x="197" y="176"/>
                    <a:pt x="197" y="176"/>
                  </a:cubicBezTo>
                  <a:lnTo>
                    <a:pt x="185" y="188"/>
                  </a:lnTo>
                  <a:close/>
                  <a:moveTo>
                    <a:pt x="185" y="136"/>
                  </a:moveTo>
                  <a:cubicBezTo>
                    <a:pt x="174" y="125"/>
                    <a:pt x="174" y="125"/>
                    <a:pt x="174" y="125"/>
                  </a:cubicBezTo>
                  <a:cubicBezTo>
                    <a:pt x="185" y="113"/>
                    <a:pt x="185" y="113"/>
                    <a:pt x="185" y="113"/>
                  </a:cubicBezTo>
                  <a:cubicBezTo>
                    <a:pt x="197" y="125"/>
                    <a:pt x="197" y="125"/>
                    <a:pt x="197" y="125"/>
                  </a:cubicBezTo>
                  <a:lnTo>
                    <a:pt x="185" y="136"/>
                  </a:lnTo>
                  <a:close/>
                  <a:moveTo>
                    <a:pt x="211" y="213"/>
                  </a:moveTo>
                  <a:cubicBezTo>
                    <a:pt x="199" y="202"/>
                    <a:pt x="199" y="202"/>
                    <a:pt x="199" y="202"/>
                  </a:cubicBezTo>
                  <a:cubicBezTo>
                    <a:pt x="211" y="190"/>
                    <a:pt x="211" y="190"/>
                    <a:pt x="211" y="190"/>
                  </a:cubicBezTo>
                  <a:cubicBezTo>
                    <a:pt x="222" y="202"/>
                    <a:pt x="222" y="202"/>
                    <a:pt x="222" y="202"/>
                  </a:cubicBezTo>
                  <a:lnTo>
                    <a:pt x="211" y="213"/>
                  </a:lnTo>
                  <a:close/>
                  <a:moveTo>
                    <a:pt x="211" y="162"/>
                  </a:moveTo>
                  <a:cubicBezTo>
                    <a:pt x="199" y="150"/>
                    <a:pt x="199" y="150"/>
                    <a:pt x="199" y="150"/>
                  </a:cubicBezTo>
                  <a:cubicBezTo>
                    <a:pt x="211" y="139"/>
                    <a:pt x="211" y="139"/>
                    <a:pt x="211" y="139"/>
                  </a:cubicBezTo>
                  <a:cubicBezTo>
                    <a:pt x="222" y="150"/>
                    <a:pt x="222" y="150"/>
                    <a:pt x="222" y="150"/>
                  </a:cubicBezTo>
                  <a:lnTo>
                    <a:pt x="211" y="162"/>
                  </a:lnTo>
                  <a:close/>
                  <a:moveTo>
                    <a:pt x="236" y="188"/>
                  </a:moveTo>
                  <a:cubicBezTo>
                    <a:pt x="225" y="176"/>
                    <a:pt x="225" y="176"/>
                    <a:pt x="225" y="176"/>
                  </a:cubicBezTo>
                  <a:cubicBezTo>
                    <a:pt x="236" y="164"/>
                    <a:pt x="236" y="164"/>
                    <a:pt x="236" y="164"/>
                  </a:cubicBezTo>
                  <a:cubicBezTo>
                    <a:pt x="248" y="176"/>
                    <a:pt x="248" y="176"/>
                    <a:pt x="248" y="176"/>
                  </a:cubicBezTo>
                  <a:lnTo>
                    <a:pt x="236" y="188"/>
                  </a:lnTo>
                  <a:close/>
                  <a:moveTo>
                    <a:pt x="236" y="136"/>
                  </a:moveTo>
                  <a:cubicBezTo>
                    <a:pt x="225" y="125"/>
                    <a:pt x="225" y="125"/>
                    <a:pt x="225" y="125"/>
                  </a:cubicBezTo>
                  <a:cubicBezTo>
                    <a:pt x="236" y="113"/>
                    <a:pt x="236" y="113"/>
                    <a:pt x="236" y="113"/>
                  </a:cubicBezTo>
                  <a:cubicBezTo>
                    <a:pt x="248" y="125"/>
                    <a:pt x="248" y="125"/>
                    <a:pt x="248" y="125"/>
                  </a:cubicBezTo>
                  <a:lnTo>
                    <a:pt x="236" y="136"/>
                  </a:lnTo>
                  <a:close/>
                  <a:moveTo>
                    <a:pt x="262" y="87"/>
                  </a:moveTo>
                  <a:cubicBezTo>
                    <a:pt x="274" y="99"/>
                    <a:pt x="274" y="99"/>
                    <a:pt x="274" y="99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51" y="99"/>
                    <a:pt x="251" y="99"/>
                    <a:pt x="251" y="99"/>
                  </a:cubicBezTo>
                  <a:lnTo>
                    <a:pt x="262" y="87"/>
                  </a:lnTo>
                  <a:close/>
                  <a:moveTo>
                    <a:pt x="263" y="213"/>
                  </a:moveTo>
                  <a:cubicBezTo>
                    <a:pt x="262" y="213"/>
                    <a:pt x="262" y="213"/>
                    <a:pt x="262" y="213"/>
                  </a:cubicBezTo>
                  <a:cubicBezTo>
                    <a:pt x="251" y="202"/>
                    <a:pt x="251" y="202"/>
                    <a:pt x="251" y="202"/>
                  </a:cubicBezTo>
                  <a:cubicBezTo>
                    <a:pt x="262" y="190"/>
                    <a:pt x="262" y="190"/>
                    <a:pt x="262" y="190"/>
                  </a:cubicBezTo>
                  <a:cubicBezTo>
                    <a:pt x="274" y="202"/>
                    <a:pt x="274" y="202"/>
                    <a:pt x="274" y="202"/>
                  </a:cubicBezTo>
                  <a:lnTo>
                    <a:pt x="263" y="213"/>
                  </a:lnTo>
                  <a:close/>
                  <a:moveTo>
                    <a:pt x="262" y="162"/>
                  </a:moveTo>
                  <a:cubicBezTo>
                    <a:pt x="251" y="150"/>
                    <a:pt x="251" y="150"/>
                    <a:pt x="251" y="150"/>
                  </a:cubicBezTo>
                  <a:cubicBezTo>
                    <a:pt x="262" y="139"/>
                    <a:pt x="262" y="139"/>
                    <a:pt x="262" y="139"/>
                  </a:cubicBezTo>
                  <a:cubicBezTo>
                    <a:pt x="274" y="150"/>
                    <a:pt x="274" y="150"/>
                    <a:pt x="274" y="150"/>
                  </a:cubicBezTo>
                  <a:lnTo>
                    <a:pt x="262" y="162"/>
                  </a:lnTo>
                  <a:close/>
                  <a:moveTo>
                    <a:pt x="288" y="188"/>
                  </a:moveTo>
                  <a:cubicBezTo>
                    <a:pt x="276" y="176"/>
                    <a:pt x="276" y="176"/>
                    <a:pt x="276" y="176"/>
                  </a:cubicBezTo>
                  <a:cubicBezTo>
                    <a:pt x="288" y="164"/>
                    <a:pt x="288" y="164"/>
                    <a:pt x="288" y="164"/>
                  </a:cubicBezTo>
                  <a:cubicBezTo>
                    <a:pt x="299" y="176"/>
                    <a:pt x="299" y="176"/>
                    <a:pt x="299" y="176"/>
                  </a:cubicBezTo>
                  <a:lnTo>
                    <a:pt x="288" y="188"/>
                  </a:lnTo>
                  <a:close/>
                  <a:moveTo>
                    <a:pt x="288" y="136"/>
                  </a:moveTo>
                  <a:cubicBezTo>
                    <a:pt x="276" y="125"/>
                    <a:pt x="276" y="125"/>
                    <a:pt x="276" y="125"/>
                  </a:cubicBezTo>
                  <a:cubicBezTo>
                    <a:pt x="288" y="113"/>
                    <a:pt x="288" y="113"/>
                    <a:pt x="288" y="113"/>
                  </a:cubicBezTo>
                  <a:cubicBezTo>
                    <a:pt x="299" y="125"/>
                    <a:pt x="299" y="125"/>
                    <a:pt x="299" y="125"/>
                  </a:cubicBezTo>
                  <a:lnTo>
                    <a:pt x="288" y="136"/>
                  </a:lnTo>
                  <a:close/>
                  <a:moveTo>
                    <a:pt x="316" y="211"/>
                  </a:moveTo>
                  <a:cubicBezTo>
                    <a:pt x="311" y="211"/>
                    <a:pt x="311" y="211"/>
                    <a:pt x="311" y="211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13" y="190"/>
                    <a:pt x="313" y="190"/>
                    <a:pt x="313" y="190"/>
                  </a:cubicBezTo>
                  <a:cubicBezTo>
                    <a:pt x="325" y="202"/>
                    <a:pt x="325" y="202"/>
                    <a:pt x="325" y="202"/>
                  </a:cubicBezTo>
                  <a:lnTo>
                    <a:pt x="316" y="211"/>
                  </a:lnTo>
                  <a:close/>
                  <a:moveTo>
                    <a:pt x="313" y="162"/>
                  </a:moveTo>
                  <a:cubicBezTo>
                    <a:pt x="302" y="150"/>
                    <a:pt x="302" y="150"/>
                    <a:pt x="302" y="150"/>
                  </a:cubicBezTo>
                  <a:cubicBezTo>
                    <a:pt x="313" y="139"/>
                    <a:pt x="313" y="139"/>
                    <a:pt x="313" y="139"/>
                  </a:cubicBezTo>
                  <a:cubicBezTo>
                    <a:pt x="325" y="150"/>
                    <a:pt x="325" y="150"/>
                    <a:pt x="325" y="150"/>
                  </a:cubicBezTo>
                  <a:lnTo>
                    <a:pt x="313" y="162"/>
                  </a:lnTo>
                  <a:close/>
                  <a:moveTo>
                    <a:pt x="339" y="188"/>
                  </a:moveTo>
                  <a:cubicBezTo>
                    <a:pt x="327" y="176"/>
                    <a:pt x="327" y="176"/>
                    <a:pt x="327" y="176"/>
                  </a:cubicBezTo>
                  <a:cubicBezTo>
                    <a:pt x="339" y="164"/>
                    <a:pt x="339" y="164"/>
                    <a:pt x="339" y="164"/>
                  </a:cubicBezTo>
                  <a:cubicBezTo>
                    <a:pt x="351" y="176"/>
                    <a:pt x="351" y="176"/>
                    <a:pt x="351" y="176"/>
                  </a:cubicBezTo>
                  <a:lnTo>
                    <a:pt x="339" y="188"/>
                  </a:lnTo>
                  <a:close/>
                  <a:moveTo>
                    <a:pt x="370" y="208"/>
                  </a:moveTo>
                  <a:cubicBezTo>
                    <a:pt x="360" y="209"/>
                    <a:pt x="360" y="209"/>
                    <a:pt x="360" y="209"/>
                  </a:cubicBezTo>
                  <a:cubicBezTo>
                    <a:pt x="353" y="202"/>
                    <a:pt x="353" y="202"/>
                    <a:pt x="353" y="202"/>
                  </a:cubicBezTo>
                  <a:cubicBezTo>
                    <a:pt x="365" y="190"/>
                    <a:pt x="365" y="190"/>
                    <a:pt x="365" y="190"/>
                  </a:cubicBezTo>
                  <a:cubicBezTo>
                    <a:pt x="376" y="202"/>
                    <a:pt x="376" y="202"/>
                    <a:pt x="376" y="202"/>
                  </a:cubicBezTo>
                  <a:lnTo>
                    <a:pt x="370" y="208"/>
                  </a:lnTo>
                  <a:close/>
                  <a:moveTo>
                    <a:pt x="365" y="162"/>
                  </a:moveTo>
                  <a:cubicBezTo>
                    <a:pt x="353" y="150"/>
                    <a:pt x="353" y="150"/>
                    <a:pt x="353" y="150"/>
                  </a:cubicBezTo>
                  <a:cubicBezTo>
                    <a:pt x="365" y="139"/>
                    <a:pt x="365" y="139"/>
                    <a:pt x="365" y="139"/>
                  </a:cubicBezTo>
                  <a:cubicBezTo>
                    <a:pt x="376" y="150"/>
                    <a:pt x="376" y="150"/>
                    <a:pt x="376" y="150"/>
                  </a:cubicBezTo>
                  <a:lnTo>
                    <a:pt x="365" y="162"/>
                  </a:lnTo>
                  <a:close/>
                  <a:moveTo>
                    <a:pt x="365" y="111"/>
                  </a:moveTo>
                  <a:cubicBezTo>
                    <a:pt x="353" y="99"/>
                    <a:pt x="353" y="99"/>
                    <a:pt x="353" y="99"/>
                  </a:cubicBezTo>
                  <a:cubicBezTo>
                    <a:pt x="359" y="93"/>
                    <a:pt x="359" y="93"/>
                    <a:pt x="359" y="93"/>
                  </a:cubicBezTo>
                  <a:cubicBezTo>
                    <a:pt x="371" y="94"/>
                    <a:pt x="371" y="94"/>
                    <a:pt x="371" y="94"/>
                  </a:cubicBezTo>
                  <a:cubicBezTo>
                    <a:pt x="376" y="99"/>
                    <a:pt x="376" y="99"/>
                    <a:pt x="376" y="99"/>
                  </a:cubicBezTo>
                  <a:lnTo>
                    <a:pt x="365" y="111"/>
                  </a:lnTo>
                  <a:close/>
                  <a:moveTo>
                    <a:pt x="396" y="182"/>
                  </a:moveTo>
                  <a:cubicBezTo>
                    <a:pt x="390" y="188"/>
                    <a:pt x="390" y="188"/>
                    <a:pt x="390" y="188"/>
                  </a:cubicBezTo>
                  <a:cubicBezTo>
                    <a:pt x="379" y="176"/>
                    <a:pt x="379" y="176"/>
                    <a:pt x="379" y="176"/>
                  </a:cubicBezTo>
                  <a:cubicBezTo>
                    <a:pt x="390" y="164"/>
                    <a:pt x="390" y="164"/>
                    <a:pt x="390" y="164"/>
                  </a:cubicBezTo>
                  <a:cubicBezTo>
                    <a:pt x="398" y="172"/>
                    <a:pt x="398" y="172"/>
                    <a:pt x="398" y="172"/>
                  </a:cubicBezTo>
                  <a:lnTo>
                    <a:pt x="396" y="182"/>
                  </a:lnTo>
                  <a:close/>
                  <a:moveTo>
                    <a:pt x="390" y="136"/>
                  </a:moveTo>
                  <a:cubicBezTo>
                    <a:pt x="379" y="125"/>
                    <a:pt x="379" y="125"/>
                    <a:pt x="379" y="125"/>
                  </a:cubicBezTo>
                  <a:cubicBezTo>
                    <a:pt x="390" y="113"/>
                    <a:pt x="390" y="113"/>
                    <a:pt x="390" y="113"/>
                  </a:cubicBezTo>
                  <a:cubicBezTo>
                    <a:pt x="402" y="125"/>
                    <a:pt x="402" y="125"/>
                    <a:pt x="402" y="125"/>
                  </a:cubicBezTo>
                  <a:lnTo>
                    <a:pt x="390" y="136"/>
                  </a:lnTo>
                  <a:close/>
                  <a:moveTo>
                    <a:pt x="409" y="103"/>
                  </a:moveTo>
                  <a:cubicBezTo>
                    <a:pt x="404" y="99"/>
                    <a:pt x="404" y="99"/>
                    <a:pt x="404" y="99"/>
                  </a:cubicBezTo>
                  <a:cubicBezTo>
                    <a:pt x="407" y="96"/>
                    <a:pt x="407" y="96"/>
                    <a:pt x="407" y="96"/>
                  </a:cubicBezTo>
                  <a:cubicBezTo>
                    <a:pt x="410" y="97"/>
                    <a:pt x="410" y="97"/>
                    <a:pt x="410" y="97"/>
                  </a:cubicBezTo>
                  <a:lnTo>
                    <a:pt x="409" y="103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2" name="Freeform 50"/>
            <p:cNvSpPr>
              <a:spLocks noEditPoints="1"/>
            </p:cNvSpPr>
            <p:nvPr/>
          </p:nvSpPr>
          <p:spPr bwMode="auto">
            <a:xfrm flipH="1">
              <a:off x="-841012" y="1979804"/>
              <a:ext cx="566665" cy="568380"/>
            </a:xfrm>
            <a:custGeom>
              <a:avLst/>
              <a:gdLst>
                <a:gd name="T0" fmla="*/ 162 w 324"/>
                <a:gd name="T1" fmla="*/ 0 h 324"/>
                <a:gd name="T2" fmla="*/ 0 w 324"/>
                <a:gd name="T3" fmla="*/ 162 h 324"/>
                <a:gd name="T4" fmla="*/ 162 w 324"/>
                <a:gd name="T5" fmla="*/ 324 h 324"/>
                <a:gd name="T6" fmla="*/ 324 w 324"/>
                <a:gd name="T7" fmla="*/ 162 h 324"/>
                <a:gd name="T8" fmla="*/ 162 w 324"/>
                <a:gd name="T9" fmla="*/ 0 h 324"/>
                <a:gd name="T10" fmla="*/ 162 w 324"/>
                <a:gd name="T11" fmla="*/ 299 h 324"/>
                <a:gd name="T12" fmla="*/ 25 w 324"/>
                <a:gd name="T13" fmla="*/ 162 h 324"/>
                <a:gd name="T14" fmla="*/ 162 w 324"/>
                <a:gd name="T15" fmla="*/ 25 h 324"/>
                <a:gd name="T16" fmla="*/ 299 w 324"/>
                <a:gd name="T17" fmla="*/ 162 h 324"/>
                <a:gd name="T18" fmla="*/ 162 w 324"/>
                <a:gd name="T19" fmla="*/ 299 h 324"/>
                <a:gd name="T20" fmla="*/ 162 w 324"/>
                <a:gd name="T21" fmla="*/ 37 h 324"/>
                <a:gd name="T22" fmla="*/ 38 w 324"/>
                <a:gd name="T23" fmla="*/ 162 h 324"/>
                <a:gd name="T24" fmla="*/ 162 w 324"/>
                <a:gd name="T25" fmla="*/ 287 h 324"/>
                <a:gd name="T26" fmla="*/ 287 w 324"/>
                <a:gd name="T27" fmla="*/ 162 h 324"/>
                <a:gd name="T28" fmla="*/ 162 w 324"/>
                <a:gd name="T29" fmla="*/ 37 h 324"/>
                <a:gd name="T30" fmla="*/ 162 w 324"/>
                <a:gd name="T31" fmla="*/ 278 h 324"/>
                <a:gd name="T32" fmla="*/ 46 w 324"/>
                <a:gd name="T33" fmla="*/ 162 h 324"/>
                <a:gd name="T34" fmla="*/ 162 w 324"/>
                <a:gd name="T35" fmla="*/ 45 h 324"/>
                <a:gd name="T36" fmla="*/ 279 w 324"/>
                <a:gd name="T37" fmla="*/ 162 h 324"/>
                <a:gd name="T38" fmla="*/ 162 w 324"/>
                <a:gd name="T39" fmla="*/ 278 h 324"/>
                <a:gd name="T40" fmla="*/ 182 w 324"/>
                <a:gd name="T41" fmla="*/ 151 h 324"/>
                <a:gd name="T42" fmla="*/ 111 w 324"/>
                <a:gd name="T43" fmla="*/ 68 h 324"/>
                <a:gd name="T44" fmla="*/ 108 w 324"/>
                <a:gd name="T45" fmla="*/ 69 h 324"/>
                <a:gd name="T46" fmla="*/ 142 w 324"/>
                <a:gd name="T47" fmla="*/ 173 h 324"/>
                <a:gd name="T48" fmla="*/ 142 w 324"/>
                <a:gd name="T49" fmla="*/ 173 h 324"/>
                <a:gd name="T50" fmla="*/ 214 w 324"/>
                <a:gd name="T51" fmla="*/ 256 h 324"/>
                <a:gd name="T52" fmla="*/ 217 w 324"/>
                <a:gd name="T53" fmla="*/ 254 h 324"/>
                <a:gd name="T54" fmla="*/ 181 w 324"/>
                <a:gd name="T55" fmla="*/ 151 h 324"/>
                <a:gd name="T56" fmla="*/ 182 w 324"/>
                <a:gd name="T57" fmla="*/ 151 h 324"/>
                <a:gd name="T58" fmla="*/ 175 w 324"/>
                <a:gd name="T59" fmla="*/ 163 h 324"/>
                <a:gd name="T60" fmla="*/ 161 w 324"/>
                <a:gd name="T61" fmla="*/ 174 h 324"/>
                <a:gd name="T62" fmla="*/ 150 w 324"/>
                <a:gd name="T63" fmla="*/ 160 h 324"/>
                <a:gd name="T64" fmla="*/ 164 w 324"/>
                <a:gd name="T65" fmla="*/ 149 h 324"/>
                <a:gd name="T66" fmla="*/ 175 w 324"/>
                <a:gd name="T67" fmla="*/ 163 h 324"/>
                <a:gd name="T68" fmla="*/ 91 w 324"/>
                <a:gd name="T69" fmla="*/ 156 h 324"/>
                <a:gd name="T70" fmla="*/ 61 w 324"/>
                <a:gd name="T71" fmla="*/ 156 h 324"/>
                <a:gd name="T72" fmla="*/ 55 w 324"/>
                <a:gd name="T73" fmla="*/ 162 h 324"/>
                <a:gd name="T74" fmla="*/ 61 w 324"/>
                <a:gd name="T75" fmla="*/ 168 h 324"/>
                <a:gd name="T76" fmla="*/ 91 w 324"/>
                <a:gd name="T77" fmla="*/ 168 h 324"/>
                <a:gd name="T78" fmla="*/ 97 w 324"/>
                <a:gd name="T79" fmla="*/ 162 h 324"/>
                <a:gd name="T80" fmla="*/ 91 w 324"/>
                <a:gd name="T81" fmla="*/ 156 h 324"/>
                <a:gd name="T82" fmla="*/ 264 w 324"/>
                <a:gd name="T83" fmla="*/ 156 h 324"/>
                <a:gd name="T84" fmla="*/ 234 w 324"/>
                <a:gd name="T85" fmla="*/ 156 h 324"/>
                <a:gd name="T86" fmla="*/ 228 w 324"/>
                <a:gd name="T87" fmla="*/ 162 h 324"/>
                <a:gd name="T88" fmla="*/ 234 w 324"/>
                <a:gd name="T89" fmla="*/ 168 h 324"/>
                <a:gd name="T90" fmla="*/ 264 w 324"/>
                <a:gd name="T91" fmla="*/ 168 h 324"/>
                <a:gd name="T92" fmla="*/ 270 w 324"/>
                <a:gd name="T93" fmla="*/ 162 h 324"/>
                <a:gd name="T94" fmla="*/ 264 w 324"/>
                <a:gd name="T95" fmla="*/ 156 h 324"/>
                <a:gd name="T96" fmla="*/ 162 w 324"/>
                <a:gd name="T97" fmla="*/ 96 h 324"/>
                <a:gd name="T98" fmla="*/ 168 w 324"/>
                <a:gd name="T99" fmla="*/ 90 h 324"/>
                <a:gd name="T100" fmla="*/ 168 w 324"/>
                <a:gd name="T101" fmla="*/ 60 h 324"/>
                <a:gd name="T102" fmla="*/ 162 w 324"/>
                <a:gd name="T103" fmla="*/ 54 h 324"/>
                <a:gd name="T104" fmla="*/ 157 w 324"/>
                <a:gd name="T105" fmla="*/ 60 h 324"/>
                <a:gd name="T106" fmla="*/ 157 w 324"/>
                <a:gd name="T107" fmla="*/ 90 h 324"/>
                <a:gd name="T108" fmla="*/ 162 w 324"/>
                <a:gd name="T109" fmla="*/ 96 h 324"/>
                <a:gd name="T110" fmla="*/ 162 w 324"/>
                <a:gd name="T111" fmla="*/ 227 h 324"/>
                <a:gd name="T112" fmla="*/ 157 w 324"/>
                <a:gd name="T113" fmla="*/ 233 h 324"/>
                <a:gd name="T114" fmla="*/ 157 w 324"/>
                <a:gd name="T115" fmla="*/ 263 h 324"/>
                <a:gd name="T116" fmla="*/ 162 w 324"/>
                <a:gd name="T117" fmla="*/ 269 h 324"/>
                <a:gd name="T118" fmla="*/ 168 w 324"/>
                <a:gd name="T119" fmla="*/ 263 h 324"/>
                <a:gd name="T120" fmla="*/ 168 w 324"/>
                <a:gd name="T121" fmla="*/ 233 h 324"/>
                <a:gd name="T122" fmla="*/ 162 w 324"/>
                <a:gd name="T123" fmla="*/ 227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4" h="324">
                  <a:moveTo>
                    <a:pt x="162" y="0"/>
                  </a:moveTo>
                  <a:cubicBezTo>
                    <a:pt x="73" y="0"/>
                    <a:pt x="0" y="72"/>
                    <a:pt x="0" y="162"/>
                  </a:cubicBezTo>
                  <a:cubicBezTo>
                    <a:pt x="0" y="251"/>
                    <a:pt x="73" y="324"/>
                    <a:pt x="162" y="324"/>
                  </a:cubicBezTo>
                  <a:cubicBezTo>
                    <a:pt x="252" y="324"/>
                    <a:pt x="324" y="251"/>
                    <a:pt x="324" y="162"/>
                  </a:cubicBezTo>
                  <a:cubicBezTo>
                    <a:pt x="324" y="72"/>
                    <a:pt x="252" y="0"/>
                    <a:pt x="162" y="0"/>
                  </a:cubicBezTo>
                  <a:close/>
                  <a:moveTo>
                    <a:pt x="162" y="299"/>
                  </a:moveTo>
                  <a:cubicBezTo>
                    <a:pt x="87" y="299"/>
                    <a:pt x="25" y="237"/>
                    <a:pt x="25" y="162"/>
                  </a:cubicBezTo>
                  <a:cubicBezTo>
                    <a:pt x="25" y="86"/>
                    <a:pt x="87" y="25"/>
                    <a:pt x="162" y="25"/>
                  </a:cubicBezTo>
                  <a:cubicBezTo>
                    <a:pt x="238" y="25"/>
                    <a:pt x="299" y="86"/>
                    <a:pt x="299" y="162"/>
                  </a:cubicBezTo>
                  <a:cubicBezTo>
                    <a:pt x="299" y="237"/>
                    <a:pt x="238" y="299"/>
                    <a:pt x="162" y="299"/>
                  </a:cubicBezTo>
                  <a:close/>
                  <a:moveTo>
                    <a:pt x="162" y="37"/>
                  </a:moveTo>
                  <a:cubicBezTo>
                    <a:pt x="93" y="37"/>
                    <a:pt x="38" y="93"/>
                    <a:pt x="38" y="162"/>
                  </a:cubicBezTo>
                  <a:cubicBezTo>
                    <a:pt x="38" y="231"/>
                    <a:pt x="93" y="287"/>
                    <a:pt x="162" y="287"/>
                  </a:cubicBezTo>
                  <a:cubicBezTo>
                    <a:pt x="231" y="287"/>
                    <a:pt x="287" y="231"/>
                    <a:pt x="287" y="162"/>
                  </a:cubicBezTo>
                  <a:cubicBezTo>
                    <a:pt x="287" y="93"/>
                    <a:pt x="231" y="37"/>
                    <a:pt x="162" y="37"/>
                  </a:cubicBezTo>
                  <a:close/>
                  <a:moveTo>
                    <a:pt x="162" y="278"/>
                  </a:moveTo>
                  <a:cubicBezTo>
                    <a:pt x="98" y="278"/>
                    <a:pt x="46" y="226"/>
                    <a:pt x="46" y="162"/>
                  </a:cubicBezTo>
                  <a:cubicBezTo>
                    <a:pt x="46" y="97"/>
                    <a:pt x="98" y="45"/>
                    <a:pt x="162" y="45"/>
                  </a:cubicBezTo>
                  <a:cubicBezTo>
                    <a:pt x="227" y="45"/>
                    <a:pt x="279" y="97"/>
                    <a:pt x="279" y="162"/>
                  </a:cubicBezTo>
                  <a:cubicBezTo>
                    <a:pt x="279" y="226"/>
                    <a:pt x="227" y="278"/>
                    <a:pt x="162" y="278"/>
                  </a:cubicBezTo>
                  <a:close/>
                  <a:moveTo>
                    <a:pt x="182" y="151"/>
                  </a:moveTo>
                  <a:cubicBezTo>
                    <a:pt x="111" y="68"/>
                    <a:pt x="111" y="68"/>
                    <a:pt x="111" y="68"/>
                  </a:cubicBezTo>
                  <a:cubicBezTo>
                    <a:pt x="108" y="69"/>
                    <a:pt x="108" y="69"/>
                    <a:pt x="108" y="69"/>
                  </a:cubicBezTo>
                  <a:cubicBezTo>
                    <a:pt x="142" y="173"/>
                    <a:pt x="142" y="173"/>
                    <a:pt x="142" y="173"/>
                  </a:cubicBezTo>
                  <a:cubicBezTo>
                    <a:pt x="142" y="173"/>
                    <a:pt x="142" y="173"/>
                    <a:pt x="142" y="173"/>
                  </a:cubicBezTo>
                  <a:cubicBezTo>
                    <a:pt x="214" y="256"/>
                    <a:pt x="214" y="256"/>
                    <a:pt x="214" y="256"/>
                  </a:cubicBezTo>
                  <a:cubicBezTo>
                    <a:pt x="217" y="254"/>
                    <a:pt x="217" y="254"/>
                    <a:pt x="217" y="254"/>
                  </a:cubicBezTo>
                  <a:cubicBezTo>
                    <a:pt x="181" y="151"/>
                    <a:pt x="181" y="151"/>
                    <a:pt x="181" y="151"/>
                  </a:cubicBezTo>
                  <a:lnTo>
                    <a:pt x="182" y="151"/>
                  </a:lnTo>
                  <a:close/>
                  <a:moveTo>
                    <a:pt x="175" y="163"/>
                  </a:moveTo>
                  <a:cubicBezTo>
                    <a:pt x="174" y="170"/>
                    <a:pt x="168" y="175"/>
                    <a:pt x="161" y="174"/>
                  </a:cubicBezTo>
                  <a:cubicBezTo>
                    <a:pt x="154" y="173"/>
                    <a:pt x="149" y="167"/>
                    <a:pt x="150" y="160"/>
                  </a:cubicBezTo>
                  <a:cubicBezTo>
                    <a:pt x="151" y="153"/>
                    <a:pt x="157" y="148"/>
                    <a:pt x="164" y="149"/>
                  </a:cubicBezTo>
                  <a:cubicBezTo>
                    <a:pt x="171" y="150"/>
                    <a:pt x="176" y="156"/>
                    <a:pt x="175" y="163"/>
                  </a:cubicBezTo>
                  <a:close/>
                  <a:moveTo>
                    <a:pt x="91" y="156"/>
                  </a:moveTo>
                  <a:cubicBezTo>
                    <a:pt x="61" y="156"/>
                    <a:pt x="61" y="156"/>
                    <a:pt x="61" y="156"/>
                  </a:cubicBezTo>
                  <a:cubicBezTo>
                    <a:pt x="58" y="156"/>
                    <a:pt x="55" y="158"/>
                    <a:pt x="55" y="162"/>
                  </a:cubicBezTo>
                  <a:cubicBezTo>
                    <a:pt x="55" y="165"/>
                    <a:pt x="58" y="168"/>
                    <a:pt x="61" y="168"/>
                  </a:cubicBezTo>
                  <a:cubicBezTo>
                    <a:pt x="91" y="168"/>
                    <a:pt x="91" y="168"/>
                    <a:pt x="91" y="168"/>
                  </a:cubicBezTo>
                  <a:cubicBezTo>
                    <a:pt x="94" y="168"/>
                    <a:pt x="97" y="165"/>
                    <a:pt x="97" y="162"/>
                  </a:cubicBezTo>
                  <a:cubicBezTo>
                    <a:pt x="97" y="158"/>
                    <a:pt x="94" y="156"/>
                    <a:pt x="91" y="156"/>
                  </a:cubicBezTo>
                  <a:close/>
                  <a:moveTo>
                    <a:pt x="264" y="156"/>
                  </a:moveTo>
                  <a:cubicBezTo>
                    <a:pt x="234" y="156"/>
                    <a:pt x="234" y="156"/>
                    <a:pt x="234" y="156"/>
                  </a:cubicBezTo>
                  <a:cubicBezTo>
                    <a:pt x="231" y="156"/>
                    <a:pt x="228" y="158"/>
                    <a:pt x="228" y="162"/>
                  </a:cubicBezTo>
                  <a:cubicBezTo>
                    <a:pt x="228" y="165"/>
                    <a:pt x="231" y="168"/>
                    <a:pt x="234" y="168"/>
                  </a:cubicBezTo>
                  <a:cubicBezTo>
                    <a:pt x="264" y="168"/>
                    <a:pt x="264" y="168"/>
                    <a:pt x="264" y="168"/>
                  </a:cubicBezTo>
                  <a:cubicBezTo>
                    <a:pt x="267" y="168"/>
                    <a:pt x="270" y="165"/>
                    <a:pt x="270" y="162"/>
                  </a:cubicBezTo>
                  <a:cubicBezTo>
                    <a:pt x="270" y="158"/>
                    <a:pt x="267" y="156"/>
                    <a:pt x="264" y="156"/>
                  </a:cubicBezTo>
                  <a:close/>
                  <a:moveTo>
                    <a:pt x="162" y="96"/>
                  </a:moveTo>
                  <a:cubicBezTo>
                    <a:pt x="166" y="96"/>
                    <a:pt x="168" y="93"/>
                    <a:pt x="168" y="90"/>
                  </a:cubicBezTo>
                  <a:cubicBezTo>
                    <a:pt x="168" y="60"/>
                    <a:pt x="168" y="60"/>
                    <a:pt x="168" y="60"/>
                  </a:cubicBezTo>
                  <a:cubicBezTo>
                    <a:pt x="168" y="57"/>
                    <a:pt x="166" y="54"/>
                    <a:pt x="162" y="54"/>
                  </a:cubicBezTo>
                  <a:cubicBezTo>
                    <a:pt x="159" y="54"/>
                    <a:pt x="157" y="57"/>
                    <a:pt x="157" y="60"/>
                  </a:cubicBezTo>
                  <a:cubicBezTo>
                    <a:pt x="157" y="90"/>
                    <a:pt x="157" y="90"/>
                    <a:pt x="157" y="90"/>
                  </a:cubicBezTo>
                  <a:cubicBezTo>
                    <a:pt x="157" y="93"/>
                    <a:pt x="159" y="96"/>
                    <a:pt x="162" y="96"/>
                  </a:cubicBezTo>
                  <a:close/>
                  <a:moveTo>
                    <a:pt x="162" y="227"/>
                  </a:moveTo>
                  <a:cubicBezTo>
                    <a:pt x="159" y="227"/>
                    <a:pt x="157" y="230"/>
                    <a:pt x="157" y="233"/>
                  </a:cubicBezTo>
                  <a:cubicBezTo>
                    <a:pt x="157" y="263"/>
                    <a:pt x="157" y="263"/>
                    <a:pt x="157" y="263"/>
                  </a:cubicBezTo>
                  <a:cubicBezTo>
                    <a:pt x="157" y="267"/>
                    <a:pt x="159" y="269"/>
                    <a:pt x="162" y="269"/>
                  </a:cubicBezTo>
                  <a:cubicBezTo>
                    <a:pt x="166" y="269"/>
                    <a:pt x="168" y="267"/>
                    <a:pt x="168" y="263"/>
                  </a:cubicBezTo>
                  <a:cubicBezTo>
                    <a:pt x="168" y="233"/>
                    <a:pt x="168" y="233"/>
                    <a:pt x="168" y="233"/>
                  </a:cubicBezTo>
                  <a:cubicBezTo>
                    <a:pt x="168" y="230"/>
                    <a:pt x="166" y="227"/>
                    <a:pt x="162" y="227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3" name="Freeform 50"/>
            <p:cNvSpPr>
              <a:spLocks noEditPoints="1"/>
            </p:cNvSpPr>
            <p:nvPr/>
          </p:nvSpPr>
          <p:spPr bwMode="auto">
            <a:xfrm flipH="1">
              <a:off x="2922468" y="522338"/>
              <a:ext cx="428570" cy="430254"/>
            </a:xfrm>
            <a:custGeom>
              <a:avLst/>
              <a:gdLst>
                <a:gd name="T0" fmla="*/ 162 w 324"/>
                <a:gd name="T1" fmla="*/ 0 h 324"/>
                <a:gd name="T2" fmla="*/ 0 w 324"/>
                <a:gd name="T3" fmla="*/ 162 h 324"/>
                <a:gd name="T4" fmla="*/ 162 w 324"/>
                <a:gd name="T5" fmla="*/ 324 h 324"/>
                <a:gd name="T6" fmla="*/ 324 w 324"/>
                <a:gd name="T7" fmla="*/ 162 h 324"/>
                <a:gd name="T8" fmla="*/ 162 w 324"/>
                <a:gd name="T9" fmla="*/ 0 h 324"/>
                <a:gd name="T10" fmla="*/ 162 w 324"/>
                <a:gd name="T11" fmla="*/ 299 h 324"/>
                <a:gd name="T12" fmla="*/ 25 w 324"/>
                <a:gd name="T13" fmla="*/ 162 h 324"/>
                <a:gd name="T14" fmla="*/ 162 w 324"/>
                <a:gd name="T15" fmla="*/ 25 h 324"/>
                <a:gd name="T16" fmla="*/ 299 w 324"/>
                <a:gd name="T17" fmla="*/ 162 h 324"/>
                <a:gd name="T18" fmla="*/ 162 w 324"/>
                <a:gd name="T19" fmla="*/ 299 h 324"/>
                <a:gd name="T20" fmla="*/ 162 w 324"/>
                <a:gd name="T21" fmla="*/ 37 h 324"/>
                <a:gd name="T22" fmla="*/ 38 w 324"/>
                <a:gd name="T23" fmla="*/ 162 h 324"/>
                <a:gd name="T24" fmla="*/ 162 w 324"/>
                <a:gd name="T25" fmla="*/ 287 h 324"/>
                <a:gd name="T26" fmla="*/ 287 w 324"/>
                <a:gd name="T27" fmla="*/ 162 h 324"/>
                <a:gd name="T28" fmla="*/ 162 w 324"/>
                <a:gd name="T29" fmla="*/ 37 h 324"/>
                <a:gd name="T30" fmla="*/ 162 w 324"/>
                <a:gd name="T31" fmla="*/ 278 h 324"/>
                <a:gd name="T32" fmla="*/ 46 w 324"/>
                <a:gd name="T33" fmla="*/ 162 h 324"/>
                <a:gd name="T34" fmla="*/ 162 w 324"/>
                <a:gd name="T35" fmla="*/ 45 h 324"/>
                <a:gd name="T36" fmla="*/ 279 w 324"/>
                <a:gd name="T37" fmla="*/ 162 h 324"/>
                <a:gd name="T38" fmla="*/ 162 w 324"/>
                <a:gd name="T39" fmla="*/ 278 h 324"/>
                <a:gd name="T40" fmla="*/ 182 w 324"/>
                <a:gd name="T41" fmla="*/ 151 h 324"/>
                <a:gd name="T42" fmla="*/ 111 w 324"/>
                <a:gd name="T43" fmla="*/ 68 h 324"/>
                <a:gd name="T44" fmla="*/ 108 w 324"/>
                <a:gd name="T45" fmla="*/ 69 h 324"/>
                <a:gd name="T46" fmla="*/ 142 w 324"/>
                <a:gd name="T47" fmla="*/ 173 h 324"/>
                <a:gd name="T48" fmla="*/ 142 w 324"/>
                <a:gd name="T49" fmla="*/ 173 h 324"/>
                <a:gd name="T50" fmla="*/ 214 w 324"/>
                <a:gd name="T51" fmla="*/ 256 h 324"/>
                <a:gd name="T52" fmla="*/ 217 w 324"/>
                <a:gd name="T53" fmla="*/ 254 h 324"/>
                <a:gd name="T54" fmla="*/ 181 w 324"/>
                <a:gd name="T55" fmla="*/ 151 h 324"/>
                <a:gd name="T56" fmla="*/ 182 w 324"/>
                <a:gd name="T57" fmla="*/ 151 h 324"/>
                <a:gd name="T58" fmla="*/ 175 w 324"/>
                <a:gd name="T59" fmla="*/ 163 h 324"/>
                <a:gd name="T60" fmla="*/ 161 w 324"/>
                <a:gd name="T61" fmla="*/ 174 h 324"/>
                <a:gd name="T62" fmla="*/ 150 w 324"/>
                <a:gd name="T63" fmla="*/ 160 h 324"/>
                <a:gd name="T64" fmla="*/ 164 w 324"/>
                <a:gd name="T65" fmla="*/ 149 h 324"/>
                <a:gd name="T66" fmla="*/ 175 w 324"/>
                <a:gd name="T67" fmla="*/ 163 h 324"/>
                <a:gd name="T68" fmla="*/ 91 w 324"/>
                <a:gd name="T69" fmla="*/ 156 h 324"/>
                <a:gd name="T70" fmla="*/ 61 w 324"/>
                <a:gd name="T71" fmla="*/ 156 h 324"/>
                <a:gd name="T72" fmla="*/ 55 w 324"/>
                <a:gd name="T73" fmla="*/ 162 h 324"/>
                <a:gd name="T74" fmla="*/ 61 w 324"/>
                <a:gd name="T75" fmla="*/ 168 h 324"/>
                <a:gd name="T76" fmla="*/ 91 w 324"/>
                <a:gd name="T77" fmla="*/ 168 h 324"/>
                <a:gd name="T78" fmla="*/ 97 w 324"/>
                <a:gd name="T79" fmla="*/ 162 h 324"/>
                <a:gd name="T80" fmla="*/ 91 w 324"/>
                <a:gd name="T81" fmla="*/ 156 h 324"/>
                <a:gd name="T82" fmla="*/ 264 w 324"/>
                <a:gd name="T83" fmla="*/ 156 h 324"/>
                <a:gd name="T84" fmla="*/ 234 w 324"/>
                <a:gd name="T85" fmla="*/ 156 h 324"/>
                <a:gd name="T86" fmla="*/ 228 w 324"/>
                <a:gd name="T87" fmla="*/ 162 h 324"/>
                <a:gd name="T88" fmla="*/ 234 w 324"/>
                <a:gd name="T89" fmla="*/ 168 h 324"/>
                <a:gd name="T90" fmla="*/ 264 w 324"/>
                <a:gd name="T91" fmla="*/ 168 h 324"/>
                <a:gd name="T92" fmla="*/ 270 w 324"/>
                <a:gd name="T93" fmla="*/ 162 h 324"/>
                <a:gd name="T94" fmla="*/ 264 w 324"/>
                <a:gd name="T95" fmla="*/ 156 h 324"/>
                <a:gd name="T96" fmla="*/ 162 w 324"/>
                <a:gd name="T97" fmla="*/ 96 h 324"/>
                <a:gd name="T98" fmla="*/ 168 w 324"/>
                <a:gd name="T99" fmla="*/ 90 h 324"/>
                <a:gd name="T100" fmla="*/ 168 w 324"/>
                <a:gd name="T101" fmla="*/ 60 h 324"/>
                <a:gd name="T102" fmla="*/ 162 w 324"/>
                <a:gd name="T103" fmla="*/ 54 h 324"/>
                <a:gd name="T104" fmla="*/ 157 w 324"/>
                <a:gd name="T105" fmla="*/ 60 h 324"/>
                <a:gd name="T106" fmla="*/ 157 w 324"/>
                <a:gd name="T107" fmla="*/ 90 h 324"/>
                <a:gd name="T108" fmla="*/ 162 w 324"/>
                <a:gd name="T109" fmla="*/ 96 h 324"/>
                <a:gd name="T110" fmla="*/ 162 w 324"/>
                <a:gd name="T111" fmla="*/ 227 h 324"/>
                <a:gd name="T112" fmla="*/ 157 w 324"/>
                <a:gd name="T113" fmla="*/ 233 h 324"/>
                <a:gd name="T114" fmla="*/ 157 w 324"/>
                <a:gd name="T115" fmla="*/ 263 h 324"/>
                <a:gd name="T116" fmla="*/ 162 w 324"/>
                <a:gd name="T117" fmla="*/ 269 h 324"/>
                <a:gd name="T118" fmla="*/ 168 w 324"/>
                <a:gd name="T119" fmla="*/ 263 h 324"/>
                <a:gd name="T120" fmla="*/ 168 w 324"/>
                <a:gd name="T121" fmla="*/ 233 h 324"/>
                <a:gd name="T122" fmla="*/ 162 w 324"/>
                <a:gd name="T123" fmla="*/ 227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4" h="324">
                  <a:moveTo>
                    <a:pt x="162" y="0"/>
                  </a:moveTo>
                  <a:cubicBezTo>
                    <a:pt x="73" y="0"/>
                    <a:pt x="0" y="72"/>
                    <a:pt x="0" y="162"/>
                  </a:cubicBezTo>
                  <a:cubicBezTo>
                    <a:pt x="0" y="251"/>
                    <a:pt x="73" y="324"/>
                    <a:pt x="162" y="324"/>
                  </a:cubicBezTo>
                  <a:cubicBezTo>
                    <a:pt x="252" y="324"/>
                    <a:pt x="324" y="251"/>
                    <a:pt x="324" y="162"/>
                  </a:cubicBezTo>
                  <a:cubicBezTo>
                    <a:pt x="324" y="72"/>
                    <a:pt x="252" y="0"/>
                    <a:pt x="162" y="0"/>
                  </a:cubicBezTo>
                  <a:close/>
                  <a:moveTo>
                    <a:pt x="162" y="299"/>
                  </a:moveTo>
                  <a:cubicBezTo>
                    <a:pt x="87" y="299"/>
                    <a:pt x="25" y="237"/>
                    <a:pt x="25" y="162"/>
                  </a:cubicBezTo>
                  <a:cubicBezTo>
                    <a:pt x="25" y="86"/>
                    <a:pt x="87" y="25"/>
                    <a:pt x="162" y="25"/>
                  </a:cubicBezTo>
                  <a:cubicBezTo>
                    <a:pt x="238" y="25"/>
                    <a:pt x="299" y="86"/>
                    <a:pt x="299" y="162"/>
                  </a:cubicBezTo>
                  <a:cubicBezTo>
                    <a:pt x="299" y="237"/>
                    <a:pt x="238" y="299"/>
                    <a:pt x="162" y="299"/>
                  </a:cubicBezTo>
                  <a:close/>
                  <a:moveTo>
                    <a:pt x="162" y="37"/>
                  </a:moveTo>
                  <a:cubicBezTo>
                    <a:pt x="93" y="37"/>
                    <a:pt x="38" y="93"/>
                    <a:pt x="38" y="162"/>
                  </a:cubicBezTo>
                  <a:cubicBezTo>
                    <a:pt x="38" y="231"/>
                    <a:pt x="93" y="287"/>
                    <a:pt x="162" y="287"/>
                  </a:cubicBezTo>
                  <a:cubicBezTo>
                    <a:pt x="231" y="287"/>
                    <a:pt x="287" y="231"/>
                    <a:pt x="287" y="162"/>
                  </a:cubicBezTo>
                  <a:cubicBezTo>
                    <a:pt x="287" y="93"/>
                    <a:pt x="231" y="37"/>
                    <a:pt x="162" y="37"/>
                  </a:cubicBezTo>
                  <a:close/>
                  <a:moveTo>
                    <a:pt x="162" y="278"/>
                  </a:moveTo>
                  <a:cubicBezTo>
                    <a:pt x="98" y="278"/>
                    <a:pt x="46" y="226"/>
                    <a:pt x="46" y="162"/>
                  </a:cubicBezTo>
                  <a:cubicBezTo>
                    <a:pt x="46" y="97"/>
                    <a:pt x="98" y="45"/>
                    <a:pt x="162" y="45"/>
                  </a:cubicBezTo>
                  <a:cubicBezTo>
                    <a:pt x="227" y="45"/>
                    <a:pt x="279" y="97"/>
                    <a:pt x="279" y="162"/>
                  </a:cubicBezTo>
                  <a:cubicBezTo>
                    <a:pt x="279" y="226"/>
                    <a:pt x="227" y="278"/>
                    <a:pt x="162" y="278"/>
                  </a:cubicBezTo>
                  <a:close/>
                  <a:moveTo>
                    <a:pt x="182" y="151"/>
                  </a:moveTo>
                  <a:cubicBezTo>
                    <a:pt x="111" y="68"/>
                    <a:pt x="111" y="68"/>
                    <a:pt x="111" y="68"/>
                  </a:cubicBezTo>
                  <a:cubicBezTo>
                    <a:pt x="108" y="69"/>
                    <a:pt x="108" y="69"/>
                    <a:pt x="108" y="69"/>
                  </a:cubicBezTo>
                  <a:cubicBezTo>
                    <a:pt x="142" y="173"/>
                    <a:pt x="142" y="173"/>
                    <a:pt x="142" y="173"/>
                  </a:cubicBezTo>
                  <a:cubicBezTo>
                    <a:pt x="142" y="173"/>
                    <a:pt x="142" y="173"/>
                    <a:pt x="142" y="173"/>
                  </a:cubicBezTo>
                  <a:cubicBezTo>
                    <a:pt x="214" y="256"/>
                    <a:pt x="214" y="256"/>
                    <a:pt x="214" y="256"/>
                  </a:cubicBezTo>
                  <a:cubicBezTo>
                    <a:pt x="217" y="254"/>
                    <a:pt x="217" y="254"/>
                    <a:pt x="217" y="254"/>
                  </a:cubicBezTo>
                  <a:cubicBezTo>
                    <a:pt x="181" y="151"/>
                    <a:pt x="181" y="151"/>
                    <a:pt x="181" y="151"/>
                  </a:cubicBezTo>
                  <a:lnTo>
                    <a:pt x="182" y="151"/>
                  </a:lnTo>
                  <a:close/>
                  <a:moveTo>
                    <a:pt x="175" y="163"/>
                  </a:moveTo>
                  <a:cubicBezTo>
                    <a:pt x="174" y="170"/>
                    <a:pt x="168" y="175"/>
                    <a:pt x="161" y="174"/>
                  </a:cubicBezTo>
                  <a:cubicBezTo>
                    <a:pt x="154" y="173"/>
                    <a:pt x="149" y="167"/>
                    <a:pt x="150" y="160"/>
                  </a:cubicBezTo>
                  <a:cubicBezTo>
                    <a:pt x="151" y="153"/>
                    <a:pt x="157" y="148"/>
                    <a:pt x="164" y="149"/>
                  </a:cubicBezTo>
                  <a:cubicBezTo>
                    <a:pt x="171" y="150"/>
                    <a:pt x="176" y="156"/>
                    <a:pt x="175" y="163"/>
                  </a:cubicBezTo>
                  <a:close/>
                  <a:moveTo>
                    <a:pt x="91" y="156"/>
                  </a:moveTo>
                  <a:cubicBezTo>
                    <a:pt x="61" y="156"/>
                    <a:pt x="61" y="156"/>
                    <a:pt x="61" y="156"/>
                  </a:cubicBezTo>
                  <a:cubicBezTo>
                    <a:pt x="58" y="156"/>
                    <a:pt x="55" y="158"/>
                    <a:pt x="55" y="162"/>
                  </a:cubicBezTo>
                  <a:cubicBezTo>
                    <a:pt x="55" y="165"/>
                    <a:pt x="58" y="168"/>
                    <a:pt x="61" y="168"/>
                  </a:cubicBezTo>
                  <a:cubicBezTo>
                    <a:pt x="91" y="168"/>
                    <a:pt x="91" y="168"/>
                    <a:pt x="91" y="168"/>
                  </a:cubicBezTo>
                  <a:cubicBezTo>
                    <a:pt x="94" y="168"/>
                    <a:pt x="97" y="165"/>
                    <a:pt x="97" y="162"/>
                  </a:cubicBezTo>
                  <a:cubicBezTo>
                    <a:pt x="97" y="158"/>
                    <a:pt x="94" y="156"/>
                    <a:pt x="91" y="156"/>
                  </a:cubicBezTo>
                  <a:close/>
                  <a:moveTo>
                    <a:pt x="264" y="156"/>
                  </a:moveTo>
                  <a:cubicBezTo>
                    <a:pt x="234" y="156"/>
                    <a:pt x="234" y="156"/>
                    <a:pt x="234" y="156"/>
                  </a:cubicBezTo>
                  <a:cubicBezTo>
                    <a:pt x="231" y="156"/>
                    <a:pt x="228" y="158"/>
                    <a:pt x="228" y="162"/>
                  </a:cubicBezTo>
                  <a:cubicBezTo>
                    <a:pt x="228" y="165"/>
                    <a:pt x="231" y="168"/>
                    <a:pt x="234" y="168"/>
                  </a:cubicBezTo>
                  <a:cubicBezTo>
                    <a:pt x="264" y="168"/>
                    <a:pt x="264" y="168"/>
                    <a:pt x="264" y="168"/>
                  </a:cubicBezTo>
                  <a:cubicBezTo>
                    <a:pt x="267" y="168"/>
                    <a:pt x="270" y="165"/>
                    <a:pt x="270" y="162"/>
                  </a:cubicBezTo>
                  <a:cubicBezTo>
                    <a:pt x="270" y="158"/>
                    <a:pt x="267" y="156"/>
                    <a:pt x="264" y="156"/>
                  </a:cubicBezTo>
                  <a:close/>
                  <a:moveTo>
                    <a:pt x="162" y="96"/>
                  </a:moveTo>
                  <a:cubicBezTo>
                    <a:pt x="166" y="96"/>
                    <a:pt x="168" y="93"/>
                    <a:pt x="168" y="90"/>
                  </a:cubicBezTo>
                  <a:cubicBezTo>
                    <a:pt x="168" y="60"/>
                    <a:pt x="168" y="60"/>
                    <a:pt x="168" y="60"/>
                  </a:cubicBezTo>
                  <a:cubicBezTo>
                    <a:pt x="168" y="57"/>
                    <a:pt x="166" y="54"/>
                    <a:pt x="162" y="54"/>
                  </a:cubicBezTo>
                  <a:cubicBezTo>
                    <a:pt x="159" y="54"/>
                    <a:pt x="157" y="57"/>
                    <a:pt x="157" y="60"/>
                  </a:cubicBezTo>
                  <a:cubicBezTo>
                    <a:pt x="157" y="90"/>
                    <a:pt x="157" y="90"/>
                    <a:pt x="157" y="90"/>
                  </a:cubicBezTo>
                  <a:cubicBezTo>
                    <a:pt x="157" y="93"/>
                    <a:pt x="159" y="96"/>
                    <a:pt x="162" y="96"/>
                  </a:cubicBezTo>
                  <a:close/>
                  <a:moveTo>
                    <a:pt x="162" y="227"/>
                  </a:moveTo>
                  <a:cubicBezTo>
                    <a:pt x="159" y="227"/>
                    <a:pt x="157" y="230"/>
                    <a:pt x="157" y="233"/>
                  </a:cubicBezTo>
                  <a:cubicBezTo>
                    <a:pt x="157" y="263"/>
                    <a:pt x="157" y="263"/>
                    <a:pt x="157" y="263"/>
                  </a:cubicBezTo>
                  <a:cubicBezTo>
                    <a:pt x="157" y="267"/>
                    <a:pt x="159" y="269"/>
                    <a:pt x="162" y="269"/>
                  </a:cubicBezTo>
                  <a:cubicBezTo>
                    <a:pt x="166" y="269"/>
                    <a:pt x="168" y="267"/>
                    <a:pt x="168" y="263"/>
                  </a:cubicBezTo>
                  <a:cubicBezTo>
                    <a:pt x="168" y="233"/>
                    <a:pt x="168" y="233"/>
                    <a:pt x="168" y="233"/>
                  </a:cubicBezTo>
                  <a:cubicBezTo>
                    <a:pt x="168" y="230"/>
                    <a:pt x="166" y="227"/>
                    <a:pt x="162" y="227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4" name="Freeform 50"/>
            <p:cNvSpPr>
              <a:spLocks noEditPoints="1"/>
            </p:cNvSpPr>
            <p:nvPr/>
          </p:nvSpPr>
          <p:spPr bwMode="auto">
            <a:xfrm flipH="1">
              <a:off x="330414" y="617598"/>
              <a:ext cx="323808" cy="323881"/>
            </a:xfrm>
            <a:custGeom>
              <a:avLst/>
              <a:gdLst>
                <a:gd name="T0" fmla="*/ 162 w 324"/>
                <a:gd name="T1" fmla="*/ 0 h 324"/>
                <a:gd name="T2" fmla="*/ 0 w 324"/>
                <a:gd name="T3" fmla="*/ 162 h 324"/>
                <a:gd name="T4" fmla="*/ 162 w 324"/>
                <a:gd name="T5" fmla="*/ 324 h 324"/>
                <a:gd name="T6" fmla="*/ 324 w 324"/>
                <a:gd name="T7" fmla="*/ 162 h 324"/>
                <a:gd name="T8" fmla="*/ 162 w 324"/>
                <a:gd name="T9" fmla="*/ 0 h 324"/>
                <a:gd name="T10" fmla="*/ 162 w 324"/>
                <a:gd name="T11" fmla="*/ 299 h 324"/>
                <a:gd name="T12" fmla="*/ 25 w 324"/>
                <a:gd name="T13" fmla="*/ 162 h 324"/>
                <a:gd name="T14" fmla="*/ 162 w 324"/>
                <a:gd name="T15" fmla="*/ 25 h 324"/>
                <a:gd name="T16" fmla="*/ 299 w 324"/>
                <a:gd name="T17" fmla="*/ 162 h 324"/>
                <a:gd name="T18" fmla="*/ 162 w 324"/>
                <a:gd name="T19" fmla="*/ 299 h 324"/>
                <a:gd name="T20" fmla="*/ 162 w 324"/>
                <a:gd name="T21" fmla="*/ 37 h 324"/>
                <a:gd name="T22" fmla="*/ 38 w 324"/>
                <a:gd name="T23" fmla="*/ 162 h 324"/>
                <a:gd name="T24" fmla="*/ 162 w 324"/>
                <a:gd name="T25" fmla="*/ 287 h 324"/>
                <a:gd name="T26" fmla="*/ 287 w 324"/>
                <a:gd name="T27" fmla="*/ 162 h 324"/>
                <a:gd name="T28" fmla="*/ 162 w 324"/>
                <a:gd name="T29" fmla="*/ 37 h 324"/>
                <a:gd name="T30" fmla="*/ 162 w 324"/>
                <a:gd name="T31" fmla="*/ 278 h 324"/>
                <a:gd name="T32" fmla="*/ 46 w 324"/>
                <a:gd name="T33" fmla="*/ 162 h 324"/>
                <a:gd name="T34" fmla="*/ 162 w 324"/>
                <a:gd name="T35" fmla="*/ 45 h 324"/>
                <a:gd name="T36" fmla="*/ 279 w 324"/>
                <a:gd name="T37" fmla="*/ 162 h 324"/>
                <a:gd name="T38" fmla="*/ 162 w 324"/>
                <a:gd name="T39" fmla="*/ 278 h 324"/>
                <a:gd name="T40" fmla="*/ 182 w 324"/>
                <a:gd name="T41" fmla="*/ 151 h 324"/>
                <a:gd name="T42" fmla="*/ 111 w 324"/>
                <a:gd name="T43" fmla="*/ 68 h 324"/>
                <a:gd name="T44" fmla="*/ 108 w 324"/>
                <a:gd name="T45" fmla="*/ 69 h 324"/>
                <a:gd name="T46" fmla="*/ 142 w 324"/>
                <a:gd name="T47" fmla="*/ 173 h 324"/>
                <a:gd name="T48" fmla="*/ 142 w 324"/>
                <a:gd name="T49" fmla="*/ 173 h 324"/>
                <a:gd name="T50" fmla="*/ 214 w 324"/>
                <a:gd name="T51" fmla="*/ 256 h 324"/>
                <a:gd name="T52" fmla="*/ 217 w 324"/>
                <a:gd name="T53" fmla="*/ 254 h 324"/>
                <a:gd name="T54" fmla="*/ 181 w 324"/>
                <a:gd name="T55" fmla="*/ 151 h 324"/>
                <a:gd name="T56" fmla="*/ 182 w 324"/>
                <a:gd name="T57" fmla="*/ 151 h 324"/>
                <a:gd name="T58" fmla="*/ 175 w 324"/>
                <a:gd name="T59" fmla="*/ 163 h 324"/>
                <a:gd name="T60" fmla="*/ 161 w 324"/>
                <a:gd name="T61" fmla="*/ 174 h 324"/>
                <a:gd name="T62" fmla="*/ 150 w 324"/>
                <a:gd name="T63" fmla="*/ 160 h 324"/>
                <a:gd name="T64" fmla="*/ 164 w 324"/>
                <a:gd name="T65" fmla="*/ 149 h 324"/>
                <a:gd name="T66" fmla="*/ 175 w 324"/>
                <a:gd name="T67" fmla="*/ 163 h 324"/>
                <a:gd name="T68" fmla="*/ 91 w 324"/>
                <a:gd name="T69" fmla="*/ 156 h 324"/>
                <a:gd name="T70" fmla="*/ 61 w 324"/>
                <a:gd name="T71" fmla="*/ 156 h 324"/>
                <a:gd name="T72" fmla="*/ 55 w 324"/>
                <a:gd name="T73" fmla="*/ 162 h 324"/>
                <a:gd name="T74" fmla="*/ 61 w 324"/>
                <a:gd name="T75" fmla="*/ 168 h 324"/>
                <a:gd name="T76" fmla="*/ 91 w 324"/>
                <a:gd name="T77" fmla="*/ 168 h 324"/>
                <a:gd name="T78" fmla="*/ 97 w 324"/>
                <a:gd name="T79" fmla="*/ 162 h 324"/>
                <a:gd name="T80" fmla="*/ 91 w 324"/>
                <a:gd name="T81" fmla="*/ 156 h 324"/>
                <a:gd name="T82" fmla="*/ 264 w 324"/>
                <a:gd name="T83" fmla="*/ 156 h 324"/>
                <a:gd name="T84" fmla="*/ 234 w 324"/>
                <a:gd name="T85" fmla="*/ 156 h 324"/>
                <a:gd name="T86" fmla="*/ 228 w 324"/>
                <a:gd name="T87" fmla="*/ 162 h 324"/>
                <a:gd name="T88" fmla="*/ 234 w 324"/>
                <a:gd name="T89" fmla="*/ 168 h 324"/>
                <a:gd name="T90" fmla="*/ 264 w 324"/>
                <a:gd name="T91" fmla="*/ 168 h 324"/>
                <a:gd name="T92" fmla="*/ 270 w 324"/>
                <a:gd name="T93" fmla="*/ 162 h 324"/>
                <a:gd name="T94" fmla="*/ 264 w 324"/>
                <a:gd name="T95" fmla="*/ 156 h 324"/>
                <a:gd name="T96" fmla="*/ 162 w 324"/>
                <a:gd name="T97" fmla="*/ 96 h 324"/>
                <a:gd name="T98" fmla="*/ 168 w 324"/>
                <a:gd name="T99" fmla="*/ 90 h 324"/>
                <a:gd name="T100" fmla="*/ 168 w 324"/>
                <a:gd name="T101" fmla="*/ 60 h 324"/>
                <a:gd name="T102" fmla="*/ 162 w 324"/>
                <a:gd name="T103" fmla="*/ 54 h 324"/>
                <a:gd name="T104" fmla="*/ 157 w 324"/>
                <a:gd name="T105" fmla="*/ 60 h 324"/>
                <a:gd name="T106" fmla="*/ 157 w 324"/>
                <a:gd name="T107" fmla="*/ 90 h 324"/>
                <a:gd name="T108" fmla="*/ 162 w 324"/>
                <a:gd name="T109" fmla="*/ 96 h 324"/>
                <a:gd name="T110" fmla="*/ 162 w 324"/>
                <a:gd name="T111" fmla="*/ 227 h 324"/>
                <a:gd name="T112" fmla="*/ 157 w 324"/>
                <a:gd name="T113" fmla="*/ 233 h 324"/>
                <a:gd name="T114" fmla="*/ 157 w 324"/>
                <a:gd name="T115" fmla="*/ 263 h 324"/>
                <a:gd name="T116" fmla="*/ 162 w 324"/>
                <a:gd name="T117" fmla="*/ 269 h 324"/>
                <a:gd name="T118" fmla="*/ 168 w 324"/>
                <a:gd name="T119" fmla="*/ 263 h 324"/>
                <a:gd name="T120" fmla="*/ 168 w 324"/>
                <a:gd name="T121" fmla="*/ 233 h 324"/>
                <a:gd name="T122" fmla="*/ 162 w 324"/>
                <a:gd name="T123" fmla="*/ 227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4" h="324">
                  <a:moveTo>
                    <a:pt x="162" y="0"/>
                  </a:moveTo>
                  <a:cubicBezTo>
                    <a:pt x="73" y="0"/>
                    <a:pt x="0" y="72"/>
                    <a:pt x="0" y="162"/>
                  </a:cubicBezTo>
                  <a:cubicBezTo>
                    <a:pt x="0" y="251"/>
                    <a:pt x="73" y="324"/>
                    <a:pt x="162" y="324"/>
                  </a:cubicBezTo>
                  <a:cubicBezTo>
                    <a:pt x="252" y="324"/>
                    <a:pt x="324" y="251"/>
                    <a:pt x="324" y="162"/>
                  </a:cubicBezTo>
                  <a:cubicBezTo>
                    <a:pt x="324" y="72"/>
                    <a:pt x="252" y="0"/>
                    <a:pt x="162" y="0"/>
                  </a:cubicBezTo>
                  <a:close/>
                  <a:moveTo>
                    <a:pt x="162" y="299"/>
                  </a:moveTo>
                  <a:cubicBezTo>
                    <a:pt x="87" y="299"/>
                    <a:pt x="25" y="237"/>
                    <a:pt x="25" y="162"/>
                  </a:cubicBezTo>
                  <a:cubicBezTo>
                    <a:pt x="25" y="86"/>
                    <a:pt x="87" y="25"/>
                    <a:pt x="162" y="25"/>
                  </a:cubicBezTo>
                  <a:cubicBezTo>
                    <a:pt x="238" y="25"/>
                    <a:pt x="299" y="86"/>
                    <a:pt x="299" y="162"/>
                  </a:cubicBezTo>
                  <a:cubicBezTo>
                    <a:pt x="299" y="237"/>
                    <a:pt x="238" y="299"/>
                    <a:pt x="162" y="299"/>
                  </a:cubicBezTo>
                  <a:close/>
                  <a:moveTo>
                    <a:pt x="162" y="37"/>
                  </a:moveTo>
                  <a:cubicBezTo>
                    <a:pt x="93" y="37"/>
                    <a:pt x="38" y="93"/>
                    <a:pt x="38" y="162"/>
                  </a:cubicBezTo>
                  <a:cubicBezTo>
                    <a:pt x="38" y="231"/>
                    <a:pt x="93" y="287"/>
                    <a:pt x="162" y="287"/>
                  </a:cubicBezTo>
                  <a:cubicBezTo>
                    <a:pt x="231" y="287"/>
                    <a:pt x="287" y="231"/>
                    <a:pt x="287" y="162"/>
                  </a:cubicBezTo>
                  <a:cubicBezTo>
                    <a:pt x="287" y="93"/>
                    <a:pt x="231" y="37"/>
                    <a:pt x="162" y="37"/>
                  </a:cubicBezTo>
                  <a:close/>
                  <a:moveTo>
                    <a:pt x="162" y="278"/>
                  </a:moveTo>
                  <a:cubicBezTo>
                    <a:pt x="98" y="278"/>
                    <a:pt x="46" y="226"/>
                    <a:pt x="46" y="162"/>
                  </a:cubicBezTo>
                  <a:cubicBezTo>
                    <a:pt x="46" y="97"/>
                    <a:pt x="98" y="45"/>
                    <a:pt x="162" y="45"/>
                  </a:cubicBezTo>
                  <a:cubicBezTo>
                    <a:pt x="227" y="45"/>
                    <a:pt x="279" y="97"/>
                    <a:pt x="279" y="162"/>
                  </a:cubicBezTo>
                  <a:cubicBezTo>
                    <a:pt x="279" y="226"/>
                    <a:pt x="227" y="278"/>
                    <a:pt x="162" y="278"/>
                  </a:cubicBezTo>
                  <a:close/>
                  <a:moveTo>
                    <a:pt x="182" y="151"/>
                  </a:moveTo>
                  <a:cubicBezTo>
                    <a:pt x="111" y="68"/>
                    <a:pt x="111" y="68"/>
                    <a:pt x="111" y="68"/>
                  </a:cubicBezTo>
                  <a:cubicBezTo>
                    <a:pt x="108" y="69"/>
                    <a:pt x="108" y="69"/>
                    <a:pt x="108" y="69"/>
                  </a:cubicBezTo>
                  <a:cubicBezTo>
                    <a:pt x="142" y="173"/>
                    <a:pt x="142" y="173"/>
                    <a:pt x="142" y="173"/>
                  </a:cubicBezTo>
                  <a:cubicBezTo>
                    <a:pt x="142" y="173"/>
                    <a:pt x="142" y="173"/>
                    <a:pt x="142" y="173"/>
                  </a:cubicBezTo>
                  <a:cubicBezTo>
                    <a:pt x="214" y="256"/>
                    <a:pt x="214" y="256"/>
                    <a:pt x="214" y="256"/>
                  </a:cubicBezTo>
                  <a:cubicBezTo>
                    <a:pt x="217" y="254"/>
                    <a:pt x="217" y="254"/>
                    <a:pt x="217" y="254"/>
                  </a:cubicBezTo>
                  <a:cubicBezTo>
                    <a:pt x="181" y="151"/>
                    <a:pt x="181" y="151"/>
                    <a:pt x="181" y="151"/>
                  </a:cubicBezTo>
                  <a:lnTo>
                    <a:pt x="182" y="151"/>
                  </a:lnTo>
                  <a:close/>
                  <a:moveTo>
                    <a:pt x="175" y="163"/>
                  </a:moveTo>
                  <a:cubicBezTo>
                    <a:pt x="174" y="170"/>
                    <a:pt x="168" y="175"/>
                    <a:pt x="161" y="174"/>
                  </a:cubicBezTo>
                  <a:cubicBezTo>
                    <a:pt x="154" y="173"/>
                    <a:pt x="149" y="167"/>
                    <a:pt x="150" y="160"/>
                  </a:cubicBezTo>
                  <a:cubicBezTo>
                    <a:pt x="151" y="153"/>
                    <a:pt x="157" y="148"/>
                    <a:pt x="164" y="149"/>
                  </a:cubicBezTo>
                  <a:cubicBezTo>
                    <a:pt x="171" y="150"/>
                    <a:pt x="176" y="156"/>
                    <a:pt x="175" y="163"/>
                  </a:cubicBezTo>
                  <a:close/>
                  <a:moveTo>
                    <a:pt x="91" y="156"/>
                  </a:moveTo>
                  <a:cubicBezTo>
                    <a:pt x="61" y="156"/>
                    <a:pt x="61" y="156"/>
                    <a:pt x="61" y="156"/>
                  </a:cubicBezTo>
                  <a:cubicBezTo>
                    <a:pt x="58" y="156"/>
                    <a:pt x="55" y="158"/>
                    <a:pt x="55" y="162"/>
                  </a:cubicBezTo>
                  <a:cubicBezTo>
                    <a:pt x="55" y="165"/>
                    <a:pt x="58" y="168"/>
                    <a:pt x="61" y="168"/>
                  </a:cubicBezTo>
                  <a:cubicBezTo>
                    <a:pt x="91" y="168"/>
                    <a:pt x="91" y="168"/>
                    <a:pt x="91" y="168"/>
                  </a:cubicBezTo>
                  <a:cubicBezTo>
                    <a:pt x="94" y="168"/>
                    <a:pt x="97" y="165"/>
                    <a:pt x="97" y="162"/>
                  </a:cubicBezTo>
                  <a:cubicBezTo>
                    <a:pt x="97" y="158"/>
                    <a:pt x="94" y="156"/>
                    <a:pt x="91" y="156"/>
                  </a:cubicBezTo>
                  <a:close/>
                  <a:moveTo>
                    <a:pt x="264" y="156"/>
                  </a:moveTo>
                  <a:cubicBezTo>
                    <a:pt x="234" y="156"/>
                    <a:pt x="234" y="156"/>
                    <a:pt x="234" y="156"/>
                  </a:cubicBezTo>
                  <a:cubicBezTo>
                    <a:pt x="231" y="156"/>
                    <a:pt x="228" y="158"/>
                    <a:pt x="228" y="162"/>
                  </a:cubicBezTo>
                  <a:cubicBezTo>
                    <a:pt x="228" y="165"/>
                    <a:pt x="231" y="168"/>
                    <a:pt x="234" y="168"/>
                  </a:cubicBezTo>
                  <a:cubicBezTo>
                    <a:pt x="264" y="168"/>
                    <a:pt x="264" y="168"/>
                    <a:pt x="264" y="168"/>
                  </a:cubicBezTo>
                  <a:cubicBezTo>
                    <a:pt x="267" y="168"/>
                    <a:pt x="270" y="165"/>
                    <a:pt x="270" y="162"/>
                  </a:cubicBezTo>
                  <a:cubicBezTo>
                    <a:pt x="270" y="158"/>
                    <a:pt x="267" y="156"/>
                    <a:pt x="264" y="156"/>
                  </a:cubicBezTo>
                  <a:close/>
                  <a:moveTo>
                    <a:pt x="162" y="96"/>
                  </a:moveTo>
                  <a:cubicBezTo>
                    <a:pt x="166" y="96"/>
                    <a:pt x="168" y="93"/>
                    <a:pt x="168" y="90"/>
                  </a:cubicBezTo>
                  <a:cubicBezTo>
                    <a:pt x="168" y="60"/>
                    <a:pt x="168" y="60"/>
                    <a:pt x="168" y="60"/>
                  </a:cubicBezTo>
                  <a:cubicBezTo>
                    <a:pt x="168" y="57"/>
                    <a:pt x="166" y="54"/>
                    <a:pt x="162" y="54"/>
                  </a:cubicBezTo>
                  <a:cubicBezTo>
                    <a:pt x="159" y="54"/>
                    <a:pt x="157" y="57"/>
                    <a:pt x="157" y="60"/>
                  </a:cubicBezTo>
                  <a:cubicBezTo>
                    <a:pt x="157" y="90"/>
                    <a:pt x="157" y="90"/>
                    <a:pt x="157" y="90"/>
                  </a:cubicBezTo>
                  <a:cubicBezTo>
                    <a:pt x="157" y="93"/>
                    <a:pt x="159" y="96"/>
                    <a:pt x="162" y="96"/>
                  </a:cubicBezTo>
                  <a:close/>
                  <a:moveTo>
                    <a:pt x="162" y="227"/>
                  </a:moveTo>
                  <a:cubicBezTo>
                    <a:pt x="159" y="227"/>
                    <a:pt x="157" y="230"/>
                    <a:pt x="157" y="233"/>
                  </a:cubicBezTo>
                  <a:cubicBezTo>
                    <a:pt x="157" y="263"/>
                    <a:pt x="157" y="263"/>
                    <a:pt x="157" y="263"/>
                  </a:cubicBezTo>
                  <a:cubicBezTo>
                    <a:pt x="157" y="267"/>
                    <a:pt x="159" y="269"/>
                    <a:pt x="162" y="269"/>
                  </a:cubicBezTo>
                  <a:cubicBezTo>
                    <a:pt x="166" y="269"/>
                    <a:pt x="168" y="267"/>
                    <a:pt x="168" y="263"/>
                  </a:cubicBezTo>
                  <a:cubicBezTo>
                    <a:pt x="168" y="233"/>
                    <a:pt x="168" y="233"/>
                    <a:pt x="168" y="233"/>
                  </a:cubicBezTo>
                  <a:cubicBezTo>
                    <a:pt x="168" y="230"/>
                    <a:pt x="166" y="227"/>
                    <a:pt x="162" y="227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5" name="Freeform 55"/>
            <p:cNvSpPr>
              <a:spLocks noEditPoints="1"/>
            </p:cNvSpPr>
            <p:nvPr/>
          </p:nvSpPr>
          <p:spPr bwMode="auto">
            <a:xfrm flipH="1">
              <a:off x="1093903" y="3896101"/>
              <a:ext cx="407936" cy="363573"/>
            </a:xfrm>
            <a:custGeom>
              <a:avLst/>
              <a:gdLst>
                <a:gd name="T0" fmla="*/ 80 w 100"/>
                <a:gd name="T1" fmla="*/ 89 h 89"/>
                <a:gd name="T2" fmla="*/ 94 w 100"/>
                <a:gd name="T3" fmla="*/ 86 h 89"/>
                <a:gd name="T4" fmla="*/ 77 w 100"/>
                <a:gd name="T5" fmla="*/ 78 h 89"/>
                <a:gd name="T6" fmla="*/ 7 w 100"/>
                <a:gd name="T7" fmla="*/ 86 h 89"/>
                <a:gd name="T8" fmla="*/ 21 w 100"/>
                <a:gd name="T9" fmla="*/ 89 h 89"/>
                <a:gd name="T10" fmla="*/ 24 w 100"/>
                <a:gd name="T11" fmla="*/ 78 h 89"/>
                <a:gd name="T12" fmla="*/ 7 w 100"/>
                <a:gd name="T13" fmla="*/ 86 h 89"/>
                <a:gd name="T14" fmla="*/ 59 w 100"/>
                <a:gd name="T15" fmla="*/ 52 h 89"/>
                <a:gd name="T16" fmla="*/ 40 w 100"/>
                <a:gd name="T17" fmla="*/ 48 h 89"/>
                <a:gd name="T18" fmla="*/ 95 w 100"/>
                <a:gd name="T19" fmla="*/ 35 h 89"/>
                <a:gd name="T20" fmla="*/ 70 w 100"/>
                <a:gd name="T21" fmla="*/ 0 h 89"/>
                <a:gd name="T22" fmla="*/ 31 w 100"/>
                <a:gd name="T23" fmla="*/ 0 h 89"/>
                <a:gd name="T24" fmla="*/ 0 w 100"/>
                <a:gd name="T25" fmla="*/ 52 h 89"/>
                <a:gd name="T26" fmla="*/ 3 w 100"/>
                <a:gd name="T27" fmla="*/ 72 h 89"/>
                <a:gd name="T28" fmla="*/ 50 w 100"/>
                <a:gd name="T29" fmla="*/ 74 h 89"/>
                <a:gd name="T30" fmla="*/ 50 w 100"/>
                <a:gd name="T31" fmla="*/ 74 h 89"/>
                <a:gd name="T32" fmla="*/ 97 w 100"/>
                <a:gd name="T33" fmla="*/ 72 h 89"/>
                <a:gd name="T34" fmla="*/ 95 w 100"/>
                <a:gd name="T35" fmla="*/ 35 h 89"/>
                <a:gd name="T36" fmla="*/ 31 w 100"/>
                <a:gd name="T37" fmla="*/ 7 h 89"/>
                <a:gd name="T38" fmla="*/ 70 w 100"/>
                <a:gd name="T39" fmla="*/ 7 h 89"/>
                <a:gd name="T40" fmla="*/ 13 w 100"/>
                <a:gd name="T41" fmla="*/ 28 h 89"/>
                <a:gd name="T42" fmla="*/ 15 w 100"/>
                <a:gd name="T43" fmla="*/ 71 h 89"/>
                <a:gd name="T44" fmla="*/ 15 w 100"/>
                <a:gd name="T45" fmla="*/ 63 h 89"/>
                <a:gd name="T46" fmla="*/ 15 w 100"/>
                <a:gd name="T47" fmla="*/ 71 h 89"/>
                <a:gd name="T48" fmla="*/ 26 w 100"/>
                <a:gd name="T49" fmla="*/ 47 h 89"/>
                <a:gd name="T50" fmla="*/ 7 w 100"/>
                <a:gd name="T51" fmla="*/ 47 h 89"/>
                <a:gd name="T52" fmla="*/ 7 w 100"/>
                <a:gd name="T53" fmla="*/ 46 h 89"/>
                <a:gd name="T54" fmla="*/ 7 w 100"/>
                <a:gd name="T55" fmla="*/ 46 h 89"/>
                <a:gd name="T56" fmla="*/ 7 w 100"/>
                <a:gd name="T57" fmla="*/ 46 h 89"/>
                <a:gd name="T58" fmla="*/ 11 w 100"/>
                <a:gd name="T59" fmla="*/ 37 h 89"/>
                <a:gd name="T60" fmla="*/ 12 w 100"/>
                <a:gd name="T61" fmla="*/ 37 h 89"/>
                <a:gd name="T62" fmla="*/ 27 w 100"/>
                <a:gd name="T63" fmla="*/ 46 h 89"/>
                <a:gd name="T64" fmla="*/ 27 w 100"/>
                <a:gd name="T65" fmla="*/ 46 h 89"/>
                <a:gd name="T66" fmla="*/ 60 w 100"/>
                <a:gd name="T67" fmla="*/ 56 h 89"/>
                <a:gd name="T68" fmla="*/ 60 w 100"/>
                <a:gd name="T69" fmla="*/ 56 h 89"/>
                <a:gd name="T70" fmla="*/ 41 w 100"/>
                <a:gd name="T71" fmla="*/ 56 h 89"/>
                <a:gd name="T72" fmla="*/ 35 w 100"/>
                <a:gd name="T73" fmla="*/ 45 h 89"/>
                <a:gd name="T74" fmla="*/ 35 w 100"/>
                <a:gd name="T75" fmla="*/ 45 h 89"/>
                <a:gd name="T76" fmla="*/ 35 w 100"/>
                <a:gd name="T77" fmla="*/ 45 h 89"/>
                <a:gd name="T78" fmla="*/ 64 w 100"/>
                <a:gd name="T79" fmla="*/ 43 h 89"/>
                <a:gd name="T80" fmla="*/ 65 w 100"/>
                <a:gd name="T81" fmla="*/ 45 h 89"/>
                <a:gd name="T82" fmla="*/ 65 w 100"/>
                <a:gd name="T83" fmla="*/ 45 h 89"/>
                <a:gd name="T84" fmla="*/ 85 w 100"/>
                <a:gd name="T85" fmla="*/ 71 h 89"/>
                <a:gd name="T86" fmla="*/ 85 w 100"/>
                <a:gd name="T87" fmla="*/ 63 h 89"/>
                <a:gd name="T88" fmla="*/ 85 w 100"/>
                <a:gd name="T89" fmla="*/ 71 h 89"/>
                <a:gd name="T90" fmla="*/ 94 w 100"/>
                <a:gd name="T91" fmla="*/ 46 h 89"/>
                <a:gd name="T92" fmla="*/ 93 w 100"/>
                <a:gd name="T93" fmla="*/ 47 h 89"/>
                <a:gd name="T94" fmla="*/ 93 w 100"/>
                <a:gd name="T95" fmla="*/ 47 h 89"/>
                <a:gd name="T96" fmla="*/ 74 w 100"/>
                <a:gd name="T97" fmla="*/ 46 h 89"/>
                <a:gd name="T98" fmla="*/ 74 w 100"/>
                <a:gd name="T99" fmla="*/ 46 h 89"/>
                <a:gd name="T100" fmla="*/ 89 w 100"/>
                <a:gd name="T101" fmla="*/ 37 h 89"/>
                <a:gd name="T102" fmla="*/ 90 w 100"/>
                <a:gd name="T103" fmla="*/ 37 h 89"/>
                <a:gd name="T104" fmla="*/ 94 w 100"/>
                <a:gd name="T105" fmla="*/ 46 h 89"/>
                <a:gd name="T106" fmla="*/ 94 w 100"/>
                <a:gd name="T107" fmla="*/ 4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0" h="89">
                  <a:moveTo>
                    <a:pt x="77" y="86"/>
                  </a:moveTo>
                  <a:cubicBezTo>
                    <a:pt x="77" y="88"/>
                    <a:pt x="78" y="89"/>
                    <a:pt x="8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2" y="89"/>
                    <a:pt x="94" y="88"/>
                    <a:pt x="94" y="86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77" y="78"/>
                    <a:pt x="77" y="78"/>
                    <a:pt x="77" y="78"/>
                  </a:cubicBezTo>
                  <a:lnTo>
                    <a:pt x="77" y="86"/>
                  </a:lnTo>
                  <a:close/>
                  <a:moveTo>
                    <a:pt x="7" y="86"/>
                  </a:moveTo>
                  <a:cubicBezTo>
                    <a:pt x="7" y="88"/>
                    <a:pt x="8" y="89"/>
                    <a:pt x="10" y="89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4" y="88"/>
                    <a:pt x="24" y="86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7" y="78"/>
                    <a:pt x="7" y="78"/>
                    <a:pt x="7" y="78"/>
                  </a:cubicBezTo>
                  <a:lnTo>
                    <a:pt x="7" y="86"/>
                  </a:lnTo>
                  <a:close/>
                  <a:moveTo>
                    <a:pt x="41" y="52"/>
                  </a:moveTo>
                  <a:cubicBezTo>
                    <a:pt x="59" y="52"/>
                    <a:pt x="59" y="52"/>
                    <a:pt x="59" y="52"/>
                  </a:cubicBezTo>
                  <a:cubicBezTo>
                    <a:pt x="60" y="51"/>
                    <a:pt x="60" y="50"/>
                    <a:pt x="61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50"/>
                    <a:pt x="41" y="51"/>
                    <a:pt x="41" y="52"/>
                  </a:cubicBezTo>
                  <a:close/>
                  <a:moveTo>
                    <a:pt x="95" y="35"/>
                  </a:moveTo>
                  <a:cubicBezTo>
                    <a:pt x="95" y="30"/>
                    <a:pt x="90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1" y="0"/>
                    <a:pt x="6" y="30"/>
                    <a:pt x="5" y="35"/>
                  </a:cubicBezTo>
                  <a:cubicBezTo>
                    <a:pt x="2" y="39"/>
                    <a:pt x="0" y="45"/>
                    <a:pt x="0" y="52"/>
                  </a:cubicBezTo>
                  <a:cubicBezTo>
                    <a:pt x="0" y="61"/>
                    <a:pt x="2" y="70"/>
                    <a:pt x="3" y="72"/>
                  </a:cubicBezTo>
                  <a:cubicBezTo>
                    <a:pt x="3" y="72"/>
                    <a:pt x="3" y="72"/>
                    <a:pt x="3" y="72"/>
                  </a:cubicBezTo>
                  <a:cubicBezTo>
                    <a:pt x="4" y="73"/>
                    <a:pt x="5" y="74"/>
                    <a:pt x="6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5" y="74"/>
                    <a:pt x="97" y="73"/>
                    <a:pt x="97" y="72"/>
                  </a:cubicBezTo>
                  <a:cubicBezTo>
                    <a:pt x="98" y="69"/>
                    <a:pt x="100" y="61"/>
                    <a:pt x="100" y="52"/>
                  </a:cubicBezTo>
                  <a:cubicBezTo>
                    <a:pt x="100" y="45"/>
                    <a:pt x="99" y="39"/>
                    <a:pt x="95" y="35"/>
                  </a:cubicBezTo>
                  <a:close/>
                  <a:moveTo>
                    <a:pt x="30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9" y="7"/>
                    <a:pt x="85" y="19"/>
                    <a:pt x="87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6" y="19"/>
                    <a:pt x="21" y="7"/>
                    <a:pt x="30" y="7"/>
                  </a:cubicBezTo>
                  <a:close/>
                  <a:moveTo>
                    <a:pt x="15" y="71"/>
                  </a:moveTo>
                  <a:cubicBezTo>
                    <a:pt x="13" y="71"/>
                    <a:pt x="11" y="70"/>
                    <a:pt x="11" y="67"/>
                  </a:cubicBezTo>
                  <a:cubicBezTo>
                    <a:pt x="11" y="65"/>
                    <a:pt x="13" y="63"/>
                    <a:pt x="15" y="63"/>
                  </a:cubicBezTo>
                  <a:cubicBezTo>
                    <a:pt x="18" y="63"/>
                    <a:pt x="20" y="65"/>
                    <a:pt x="20" y="67"/>
                  </a:cubicBezTo>
                  <a:cubicBezTo>
                    <a:pt x="20" y="70"/>
                    <a:pt x="18" y="71"/>
                    <a:pt x="15" y="71"/>
                  </a:cubicBezTo>
                  <a:close/>
                  <a:moveTo>
                    <a:pt x="27" y="46"/>
                  </a:moveTo>
                  <a:cubicBezTo>
                    <a:pt x="27" y="46"/>
                    <a:pt x="26" y="47"/>
                    <a:pt x="26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1"/>
                    <a:pt x="9" y="38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1" y="37"/>
                    <a:pt x="12" y="37"/>
                  </a:cubicBezTo>
                  <a:cubicBezTo>
                    <a:pt x="12" y="37"/>
                    <a:pt x="21" y="37"/>
                    <a:pt x="24" y="40"/>
                  </a:cubicBezTo>
                  <a:cubicBezTo>
                    <a:pt x="26" y="41"/>
                    <a:pt x="27" y="43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lose/>
                  <a:moveTo>
                    <a:pt x="65" y="45"/>
                  </a:moveTo>
                  <a:cubicBezTo>
                    <a:pt x="65" y="46"/>
                    <a:pt x="64" y="56"/>
                    <a:pt x="60" y="56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36" y="56"/>
                    <a:pt x="35" y="46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4"/>
                    <a:pt x="36" y="43"/>
                    <a:pt x="37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5" y="43"/>
                    <a:pt x="65" y="44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lose/>
                  <a:moveTo>
                    <a:pt x="85" y="71"/>
                  </a:moveTo>
                  <a:cubicBezTo>
                    <a:pt x="83" y="71"/>
                    <a:pt x="81" y="70"/>
                    <a:pt x="81" y="67"/>
                  </a:cubicBezTo>
                  <a:cubicBezTo>
                    <a:pt x="81" y="65"/>
                    <a:pt x="83" y="63"/>
                    <a:pt x="85" y="63"/>
                  </a:cubicBezTo>
                  <a:cubicBezTo>
                    <a:pt x="88" y="63"/>
                    <a:pt x="90" y="65"/>
                    <a:pt x="90" y="67"/>
                  </a:cubicBezTo>
                  <a:cubicBezTo>
                    <a:pt x="90" y="70"/>
                    <a:pt x="88" y="71"/>
                    <a:pt x="85" y="71"/>
                  </a:cubicBezTo>
                  <a:close/>
                  <a:moveTo>
                    <a:pt x="94" y="46"/>
                  </a:moveTo>
                  <a:cubicBezTo>
                    <a:pt x="94" y="46"/>
                    <a:pt x="94" y="46"/>
                    <a:pt x="94" y="46"/>
                  </a:cubicBezTo>
                  <a:cubicBezTo>
                    <a:pt x="93" y="46"/>
                    <a:pt x="93" y="46"/>
                    <a:pt x="93" y="46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4" y="47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3"/>
                    <a:pt x="75" y="41"/>
                    <a:pt x="76" y="40"/>
                  </a:cubicBezTo>
                  <a:cubicBezTo>
                    <a:pt x="79" y="37"/>
                    <a:pt x="89" y="37"/>
                    <a:pt x="89" y="37"/>
                  </a:cubicBezTo>
                  <a:cubicBezTo>
                    <a:pt x="89" y="37"/>
                    <a:pt x="89" y="37"/>
                    <a:pt x="90" y="37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2" y="38"/>
                    <a:pt x="93" y="41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6" name="Freeform 55"/>
            <p:cNvSpPr>
              <a:spLocks noEditPoints="1"/>
            </p:cNvSpPr>
            <p:nvPr/>
          </p:nvSpPr>
          <p:spPr bwMode="auto">
            <a:xfrm flipH="1">
              <a:off x="3373260" y="69857"/>
              <a:ext cx="533331" cy="474709"/>
            </a:xfrm>
            <a:custGeom>
              <a:avLst/>
              <a:gdLst>
                <a:gd name="T0" fmla="*/ 80 w 100"/>
                <a:gd name="T1" fmla="*/ 89 h 89"/>
                <a:gd name="T2" fmla="*/ 94 w 100"/>
                <a:gd name="T3" fmla="*/ 86 h 89"/>
                <a:gd name="T4" fmla="*/ 77 w 100"/>
                <a:gd name="T5" fmla="*/ 78 h 89"/>
                <a:gd name="T6" fmla="*/ 7 w 100"/>
                <a:gd name="T7" fmla="*/ 86 h 89"/>
                <a:gd name="T8" fmla="*/ 21 w 100"/>
                <a:gd name="T9" fmla="*/ 89 h 89"/>
                <a:gd name="T10" fmla="*/ 24 w 100"/>
                <a:gd name="T11" fmla="*/ 78 h 89"/>
                <a:gd name="T12" fmla="*/ 7 w 100"/>
                <a:gd name="T13" fmla="*/ 86 h 89"/>
                <a:gd name="T14" fmla="*/ 59 w 100"/>
                <a:gd name="T15" fmla="*/ 52 h 89"/>
                <a:gd name="T16" fmla="*/ 40 w 100"/>
                <a:gd name="T17" fmla="*/ 48 h 89"/>
                <a:gd name="T18" fmla="*/ 95 w 100"/>
                <a:gd name="T19" fmla="*/ 35 h 89"/>
                <a:gd name="T20" fmla="*/ 70 w 100"/>
                <a:gd name="T21" fmla="*/ 0 h 89"/>
                <a:gd name="T22" fmla="*/ 31 w 100"/>
                <a:gd name="T23" fmla="*/ 0 h 89"/>
                <a:gd name="T24" fmla="*/ 0 w 100"/>
                <a:gd name="T25" fmla="*/ 52 h 89"/>
                <a:gd name="T26" fmla="*/ 3 w 100"/>
                <a:gd name="T27" fmla="*/ 72 h 89"/>
                <a:gd name="T28" fmla="*/ 50 w 100"/>
                <a:gd name="T29" fmla="*/ 74 h 89"/>
                <a:gd name="T30" fmla="*/ 50 w 100"/>
                <a:gd name="T31" fmla="*/ 74 h 89"/>
                <a:gd name="T32" fmla="*/ 97 w 100"/>
                <a:gd name="T33" fmla="*/ 72 h 89"/>
                <a:gd name="T34" fmla="*/ 95 w 100"/>
                <a:gd name="T35" fmla="*/ 35 h 89"/>
                <a:gd name="T36" fmla="*/ 31 w 100"/>
                <a:gd name="T37" fmla="*/ 7 h 89"/>
                <a:gd name="T38" fmla="*/ 70 w 100"/>
                <a:gd name="T39" fmla="*/ 7 h 89"/>
                <a:gd name="T40" fmla="*/ 13 w 100"/>
                <a:gd name="T41" fmla="*/ 28 h 89"/>
                <a:gd name="T42" fmla="*/ 15 w 100"/>
                <a:gd name="T43" fmla="*/ 71 h 89"/>
                <a:gd name="T44" fmla="*/ 15 w 100"/>
                <a:gd name="T45" fmla="*/ 63 h 89"/>
                <a:gd name="T46" fmla="*/ 15 w 100"/>
                <a:gd name="T47" fmla="*/ 71 h 89"/>
                <a:gd name="T48" fmla="*/ 26 w 100"/>
                <a:gd name="T49" fmla="*/ 47 h 89"/>
                <a:gd name="T50" fmla="*/ 7 w 100"/>
                <a:gd name="T51" fmla="*/ 47 h 89"/>
                <a:gd name="T52" fmla="*/ 7 w 100"/>
                <a:gd name="T53" fmla="*/ 46 h 89"/>
                <a:gd name="T54" fmla="*/ 7 w 100"/>
                <a:gd name="T55" fmla="*/ 46 h 89"/>
                <a:gd name="T56" fmla="*/ 7 w 100"/>
                <a:gd name="T57" fmla="*/ 46 h 89"/>
                <a:gd name="T58" fmla="*/ 11 w 100"/>
                <a:gd name="T59" fmla="*/ 37 h 89"/>
                <a:gd name="T60" fmla="*/ 12 w 100"/>
                <a:gd name="T61" fmla="*/ 37 h 89"/>
                <a:gd name="T62" fmla="*/ 27 w 100"/>
                <a:gd name="T63" fmla="*/ 46 h 89"/>
                <a:gd name="T64" fmla="*/ 27 w 100"/>
                <a:gd name="T65" fmla="*/ 46 h 89"/>
                <a:gd name="T66" fmla="*/ 60 w 100"/>
                <a:gd name="T67" fmla="*/ 56 h 89"/>
                <a:gd name="T68" fmla="*/ 60 w 100"/>
                <a:gd name="T69" fmla="*/ 56 h 89"/>
                <a:gd name="T70" fmla="*/ 41 w 100"/>
                <a:gd name="T71" fmla="*/ 56 h 89"/>
                <a:gd name="T72" fmla="*/ 35 w 100"/>
                <a:gd name="T73" fmla="*/ 45 h 89"/>
                <a:gd name="T74" fmla="*/ 35 w 100"/>
                <a:gd name="T75" fmla="*/ 45 h 89"/>
                <a:gd name="T76" fmla="*/ 35 w 100"/>
                <a:gd name="T77" fmla="*/ 45 h 89"/>
                <a:gd name="T78" fmla="*/ 64 w 100"/>
                <a:gd name="T79" fmla="*/ 43 h 89"/>
                <a:gd name="T80" fmla="*/ 65 w 100"/>
                <a:gd name="T81" fmla="*/ 45 h 89"/>
                <a:gd name="T82" fmla="*/ 65 w 100"/>
                <a:gd name="T83" fmla="*/ 45 h 89"/>
                <a:gd name="T84" fmla="*/ 85 w 100"/>
                <a:gd name="T85" fmla="*/ 71 h 89"/>
                <a:gd name="T86" fmla="*/ 85 w 100"/>
                <a:gd name="T87" fmla="*/ 63 h 89"/>
                <a:gd name="T88" fmla="*/ 85 w 100"/>
                <a:gd name="T89" fmla="*/ 71 h 89"/>
                <a:gd name="T90" fmla="*/ 94 w 100"/>
                <a:gd name="T91" fmla="*/ 46 h 89"/>
                <a:gd name="T92" fmla="*/ 93 w 100"/>
                <a:gd name="T93" fmla="*/ 47 h 89"/>
                <a:gd name="T94" fmla="*/ 93 w 100"/>
                <a:gd name="T95" fmla="*/ 47 h 89"/>
                <a:gd name="T96" fmla="*/ 74 w 100"/>
                <a:gd name="T97" fmla="*/ 46 h 89"/>
                <a:gd name="T98" fmla="*/ 74 w 100"/>
                <a:gd name="T99" fmla="*/ 46 h 89"/>
                <a:gd name="T100" fmla="*/ 89 w 100"/>
                <a:gd name="T101" fmla="*/ 37 h 89"/>
                <a:gd name="T102" fmla="*/ 90 w 100"/>
                <a:gd name="T103" fmla="*/ 37 h 89"/>
                <a:gd name="T104" fmla="*/ 94 w 100"/>
                <a:gd name="T105" fmla="*/ 46 h 89"/>
                <a:gd name="T106" fmla="*/ 94 w 100"/>
                <a:gd name="T107" fmla="*/ 4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0" h="89">
                  <a:moveTo>
                    <a:pt x="77" y="86"/>
                  </a:moveTo>
                  <a:cubicBezTo>
                    <a:pt x="77" y="88"/>
                    <a:pt x="78" y="89"/>
                    <a:pt x="8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2" y="89"/>
                    <a:pt x="94" y="88"/>
                    <a:pt x="94" y="86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77" y="78"/>
                    <a:pt x="77" y="78"/>
                    <a:pt x="77" y="78"/>
                  </a:cubicBezTo>
                  <a:lnTo>
                    <a:pt x="77" y="86"/>
                  </a:lnTo>
                  <a:close/>
                  <a:moveTo>
                    <a:pt x="7" y="86"/>
                  </a:moveTo>
                  <a:cubicBezTo>
                    <a:pt x="7" y="88"/>
                    <a:pt x="8" y="89"/>
                    <a:pt x="10" y="89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4" y="88"/>
                    <a:pt x="24" y="86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7" y="78"/>
                    <a:pt x="7" y="78"/>
                    <a:pt x="7" y="78"/>
                  </a:cubicBezTo>
                  <a:lnTo>
                    <a:pt x="7" y="86"/>
                  </a:lnTo>
                  <a:close/>
                  <a:moveTo>
                    <a:pt x="41" y="52"/>
                  </a:moveTo>
                  <a:cubicBezTo>
                    <a:pt x="59" y="52"/>
                    <a:pt x="59" y="52"/>
                    <a:pt x="59" y="52"/>
                  </a:cubicBezTo>
                  <a:cubicBezTo>
                    <a:pt x="60" y="51"/>
                    <a:pt x="60" y="50"/>
                    <a:pt x="61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50"/>
                    <a:pt x="41" y="51"/>
                    <a:pt x="41" y="52"/>
                  </a:cubicBezTo>
                  <a:close/>
                  <a:moveTo>
                    <a:pt x="95" y="35"/>
                  </a:moveTo>
                  <a:cubicBezTo>
                    <a:pt x="95" y="30"/>
                    <a:pt x="90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1" y="0"/>
                    <a:pt x="6" y="30"/>
                    <a:pt x="5" y="35"/>
                  </a:cubicBezTo>
                  <a:cubicBezTo>
                    <a:pt x="2" y="39"/>
                    <a:pt x="0" y="45"/>
                    <a:pt x="0" y="52"/>
                  </a:cubicBezTo>
                  <a:cubicBezTo>
                    <a:pt x="0" y="61"/>
                    <a:pt x="2" y="70"/>
                    <a:pt x="3" y="72"/>
                  </a:cubicBezTo>
                  <a:cubicBezTo>
                    <a:pt x="3" y="72"/>
                    <a:pt x="3" y="72"/>
                    <a:pt x="3" y="72"/>
                  </a:cubicBezTo>
                  <a:cubicBezTo>
                    <a:pt x="4" y="73"/>
                    <a:pt x="5" y="74"/>
                    <a:pt x="6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5" y="74"/>
                    <a:pt x="97" y="73"/>
                    <a:pt x="97" y="72"/>
                  </a:cubicBezTo>
                  <a:cubicBezTo>
                    <a:pt x="98" y="69"/>
                    <a:pt x="100" y="61"/>
                    <a:pt x="100" y="52"/>
                  </a:cubicBezTo>
                  <a:cubicBezTo>
                    <a:pt x="100" y="45"/>
                    <a:pt x="99" y="39"/>
                    <a:pt x="95" y="35"/>
                  </a:cubicBezTo>
                  <a:close/>
                  <a:moveTo>
                    <a:pt x="30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9" y="7"/>
                    <a:pt x="85" y="19"/>
                    <a:pt x="87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6" y="19"/>
                    <a:pt x="21" y="7"/>
                    <a:pt x="30" y="7"/>
                  </a:cubicBezTo>
                  <a:close/>
                  <a:moveTo>
                    <a:pt x="15" y="71"/>
                  </a:moveTo>
                  <a:cubicBezTo>
                    <a:pt x="13" y="71"/>
                    <a:pt x="11" y="70"/>
                    <a:pt x="11" y="67"/>
                  </a:cubicBezTo>
                  <a:cubicBezTo>
                    <a:pt x="11" y="65"/>
                    <a:pt x="13" y="63"/>
                    <a:pt x="15" y="63"/>
                  </a:cubicBezTo>
                  <a:cubicBezTo>
                    <a:pt x="18" y="63"/>
                    <a:pt x="20" y="65"/>
                    <a:pt x="20" y="67"/>
                  </a:cubicBezTo>
                  <a:cubicBezTo>
                    <a:pt x="20" y="70"/>
                    <a:pt x="18" y="71"/>
                    <a:pt x="15" y="71"/>
                  </a:cubicBezTo>
                  <a:close/>
                  <a:moveTo>
                    <a:pt x="27" y="46"/>
                  </a:moveTo>
                  <a:cubicBezTo>
                    <a:pt x="27" y="46"/>
                    <a:pt x="26" y="47"/>
                    <a:pt x="26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1"/>
                    <a:pt x="9" y="38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1" y="37"/>
                    <a:pt x="12" y="37"/>
                  </a:cubicBezTo>
                  <a:cubicBezTo>
                    <a:pt x="12" y="37"/>
                    <a:pt x="21" y="37"/>
                    <a:pt x="24" y="40"/>
                  </a:cubicBezTo>
                  <a:cubicBezTo>
                    <a:pt x="26" y="41"/>
                    <a:pt x="27" y="43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lose/>
                  <a:moveTo>
                    <a:pt x="65" y="45"/>
                  </a:moveTo>
                  <a:cubicBezTo>
                    <a:pt x="65" y="46"/>
                    <a:pt x="64" y="56"/>
                    <a:pt x="60" y="56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36" y="56"/>
                    <a:pt x="35" y="46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4"/>
                    <a:pt x="36" y="43"/>
                    <a:pt x="37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5" y="43"/>
                    <a:pt x="65" y="44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lose/>
                  <a:moveTo>
                    <a:pt x="85" y="71"/>
                  </a:moveTo>
                  <a:cubicBezTo>
                    <a:pt x="83" y="71"/>
                    <a:pt x="81" y="70"/>
                    <a:pt x="81" y="67"/>
                  </a:cubicBezTo>
                  <a:cubicBezTo>
                    <a:pt x="81" y="65"/>
                    <a:pt x="83" y="63"/>
                    <a:pt x="85" y="63"/>
                  </a:cubicBezTo>
                  <a:cubicBezTo>
                    <a:pt x="88" y="63"/>
                    <a:pt x="90" y="65"/>
                    <a:pt x="90" y="67"/>
                  </a:cubicBezTo>
                  <a:cubicBezTo>
                    <a:pt x="90" y="70"/>
                    <a:pt x="88" y="71"/>
                    <a:pt x="85" y="71"/>
                  </a:cubicBezTo>
                  <a:close/>
                  <a:moveTo>
                    <a:pt x="94" y="46"/>
                  </a:moveTo>
                  <a:cubicBezTo>
                    <a:pt x="94" y="46"/>
                    <a:pt x="94" y="46"/>
                    <a:pt x="94" y="46"/>
                  </a:cubicBezTo>
                  <a:cubicBezTo>
                    <a:pt x="93" y="46"/>
                    <a:pt x="93" y="46"/>
                    <a:pt x="93" y="46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4" y="47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3"/>
                    <a:pt x="75" y="41"/>
                    <a:pt x="76" y="40"/>
                  </a:cubicBezTo>
                  <a:cubicBezTo>
                    <a:pt x="79" y="37"/>
                    <a:pt x="89" y="37"/>
                    <a:pt x="89" y="37"/>
                  </a:cubicBezTo>
                  <a:cubicBezTo>
                    <a:pt x="89" y="37"/>
                    <a:pt x="89" y="37"/>
                    <a:pt x="90" y="37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2" y="38"/>
                    <a:pt x="93" y="41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47" name="Group 143"/>
            <p:cNvGrpSpPr/>
            <p:nvPr/>
          </p:nvGrpSpPr>
          <p:grpSpPr>
            <a:xfrm flipH="1">
              <a:off x="2773812" y="172725"/>
              <a:ext cx="475131" cy="245300"/>
              <a:chOff x="-2952750" y="5189538"/>
              <a:chExt cx="1706562" cy="881063"/>
            </a:xfrm>
            <a:solidFill>
              <a:schemeClr val="accent4">
                <a:lumMod val="60000"/>
                <a:lumOff val="40000"/>
              </a:schemeClr>
            </a:solidFill>
          </p:grpSpPr>
          <p:sp>
            <p:nvSpPr>
              <p:cNvPr id="119" name="Freeform 7"/>
              <p:cNvSpPr>
                <a:spLocks noEditPoints="1"/>
              </p:cNvSpPr>
              <p:nvPr/>
            </p:nvSpPr>
            <p:spPr bwMode="auto">
              <a:xfrm>
                <a:off x="-2716213" y="5786438"/>
                <a:ext cx="1219200" cy="284163"/>
              </a:xfrm>
              <a:custGeom>
                <a:avLst/>
                <a:gdLst>
                  <a:gd name="T0" fmla="*/ 38 w 325"/>
                  <a:gd name="T1" fmla="*/ 0 h 76"/>
                  <a:gd name="T2" fmla="*/ 76 w 325"/>
                  <a:gd name="T3" fmla="*/ 38 h 76"/>
                  <a:gd name="T4" fmla="*/ 38 w 325"/>
                  <a:gd name="T5" fmla="*/ 76 h 76"/>
                  <a:gd name="T6" fmla="*/ 0 w 325"/>
                  <a:gd name="T7" fmla="*/ 38 h 76"/>
                  <a:gd name="T8" fmla="*/ 38 w 325"/>
                  <a:gd name="T9" fmla="*/ 0 h 76"/>
                  <a:gd name="T10" fmla="*/ 287 w 325"/>
                  <a:gd name="T11" fmla="*/ 0 h 76"/>
                  <a:gd name="T12" fmla="*/ 325 w 325"/>
                  <a:gd name="T13" fmla="*/ 38 h 76"/>
                  <a:gd name="T14" fmla="*/ 287 w 325"/>
                  <a:gd name="T15" fmla="*/ 76 h 76"/>
                  <a:gd name="T16" fmla="*/ 250 w 325"/>
                  <a:gd name="T17" fmla="*/ 38 h 76"/>
                  <a:gd name="T18" fmla="*/ 287 w 325"/>
                  <a:gd name="T1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5" h="76">
                    <a:moveTo>
                      <a:pt x="38" y="0"/>
                    </a:moveTo>
                    <a:cubicBezTo>
                      <a:pt x="59" y="0"/>
                      <a:pt x="76" y="17"/>
                      <a:pt x="76" y="38"/>
                    </a:cubicBezTo>
                    <a:cubicBezTo>
                      <a:pt x="76" y="59"/>
                      <a:pt x="59" y="76"/>
                      <a:pt x="38" y="76"/>
                    </a:cubicBezTo>
                    <a:cubicBezTo>
                      <a:pt x="17" y="76"/>
                      <a:pt x="0" y="59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lose/>
                    <a:moveTo>
                      <a:pt x="287" y="0"/>
                    </a:moveTo>
                    <a:cubicBezTo>
                      <a:pt x="308" y="0"/>
                      <a:pt x="325" y="17"/>
                      <a:pt x="325" y="38"/>
                    </a:cubicBezTo>
                    <a:cubicBezTo>
                      <a:pt x="325" y="59"/>
                      <a:pt x="308" y="76"/>
                      <a:pt x="287" y="76"/>
                    </a:cubicBezTo>
                    <a:cubicBezTo>
                      <a:pt x="267" y="76"/>
                      <a:pt x="250" y="59"/>
                      <a:pt x="250" y="38"/>
                    </a:cubicBezTo>
                    <a:cubicBezTo>
                      <a:pt x="250" y="17"/>
                      <a:pt x="267" y="0"/>
                      <a:pt x="28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0" name="Freeform 8"/>
              <p:cNvSpPr>
                <a:spLocks noEditPoints="1"/>
              </p:cNvSpPr>
              <p:nvPr/>
            </p:nvSpPr>
            <p:spPr bwMode="auto">
              <a:xfrm>
                <a:off x="-2952750" y="5189538"/>
                <a:ext cx="1706562" cy="715963"/>
              </a:xfrm>
              <a:custGeom>
                <a:avLst/>
                <a:gdLst>
                  <a:gd name="T0" fmla="*/ 380 w 455"/>
                  <a:gd name="T1" fmla="*/ 24 h 191"/>
                  <a:gd name="T2" fmla="*/ 422 w 455"/>
                  <a:gd name="T3" fmla="*/ 24 h 191"/>
                  <a:gd name="T4" fmla="*/ 435 w 455"/>
                  <a:gd name="T5" fmla="*/ 39 h 191"/>
                  <a:gd name="T6" fmla="*/ 435 w 455"/>
                  <a:gd name="T7" fmla="*/ 101 h 191"/>
                  <a:gd name="T8" fmla="*/ 422 w 455"/>
                  <a:gd name="T9" fmla="*/ 115 h 191"/>
                  <a:gd name="T10" fmla="*/ 380 w 455"/>
                  <a:gd name="T11" fmla="*/ 115 h 191"/>
                  <a:gd name="T12" fmla="*/ 366 w 455"/>
                  <a:gd name="T13" fmla="*/ 101 h 191"/>
                  <a:gd name="T14" fmla="*/ 366 w 455"/>
                  <a:gd name="T15" fmla="*/ 39 h 191"/>
                  <a:gd name="T16" fmla="*/ 380 w 455"/>
                  <a:gd name="T17" fmla="*/ 24 h 191"/>
                  <a:gd name="T18" fmla="*/ 44 w 455"/>
                  <a:gd name="T19" fmla="*/ 0 h 191"/>
                  <a:gd name="T20" fmla="*/ 429 w 455"/>
                  <a:gd name="T21" fmla="*/ 0 h 191"/>
                  <a:gd name="T22" fmla="*/ 455 w 455"/>
                  <a:gd name="T23" fmla="*/ 26 h 191"/>
                  <a:gd name="T24" fmla="*/ 455 w 455"/>
                  <a:gd name="T25" fmla="*/ 165 h 191"/>
                  <a:gd name="T26" fmla="*/ 429 w 455"/>
                  <a:gd name="T27" fmla="*/ 191 h 191"/>
                  <a:gd name="T28" fmla="*/ 403 w 455"/>
                  <a:gd name="T29" fmla="*/ 191 h 191"/>
                  <a:gd name="T30" fmla="*/ 350 w 455"/>
                  <a:gd name="T31" fmla="*/ 143 h 191"/>
                  <a:gd name="T32" fmla="*/ 298 w 455"/>
                  <a:gd name="T33" fmla="*/ 191 h 191"/>
                  <a:gd name="T34" fmla="*/ 154 w 455"/>
                  <a:gd name="T35" fmla="*/ 191 h 191"/>
                  <a:gd name="T36" fmla="*/ 101 w 455"/>
                  <a:gd name="T37" fmla="*/ 143 h 191"/>
                  <a:gd name="T38" fmla="*/ 48 w 455"/>
                  <a:gd name="T39" fmla="*/ 191 h 191"/>
                  <a:gd name="T40" fmla="*/ 28 w 455"/>
                  <a:gd name="T41" fmla="*/ 191 h 191"/>
                  <a:gd name="T42" fmla="*/ 1 w 455"/>
                  <a:gd name="T43" fmla="*/ 165 h 191"/>
                  <a:gd name="T44" fmla="*/ 7 w 455"/>
                  <a:gd name="T45" fmla="*/ 115 h 191"/>
                  <a:gd name="T46" fmla="*/ 47 w 455"/>
                  <a:gd name="T47" fmla="*/ 115 h 191"/>
                  <a:gd name="T48" fmla="*/ 61 w 455"/>
                  <a:gd name="T49" fmla="*/ 101 h 191"/>
                  <a:gd name="T50" fmla="*/ 61 w 455"/>
                  <a:gd name="T51" fmla="*/ 39 h 191"/>
                  <a:gd name="T52" fmla="*/ 47 w 455"/>
                  <a:gd name="T53" fmla="*/ 24 h 191"/>
                  <a:gd name="T54" fmla="*/ 18 w 455"/>
                  <a:gd name="T55" fmla="*/ 24 h 191"/>
                  <a:gd name="T56" fmla="*/ 44 w 455"/>
                  <a:gd name="T57" fmla="*/ 0 h 191"/>
                  <a:gd name="T58" fmla="*/ 286 w 455"/>
                  <a:gd name="T59" fmla="*/ 24 h 191"/>
                  <a:gd name="T60" fmla="*/ 328 w 455"/>
                  <a:gd name="T61" fmla="*/ 24 h 191"/>
                  <a:gd name="T62" fmla="*/ 342 w 455"/>
                  <a:gd name="T63" fmla="*/ 39 h 191"/>
                  <a:gd name="T64" fmla="*/ 342 w 455"/>
                  <a:gd name="T65" fmla="*/ 101 h 191"/>
                  <a:gd name="T66" fmla="*/ 328 w 455"/>
                  <a:gd name="T67" fmla="*/ 115 h 191"/>
                  <a:gd name="T68" fmla="*/ 286 w 455"/>
                  <a:gd name="T69" fmla="*/ 115 h 191"/>
                  <a:gd name="T70" fmla="*/ 272 w 455"/>
                  <a:gd name="T71" fmla="*/ 101 h 191"/>
                  <a:gd name="T72" fmla="*/ 272 w 455"/>
                  <a:gd name="T73" fmla="*/ 39 h 191"/>
                  <a:gd name="T74" fmla="*/ 286 w 455"/>
                  <a:gd name="T75" fmla="*/ 24 h 191"/>
                  <a:gd name="T76" fmla="*/ 192 w 455"/>
                  <a:gd name="T77" fmla="*/ 24 h 191"/>
                  <a:gd name="T78" fmla="*/ 234 w 455"/>
                  <a:gd name="T79" fmla="*/ 24 h 191"/>
                  <a:gd name="T80" fmla="*/ 248 w 455"/>
                  <a:gd name="T81" fmla="*/ 39 h 191"/>
                  <a:gd name="T82" fmla="*/ 248 w 455"/>
                  <a:gd name="T83" fmla="*/ 101 h 191"/>
                  <a:gd name="T84" fmla="*/ 234 w 455"/>
                  <a:gd name="T85" fmla="*/ 115 h 191"/>
                  <a:gd name="T86" fmla="*/ 192 w 455"/>
                  <a:gd name="T87" fmla="*/ 115 h 191"/>
                  <a:gd name="T88" fmla="*/ 179 w 455"/>
                  <a:gd name="T89" fmla="*/ 101 h 191"/>
                  <a:gd name="T90" fmla="*/ 179 w 455"/>
                  <a:gd name="T91" fmla="*/ 39 h 191"/>
                  <a:gd name="T92" fmla="*/ 192 w 455"/>
                  <a:gd name="T93" fmla="*/ 24 h 191"/>
                  <a:gd name="T94" fmla="*/ 99 w 455"/>
                  <a:gd name="T95" fmla="*/ 24 h 191"/>
                  <a:gd name="T96" fmla="*/ 141 w 455"/>
                  <a:gd name="T97" fmla="*/ 24 h 191"/>
                  <a:gd name="T98" fmla="*/ 155 w 455"/>
                  <a:gd name="T99" fmla="*/ 39 h 191"/>
                  <a:gd name="T100" fmla="*/ 155 w 455"/>
                  <a:gd name="T101" fmla="*/ 101 h 191"/>
                  <a:gd name="T102" fmla="*/ 141 w 455"/>
                  <a:gd name="T103" fmla="*/ 115 h 191"/>
                  <a:gd name="T104" fmla="*/ 99 w 455"/>
                  <a:gd name="T105" fmla="*/ 115 h 191"/>
                  <a:gd name="T106" fmla="*/ 85 w 455"/>
                  <a:gd name="T107" fmla="*/ 101 h 191"/>
                  <a:gd name="T108" fmla="*/ 85 w 455"/>
                  <a:gd name="T109" fmla="*/ 39 h 191"/>
                  <a:gd name="T110" fmla="*/ 99 w 455"/>
                  <a:gd name="T111" fmla="*/ 24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5" h="191">
                    <a:moveTo>
                      <a:pt x="380" y="24"/>
                    </a:moveTo>
                    <a:cubicBezTo>
                      <a:pt x="422" y="24"/>
                      <a:pt x="422" y="24"/>
                      <a:pt x="422" y="24"/>
                    </a:cubicBezTo>
                    <a:cubicBezTo>
                      <a:pt x="429" y="24"/>
                      <a:pt x="435" y="31"/>
                      <a:pt x="435" y="39"/>
                    </a:cubicBezTo>
                    <a:cubicBezTo>
                      <a:pt x="435" y="101"/>
                      <a:pt x="435" y="101"/>
                      <a:pt x="435" y="101"/>
                    </a:cubicBezTo>
                    <a:cubicBezTo>
                      <a:pt x="435" y="109"/>
                      <a:pt x="429" y="115"/>
                      <a:pt x="422" y="115"/>
                    </a:cubicBezTo>
                    <a:cubicBezTo>
                      <a:pt x="380" y="115"/>
                      <a:pt x="380" y="115"/>
                      <a:pt x="380" y="115"/>
                    </a:cubicBezTo>
                    <a:cubicBezTo>
                      <a:pt x="372" y="115"/>
                      <a:pt x="366" y="109"/>
                      <a:pt x="366" y="101"/>
                    </a:cubicBezTo>
                    <a:cubicBezTo>
                      <a:pt x="366" y="39"/>
                      <a:pt x="366" y="39"/>
                      <a:pt x="366" y="39"/>
                    </a:cubicBezTo>
                    <a:cubicBezTo>
                      <a:pt x="366" y="31"/>
                      <a:pt x="372" y="24"/>
                      <a:pt x="380" y="24"/>
                    </a:cubicBezTo>
                    <a:close/>
                    <a:moveTo>
                      <a:pt x="44" y="0"/>
                    </a:moveTo>
                    <a:cubicBezTo>
                      <a:pt x="429" y="0"/>
                      <a:pt x="429" y="0"/>
                      <a:pt x="429" y="0"/>
                    </a:cubicBezTo>
                    <a:cubicBezTo>
                      <a:pt x="443" y="0"/>
                      <a:pt x="455" y="12"/>
                      <a:pt x="455" y="26"/>
                    </a:cubicBezTo>
                    <a:cubicBezTo>
                      <a:pt x="455" y="165"/>
                      <a:pt x="455" y="165"/>
                      <a:pt x="455" y="165"/>
                    </a:cubicBezTo>
                    <a:cubicBezTo>
                      <a:pt x="455" y="179"/>
                      <a:pt x="443" y="191"/>
                      <a:pt x="429" y="191"/>
                    </a:cubicBezTo>
                    <a:cubicBezTo>
                      <a:pt x="403" y="191"/>
                      <a:pt x="403" y="191"/>
                      <a:pt x="403" y="191"/>
                    </a:cubicBezTo>
                    <a:cubicBezTo>
                      <a:pt x="400" y="164"/>
                      <a:pt x="378" y="143"/>
                      <a:pt x="350" y="143"/>
                    </a:cubicBezTo>
                    <a:cubicBezTo>
                      <a:pt x="323" y="143"/>
                      <a:pt x="301" y="164"/>
                      <a:pt x="298" y="191"/>
                    </a:cubicBezTo>
                    <a:cubicBezTo>
                      <a:pt x="154" y="191"/>
                      <a:pt x="154" y="191"/>
                      <a:pt x="154" y="191"/>
                    </a:cubicBezTo>
                    <a:cubicBezTo>
                      <a:pt x="151" y="164"/>
                      <a:pt x="128" y="143"/>
                      <a:pt x="101" y="143"/>
                    </a:cubicBezTo>
                    <a:cubicBezTo>
                      <a:pt x="73" y="143"/>
                      <a:pt x="51" y="164"/>
                      <a:pt x="48" y="191"/>
                    </a:cubicBezTo>
                    <a:cubicBezTo>
                      <a:pt x="28" y="191"/>
                      <a:pt x="28" y="191"/>
                      <a:pt x="28" y="191"/>
                    </a:cubicBezTo>
                    <a:cubicBezTo>
                      <a:pt x="13" y="191"/>
                      <a:pt x="0" y="179"/>
                      <a:pt x="1" y="165"/>
                    </a:cubicBezTo>
                    <a:cubicBezTo>
                      <a:pt x="7" y="115"/>
                      <a:pt x="7" y="115"/>
                      <a:pt x="7" y="115"/>
                    </a:cubicBezTo>
                    <a:cubicBezTo>
                      <a:pt x="47" y="115"/>
                      <a:pt x="47" y="115"/>
                      <a:pt x="47" y="115"/>
                    </a:cubicBezTo>
                    <a:cubicBezTo>
                      <a:pt x="55" y="115"/>
                      <a:pt x="61" y="109"/>
                      <a:pt x="61" y="101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61" y="31"/>
                      <a:pt x="55" y="24"/>
                      <a:pt x="47" y="24"/>
                    </a:cubicBezTo>
                    <a:cubicBezTo>
                      <a:pt x="18" y="24"/>
                      <a:pt x="18" y="24"/>
                      <a:pt x="18" y="24"/>
                    </a:cubicBezTo>
                    <a:cubicBezTo>
                      <a:pt x="19" y="11"/>
                      <a:pt x="30" y="0"/>
                      <a:pt x="44" y="0"/>
                    </a:cubicBezTo>
                    <a:close/>
                    <a:moveTo>
                      <a:pt x="286" y="24"/>
                    </a:moveTo>
                    <a:cubicBezTo>
                      <a:pt x="328" y="24"/>
                      <a:pt x="328" y="24"/>
                      <a:pt x="328" y="24"/>
                    </a:cubicBezTo>
                    <a:cubicBezTo>
                      <a:pt x="335" y="24"/>
                      <a:pt x="342" y="31"/>
                      <a:pt x="342" y="39"/>
                    </a:cubicBezTo>
                    <a:cubicBezTo>
                      <a:pt x="342" y="101"/>
                      <a:pt x="342" y="101"/>
                      <a:pt x="342" y="101"/>
                    </a:cubicBezTo>
                    <a:cubicBezTo>
                      <a:pt x="342" y="109"/>
                      <a:pt x="335" y="115"/>
                      <a:pt x="328" y="115"/>
                    </a:cubicBezTo>
                    <a:cubicBezTo>
                      <a:pt x="286" y="115"/>
                      <a:pt x="286" y="115"/>
                      <a:pt x="286" y="115"/>
                    </a:cubicBezTo>
                    <a:cubicBezTo>
                      <a:pt x="279" y="115"/>
                      <a:pt x="272" y="109"/>
                      <a:pt x="272" y="101"/>
                    </a:cubicBezTo>
                    <a:cubicBezTo>
                      <a:pt x="272" y="39"/>
                      <a:pt x="272" y="39"/>
                      <a:pt x="272" y="39"/>
                    </a:cubicBezTo>
                    <a:cubicBezTo>
                      <a:pt x="272" y="31"/>
                      <a:pt x="279" y="24"/>
                      <a:pt x="286" y="24"/>
                    </a:cubicBezTo>
                    <a:close/>
                    <a:moveTo>
                      <a:pt x="192" y="24"/>
                    </a:moveTo>
                    <a:cubicBezTo>
                      <a:pt x="234" y="24"/>
                      <a:pt x="234" y="24"/>
                      <a:pt x="234" y="24"/>
                    </a:cubicBezTo>
                    <a:cubicBezTo>
                      <a:pt x="242" y="24"/>
                      <a:pt x="248" y="31"/>
                      <a:pt x="248" y="39"/>
                    </a:cubicBezTo>
                    <a:cubicBezTo>
                      <a:pt x="248" y="101"/>
                      <a:pt x="248" y="101"/>
                      <a:pt x="248" y="101"/>
                    </a:cubicBezTo>
                    <a:cubicBezTo>
                      <a:pt x="248" y="109"/>
                      <a:pt x="242" y="115"/>
                      <a:pt x="234" y="115"/>
                    </a:cubicBezTo>
                    <a:cubicBezTo>
                      <a:pt x="192" y="115"/>
                      <a:pt x="192" y="115"/>
                      <a:pt x="192" y="115"/>
                    </a:cubicBezTo>
                    <a:cubicBezTo>
                      <a:pt x="185" y="115"/>
                      <a:pt x="179" y="109"/>
                      <a:pt x="179" y="101"/>
                    </a:cubicBezTo>
                    <a:cubicBezTo>
                      <a:pt x="179" y="39"/>
                      <a:pt x="179" y="39"/>
                      <a:pt x="179" y="39"/>
                    </a:cubicBezTo>
                    <a:cubicBezTo>
                      <a:pt x="179" y="31"/>
                      <a:pt x="185" y="24"/>
                      <a:pt x="192" y="24"/>
                    </a:cubicBezTo>
                    <a:close/>
                    <a:moveTo>
                      <a:pt x="99" y="24"/>
                    </a:moveTo>
                    <a:cubicBezTo>
                      <a:pt x="141" y="24"/>
                      <a:pt x="141" y="24"/>
                      <a:pt x="141" y="24"/>
                    </a:cubicBezTo>
                    <a:cubicBezTo>
                      <a:pt x="148" y="24"/>
                      <a:pt x="155" y="31"/>
                      <a:pt x="155" y="39"/>
                    </a:cubicBezTo>
                    <a:cubicBezTo>
                      <a:pt x="155" y="101"/>
                      <a:pt x="155" y="101"/>
                      <a:pt x="155" y="101"/>
                    </a:cubicBezTo>
                    <a:cubicBezTo>
                      <a:pt x="155" y="109"/>
                      <a:pt x="148" y="115"/>
                      <a:pt x="141" y="115"/>
                    </a:cubicBezTo>
                    <a:cubicBezTo>
                      <a:pt x="99" y="115"/>
                      <a:pt x="99" y="115"/>
                      <a:pt x="99" y="115"/>
                    </a:cubicBezTo>
                    <a:cubicBezTo>
                      <a:pt x="91" y="115"/>
                      <a:pt x="85" y="109"/>
                      <a:pt x="85" y="101"/>
                    </a:cubicBezTo>
                    <a:cubicBezTo>
                      <a:pt x="85" y="39"/>
                      <a:pt x="85" y="39"/>
                      <a:pt x="85" y="39"/>
                    </a:cubicBezTo>
                    <a:cubicBezTo>
                      <a:pt x="85" y="31"/>
                      <a:pt x="91" y="24"/>
                      <a:pt x="99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48" name="Group 146"/>
            <p:cNvGrpSpPr/>
            <p:nvPr/>
          </p:nvGrpSpPr>
          <p:grpSpPr>
            <a:xfrm flipH="1">
              <a:off x="2571257" y="426912"/>
              <a:ext cx="272655" cy="375950"/>
              <a:chOff x="-2284413" y="254000"/>
              <a:chExt cx="1185862" cy="1635126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17" name="Freeform 9"/>
              <p:cNvSpPr>
                <a:spLocks noEditPoints="1"/>
              </p:cNvSpPr>
              <p:nvPr/>
            </p:nvSpPr>
            <p:spPr bwMode="auto">
              <a:xfrm>
                <a:off x="-2119313" y="254000"/>
                <a:ext cx="858837" cy="1181100"/>
              </a:xfrm>
              <a:custGeom>
                <a:avLst/>
                <a:gdLst>
                  <a:gd name="T0" fmla="*/ 33 w 229"/>
                  <a:gd name="T1" fmla="*/ 286 h 315"/>
                  <a:gd name="T2" fmla="*/ 195 w 229"/>
                  <a:gd name="T3" fmla="*/ 286 h 315"/>
                  <a:gd name="T4" fmla="*/ 209 w 229"/>
                  <a:gd name="T5" fmla="*/ 315 h 315"/>
                  <a:gd name="T6" fmla="*/ 19 w 229"/>
                  <a:gd name="T7" fmla="*/ 315 h 315"/>
                  <a:gd name="T8" fmla="*/ 33 w 229"/>
                  <a:gd name="T9" fmla="*/ 286 h 315"/>
                  <a:gd name="T10" fmla="*/ 52 w 229"/>
                  <a:gd name="T11" fmla="*/ 75 h 315"/>
                  <a:gd name="T12" fmla="*/ 176 w 229"/>
                  <a:gd name="T13" fmla="*/ 75 h 315"/>
                  <a:gd name="T14" fmla="*/ 190 w 229"/>
                  <a:gd name="T15" fmla="*/ 89 h 315"/>
                  <a:gd name="T16" fmla="*/ 194 w 229"/>
                  <a:gd name="T17" fmla="*/ 137 h 315"/>
                  <a:gd name="T18" fmla="*/ 180 w 229"/>
                  <a:gd name="T19" fmla="*/ 151 h 315"/>
                  <a:gd name="T20" fmla="*/ 48 w 229"/>
                  <a:gd name="T21" fmla="*/ 151 h 315"/>
                  <a:gd name="T22" fmla="*/ 34 w 229"/>
                  <a:gd name="T23" fmla="*/ 137 h 315"/>
                  <a:gd name="T24" fmla="*/ 38 w 229"/>
                  <a:gd name="T25" fmla="*/ 89 h 315"/>
                  <a:gd name="T26" fmla="*/ 52 w 229"/>
                  <a:gd name="T27" fmla="*/ 75 h 315"/>
                  <a:gd name="T28" fmla="*/ 83 w 229"/>
                  <a:gd name="T29" fmla="*/ 43 h 315"/>
                  <a:gd name="T30" fmla="*/ 145 w 229"/>
                  <a:gd name="T31" fmla="*/ 43 h 315"/>
                  <a:gd name="T32" fmla="*/ 151 w 229"/>
                  <a:gd name="T33" fmla="*/ 49 h 315"/>
                  <a:gd name="T34" fmla="*/ 151 w 229"/>
                  <a:gd name="T35" fmla="*/ 59 h 315"/>
                  <a:gd name="T36" fmla="*/ 145 w 229"/>
                  <a:gd name="T37" fmla="*/ 65 h 315"/>
                  <a:gd name="T38" fmla="*/ 83 w 229"/>
                  <a:gd name="T39" fmla="*/ 65 h 315"/>
                  <a:gd name="T40" fmla="*/ 77 w 229"/>
                  <a:gd name="T41" fmla="*/ 59 h 315"/>
                  <a:gd name="T42" fmla="*/ 77 w 229"/>
                  <a:gd name="T43" fmla="*/ 49 h 315"/>
                  <a:gd name="T44" fmla="*/ 83 w 229"/>
                  <a:gd name="T45" fmla="*/ 43 h 315"/>
                  <a:gd name="T46" fmla="*/ 46 w 229"/>
                  <a:gd name="T47" fmla="*/ 33 h 315"/>
                  <a:gd name="T48" fmla="*/ 182 w 229"/>
                  <a:gd name="T49" fmla="*/ 33 h 315"/>
                  <a:gd name="T50" fmla="*/ 212 w 229"/>
                  <a:gd name="T51" fmla="*/ 63 h 315"/>
                  <a:gd name="T52" fmla="*/ 227 w 229"/>
                  <a:gd name="T53" fmla="*/ 249 h 315"/>
                  <a:gd name="T54" fmla="*/ 198 w 229"/>
                  <a:gd name="T55" fmla="*/ 278 h 315"/>
                  <a:gd name="T56" fmla="*/ 30 w 229"/>
                  <a:gd name="T57" fmla="*/ 278 h 315"/>
                  <a:gd name="T58" fmla="*/ 1 w 229"/>
                  <a:gd name="T59" fmla="*/ 249 h 315"/>
                  <a:gd name="T60" fmla="*/ 16 w 229"/>
                  <a:gd name="T61" fmla="*/ 63 h 315"/>
                  <a:gd name="T62" fmla="*/ 46 w 229"/>
                  <a:gd name="T63" fmla="*/ 33 h 315"/>
                  <a:gd name="T64" fmla="*/ 185 w 229"/>
                  <a:gd name="T65" fmla="*/ 216 h 315"/>
                  <a:gd name="T66" fmla="*/ 201 w 229"/>
                  <a:gd name="T67" fmla="*/ 233 h 315"/>
                  <a:gd name="T68" fmla="*/ 185 w 229"/>
                  <a:gd name="T69" fmla="*/ 249 h 315"/>
                  <a:gd name="T70" fmla="*/ 168 w 229"/>
                  <a:gd name="T71" fmla="*/ 233 h 315"/>
                  <a:gd name="T72" fmla="*/ 185 w 229"/>
                  <a:gd name="T73" fmla="*/ 216 h 315"/>
                  <a:gd name="T74" fmla="*/ 44 w 229"/>
                  <a:gd name="T75" fmla="*/ 216 h 315"/>
                  <a:gd name="T76" fmla="*/ 60 w 229"/>
                  <a:gd name="T77" fmla="*/ 233 h 315"/>
                  <a:gd name="T78" fmla="*/ 44 w 229"/>
                  <a:gd name="T79" fmla="*/ 249 h 315"/>
                  <a:gd name="T80" fmla="*/ 27 w 229"/>
                  <a:gd name="T81" fmla="*/ 233 h 315"/>
                  <a:gd name="T82" fmla="*/ 44 w 229"/>
                  <a:gd name="T83" fmla="*/ 216 h 315"/>
                  <a:gd name="T84" fmla="*/ 80 w 229"/>
                  <a:gd name="T85" fmla="*/ 0 h 315"/>
                  <a:gd name="T86" fmla="*/ 93 w 229"/>
                  <a:gd name="T87" fmla="*/ 0 h 315"/>
                  <a:gd name="T88" fmla="*/ 93 w 229"/>
                  <a:gd name="T89" fmla="*/ 26 h 315"/>
                  <a:gd name="T90" fmla="*/ 80 w 229"/>
                  <a:gd name="T91" fmla="*/ 26 h 315"/>
                  <a:gd name="T92" fmla="*/ 80 w 229"/>
                  <a:gd name="T93" fmla="*/ 0 h 315"/>
                  <a:gd name="T94" fmla="*/ 135 w 229"/>
                  <a:gd name="T95" fmla="*/ 0 h 315"/>
                  <a:gd name="T96" fmla="*/ 148 w 229"/>
                  <a:gd name="T97" fmla="*/ 0 h 315"/>
                  <a:gd name="T98" fmla="*/ 148 w 229"/>
                  <a:gd name="T99" fmla="*/ 26 h 315"/>
                  <a:gd name="T100" fmla="*/ 135 w 229"/>
                  <a:gd name="T101" fmla="*/ 26 h 315"/>
                  <a:gd name="T102" fmla="*/ 135 w 229"/>
                  <a:gd name="T103" fmla="*/ 0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29" h="315">
                    <a:moveTo>
                      <a:pt x="33" y="286"/>
                    </a:moveTo>
                    <a:cubicBezTo>
                      <a:pt x="195" y="286"/>
                      <a:pt x="195" y="286"/>
                      <a:pt x="195" y="286"/>
                    </a:cubicBezTo>
                    <a:cubicBezTo>
                      <a:pt x="209" y="315"/>
                      <a:pt x="209" y="315"/>
                      <a:pt x="209" y="315"/>
                    </a:cubicBezTo>
                    <a:cubicBezTo>
                      <a:pt x="19" y="315"/>
                      <a:pt x="19" y="315"/>
                      <a:pt x="19" y="315"/>
                    </a:cubicBezTo>
                    <a:cubicBezTo>
                      <a:pt x="33" y="286"/>
                      <a:pt x="33" y="286"/>
                      <a:pt x="33" y="286"/>
                    </a:cubicBezTo>
                    <a:close/>
                    <a:moveTo>
                      <a:pt x="52" y="75"/>
                    </a:moveTo>
                    <a:cubicBezTo>
                      <a:pt x="176" y="75"/>
                      <a:pt x="176" y="75"/>
                      <a:pt x="176" y="75"/>
                    </a:cubicBezTo>
                    <a:cubicBezTo>
                      <a:pt x="184" y="75"/>
                      <a:pt x="190" y="81"/>
                      <a:pt x="190" y="89"/>
                    </a:cubicBezTo>
                    <a:cubicBezTo>
                      <a:pt x="194" y="137"/>
                      <a:pt x="194" y="137"/>
                      <a:pt x="194" y="137"/>
                    </a:cubicBezTo>
                    <a:cubicBezTo>
                      <a:pt x="195" y="145"/>
                      <a:pt x="188" y="151"/>
                      <a:pt x="180" y="151"/>
                    </a:cubicBezTo>
                    <a:cubicBezTo>
                      <a:pt x="48" y="151"/>
                      <a:pt x="48" y="151"/>
                      <a:pt x="48" y="151"/>
                    </a:cubicBezTo>
                    <a:cubicBezTo>
                      <a:pt x="40" y="151"/>
                      <a:pt x="33" y="145"/>
                      <a:pt x="34" y="137"/>
                    </a:cubicBezTo>
                    <a:cubicBezTo>
                      <a:pt x="38" y="89"/>
                      <a:pt x="38" y="89"/>
                      <a:pt x="38" y="89"/>
                    </a:cubicBezTo>
                    <a:cubicBezTo>
                      <a:pt x="39" y="81"/>
                      <a:pt x="44" y="75"/>
                      <a:pt x="52" y="75"/>
                    </a:cubicBezTo>
                    <a:close/>
                    <a:moveTo>
                      <a:pt x="83" y="43"/>
                    </a:moveTo>
                    <a:cubicBezTo>
                      <a:pt x="145" y="43"/>
                      <a:pt x="145" y="43"/>
                      <a:pt x="145" y="43"/>
                    </a:cubicBezTo>
                    <a:cubicBezTo>
                      <a:pt x="149" y="43"/>
                      <a:pt x="151" y="46"/>
                      <a:pt x="151" y="49"/>
                    </a:cubicBezTo>
                    <a:cubicBezTo>
                      <a:pt x="151" y="59"/>
                      <a:pt x="151" y="59"/>
                      <a:pt x="151" y="59"/>
                    </a:cubicBezTo>
                    <a:cubicBezTo>
                      <a:pt x="151" y="63"/>
                      <a:pt x="149" y="65"/>
                      <a:pt x="145" y="65"/>
                    </a:cubicBezTo>
                    <a:cubicBezTo>
                      <a:pt x="83" y="65"/>
                      <a:pt x="83" y="65"/>
                      <a:pt x="83" y="65"/>
                    </a:cubicBezTo>
                    <a:cubicBezTo>
                      <a:pt x="80" y="65"/>
                      <a:pt x="77" y="63"/>
                      <a:pt x="77" y="59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46"/>
                      <a:pt x="80" y="43"/>
                      <a:pt x="83" y="43"/>
                    </a:cubicBezTo>
                    <a:close/>
                    <a:moveTo>
                      <a:pt x="46" y="33"/>
                    </a:moveTo>
                    <a:cubicBezTo>
                      <a:pt x="182" y="33"/>
                      <a:pt x="182" y="33"/>
                      <a:pt x="182" y="33"/>
                    </a:cubicBezTo>
                    <a:cubicBezTo>
                      <a:pt x="199" y="33"/>
                      <a:pt x="211" y="47"/>
                      <a:pt x="212" y="63"/>
                    </a:cubicBezTo>
                    <a:cubicBezTo>
                      <a:pt x="227" y="249"/>
                      <a:pt x="227" y="249"/>
                      <a:pt x="227" y="249"/>
                    </a:cubicBezTo>
                    <a:cubicBezTo>
                      <a:pt x="229" y="265"/>
                      <a:pt x="214" y="278"/>
                      <a:pt x="198" y="278"/>
                    </a:cubicBezTo>
                    <a:cubicBezTo>
                      <a:pt x="30" y="278"/>
                      <a:pt x="30" y="278"/>
                      <a:pt x="30" y="278"/>
                    </a:cubicBezTo>
                    <a:cubicBezTo>
                      <a:pt x="14" y="278"/>
                      <a:pt x="0" y="265"/>
                      <a:pt x="1" y="249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18" y="47"/>
                      <a:pt x="30" y="33"/>
                      <a:pt x="46" y="33"/>
                    </a:cubicBezTo>
                    <a:close/>
                    <a:moveTo>
                      <a:pt x="185" y="216"/>
                    </a:moveTo>
                    <a:cubicBezTo>
                      <a:pt x="194" y="216"/>
                      <a:pt x="201" y="223"/>
                      <a:pt x="201" y="233"/>
                    </a:cubicBezTo>
                    <a:cubicBezTo>
                      <a:pt x="201" y="242"/>
                      <a:pt x="194" y="249"/>
                      <a:pt x="185" y="249"/>
                    </a:cubicBezTo>
                    <a:cubicBezTo>
                      <a:pt x="176" y="249"/>
                      <a:pt x="168" y="242"/>
                      <a:pt x="168" y="233"/>
                    </a:cubicBezTo>
                    <a:cubicBezTo>
                      <a:pt x="168" y="223"/>
                      <a:pt x="176" y="216"/>
                      <a:pt x="185" y="216"/>
                    </a:cubicBezTo>
                    <a:close/>
                    <a:moveTo>
                      <a:pt x="44" y="216"/>
                    </a:moveTo>
                    <a:cubicBezTo>
                      <a:pt x="53" y="216"/>
                      <a:pt x="60" y="223"/>
                      <a:pt x="60" y="233"/>
                    </a:cubicBezTo>
                    <a:cubicBezTo>
                      <a:pt x="60" y="242"/>
                      <a:pt x="53" y="249"/>
                      <a:pt x="44" y="249"/>
                    </a:cubicBezTo>
                    <a:cubicBezTo>
                      <a:pt x="35" y="249"/>
                      <a:pt x="27" y="242"/>
                      <a:pt x="27" y="233"/>
                    </a:cubicBezTo>
                    <a:cubicBezTo>
                      <a:pt x="27" y="223"/>
                      <a:pt x="35" y="216"/>
                      <a:pt x="44" y="216"/>
                    </a:cubicBezTo>
                    <a:close/>
                    <a:moveTo>
                      <a:pt x="80" y="0"/>
                    </a:moveTo>
                    <a:cubicBezTo>
                      <a:pt x="93" y="0"/>
                      <a:pt x="93" y="0"/>
                      <a:pt x="93" y="0"/>
                    </a:cubicBezTo>
                    <a:cubicBezTo>
                      <a:pt x="93" y="26"/>
                      <a:pt x="93" y="26"/>
                      <a:pt x="93" y="26"/>
                    </a:cubicBezTo>
                    <a:cubicBezTo>
                      <a:pt x="80" y="26"/>
                      <a:pt x="80" y="26"/>
                      <a:pt x="80" y="26"/>
                    </a:cubicBezTo>
                    <a:cubicBezTo>
                      <a:pt x="80" y="0"/>
                      <a:pt x="80" y="0"/>
                      <a:pt x="80" y="0"/>
                    </a:cubicBezTo>
                    <a:close/>
                    <a:moveTo>
                      <a:pt x="135" y="0"/>
                    </a:moveTo>
                    <a:cubicBezTo>
                      <a:pt x="148" y="0"/>
                      <a:pt x="148" y="0"/>
                      <a:pt x="148" y="0"/>
                    </a:cubicBezTo>
                    <a:cubicBezTo>
                      <a:pt x="148" y="26"/>
                      <a:pt x="148" y="26"/>
                      <a:pt x="148" y="26"/>
                    </a:cubicBezTo>
                    <a:cubicBezTo>
                      <a:pt x="135" y="26"/>
                      <a:pt x="135" y="26"/>
                      <a:pt x="135" y="26"/>
                    </a:cubicBezTo>
                    <a:cubicBezTo>
                      <a:pt x="135" y="0"/>
                      <a:pt x="135" y="0"/>
                      <a:pt x="1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8" name="Freeform 10"/>
              <p:cNvSpPr>
                <a:spLocks noEditPoints="1"/>
              </p:cNvSpPr>
              <p:nvPr/>
            </p:nvSpPr>
            <p:spPr bwMode="auto">
              <a:xfrm>
                <a:off x="-2284413" y="1468438"/>
                <a:ext cx="1185862" cy="420688"/>
              </a:xfrm>
              <a:custGeom>
                <a:avLst/>
                <a:gdLst>
                  <a:gd name="T0" fmla="*/ 144 w 747"/>
                  <a:gd name="T1" fmla="*/ 0 h 265"/>
                  <a:gd name="T2" fmla="*/ 198 w 747"/>
                  <a:gd name="T3" fmla="*/ 0 h 265"/>
                  <a:gd name="T4" fmla="*/ 85 w 747"/>
                  <a:gd name="T5" fmla="*/ 265 h 265"/>
                  <a:gd name="T6" fmla="*/ 0 w 747"/>
                  <a:gd name="T7" fmla="*/ 265 h 265"/>
                  <a:gd name="T8" fmla="*/ 144 w 747"/>
                  <a:gd name="T9" fmla="*/ 0 h 265"/>
                  <a:gd name="T10" fmla="*/ 144 w 747"/>
                  <a:gd name="T11" fmla="*/ 0 h 265"/>
                  <a:gd name="T12" fmla="*/ 605 w 747"/>
                  <a:gd name="T13" fmla="*/ 0 h 265"/>
                  <a:gd name="T14" fmla="*/ 550 w 747"/>
                  <a:gd name="T15" fmla="*/ 0 h 265"/>
                  <a:gd name="T16" fmla="*/ 661 w 747"/>
                  <a:gd name="T17" fmla="*/ 265 h 265"/>
                  <a:gd name="T18" fmla="*/ 747 w 747"/>
                  <a:gd name="T19" fmla="*/ 265 h 265"/>
                  <a:gd name="T20" fmla="*/ 605 w 747"/>
                  <a:gd name="T21" fmla="*/ 0 h 265"/>
                  <a:gd name="T22" fmla="*/ 605 w 747"/>
                  <a:gd name="T23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7" h="265">
                    <a:moveTo>
                      <a:pt x="144" y="0"/>
                    </a:moveTo>
                    <a:lnTo>
                      <a:pt x="198" y="0"/>
                    </a:lnTo>
                    <a:lnTo>
                      <a:pt x="85" y="265"/>
                    </a:lnTo>
                    <a:lnTo>
                      <a:pt x="0" y="265"/>
                    </a:lnTo>
                    <a:lnTo>
                      <a:pt x="144" y="0"/>
                    </a:lnTo>
                    <a:lnTo>
                      <a:pt x="144" y="0"/>
                    </a:lnTo>
                    <a:close/>
                    <a:moveTo>
                      <a:pt x="605" y="0"/>
                    </a:moveTo>
                    <a:lnTo>
                      <a:pt x="550" y="0"/>
                    </a:lnTo>
                    <a:lnTo>
                      <a:pt x="661" y="265"/>
                    </a:lnTo>
                    <a:lnTo>
                      <a:pt x="747" y="265"/>
                    </a:lnTo>
                    <a:lnTo>
                      <a:pt x="605" y="0"/>
                    </a:lnTo>
                    <a:lnTo>
                      <a:pt x="605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49" name="Group 149"/>
            <p:cNvGrpSpPr/>
            <p:nvPr/>
          </p:nvGrpSpPr>
          <p:grpSpPr>
            <a:xfrm flipH="1">
              <a:off x="-203406" y="248249"/>
              <a:ext cx="330692" cy="184764"/>
              <a:chOff x="-3778250" y="3316288"/>
              <a:chExt cx="892175" cy="498475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13" name="Freeform 34"/>
              <p:cNvSpPr>
                <a:spLocks noEditPoints="1"/>
              </p:cNvSpPr>
              <p:nvPr/>
            </p:nvSpPr>
            <p:spPr bwMode="auto">
              <a:xfrm>
                <a:off x="-3554413" y="3319463"/>
                <a:ext cx="487363" cy="492125"/>
              </a:xfrm>
              <a:custGeom>
                <a:avLst/>
                <a:gdLst>
                  <a:gd name="T0" fmla="*/ 65 w 130"/>
                  <a:gd name="T1" fmla="*/ 0 h 131"/>
                  <a:gd name="T2" fmla="*/ 0 w 130"/>
                  <a:gd name="T3" fmla="*/ 66 h 131"/>
                  <a:gd name="T4" fmla="*/ 65 w 130"/>
                  <a:gd name="T5" fmla="*/ 131 h 131"/>
                  <a:gd name="T6" fmla="*/ 130 w 130"/>
                  <a:gd name="T7" fmla="*/ 66 h 131"/>
                  <a:gd name="T8" fmla="*/ 65 w 130"/>
                  <a:gd name="T9" fmla="*/ 0 h 131"/>
                  <a:gd name="T10" fmla="*/ 65 w 130"/>
                  <a:gd name="T11" fmla="*/ 117 h 131"/>
                  <a:gd name="T12" fmla="*/ 13 w 130"/>
                  <a:gd name="T13" fmla="*/ 66 h 131"/>
                  <a:gd name="T14" fmla="*/ 65 w 130"/>
                  <a:gd name="T15" fmla="*/ 14 h 131"/>
                  <a:gd name="T16" fmla="*/ 116 w 130"/>
                  <a:gd name="T17" fmla="*/ 66 h 131"/>
                  <a:gd name="T18" fmla="*/ 65 w 130"/>
                  <a:gd name="T19" fmla="*/ 11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1">
                    <a:moveTo>
                      <a:pt x="65" y="0"/>
                    </a:moveTo>
                    <a:cubicBezTo>
                      <a:pt x="29" y="0"/>
                      <a:pt x="0" y="30"/>
                      <a:pt x="0" y="66"/>
                    </a:cubicBezTo>
                    <a:cubicBezTo>
                      <a:pt x="0" y="101"/>
                      <a:pt x="29" y="131"/>
                      <a:pt x="65" y="131"/>
                    </a:cubicBezTo>
                    <a:cubicBezTo>
                      <a:pt x="101" y="131"/>
                      <a:pt x="130" y="101"/>
                      <a:pt x="130" y="66"/>
                    </a:cubicBezTo>
                    <a:cubicBezTo>
                      <a:pt x="130" y="30"/>
                      <a:pt x="101" y="0"/>
                      <a:pt x="65" y="0"/>
                    </a:cubicBezTo>
                    <a:close/>
                    <a:moveTo>
                      <a:pt x="65" y="117"/>
                    </a:moveTo>
                    <a:cubicBezTo>
                      <a:pt x="36" y="117"/>
                      <a:pt x="13" y="94"/>
                      <a:pt x="13" y="66"/>
                    </a:cubicBezTo>
                    <a:cubicBezTo>
                      <a:pt x="13" y="37"/>
                      <a:pt x="36" y="14"/>
                      <a:pt x="65" y="14"/>
                    </a:cubicBezTo>
                    <a:cubicBezTo>
                      <a:pt x="93" y="14"/>
                      <a:pt x="116" y="37"/>
                      <a:pt x="116" y="66"/>
                    </a:cubicBezTo>
                    <a:cubicBezTo>
                      <a:pt x="116" y="94"/>
                      <a:pt x="93" y="117"/>
                      <a:pt x="65" y="117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4" name="Oval 35"/>
              <p:cNvSpPr>
                <a:spLocks noChangeArrowheads="1"/>
              </p:cNvSpPr>
              <p:nvPr/>
            </p:nvSpPr>
            <p:spPr bwMode="auto">
              <a:xfrm>
                <a:off x="-3467100" y="3409950"/>
                <a:ext cx="311150" cy="311150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5" name="Freeform 36"/>
              <p:cNvSpPr>
                <a:spLocks/>
              </p:cNvSpPr>
              <p:nvPr/>
            </p:nvSpPr>
            <p:spPr bwMode="auto">
              <a:xfrm>
                <a:off x="-3778250" y="3316288"/>
                <a:ext cx="168275" cy="498475"/>
              </a:xfrm>
              <a:custGeom>
                <a:avLst/>
                <a:gdLst>
                  <a:gd name="T0" fmla="*/ 45 w 45"/>
                  <a:gd name="T1" fmla="*/ 33 h 133"/>
                  <a:gd name="T2" fmla="*/ 22 w 45"/>
                  <a:gd name="T3" fmla="*/ 0 h 133"/>
                  <a:gd name="T4" fmla="*/ 0 w 45"/>
                  <a:gd name="T5" fmla="*/ 33 h 133"/>
                  <a:gd name="T6" fmla="*/ 16 w 45"/>
                  <a:gd name="T7" fmla="*/ 57 h 133"/>
                  <a:gd name="T8" fmla="*/ 14 w 45"/>
                  <a:gd name="T9" fmla="*/ 133 h 133"/>
                  <a:gd name="T10" fmla="*/ 31 w 45"/>
                  <a:gd name="T11" fmla="*/ 133 h 133"/>
                  <a:gd name="T12" fmla="*/ 28 w 45"/>
                  <a:gd name="T13" fmla="*/ 57 h 133"/>
                  <a:gd name="T14" fmla="*/ 45 w 45"/>
                  <a:gd name="T15" fmla="*/ 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133">
                    <a:moveTo>
                      <a:pt x="45" y="33"/>
                    </a:moveTo>
                    <a:cubicBezTo>
                      <a:pt x="45" y="17"/>
                      <a:pt x="35" y="0"/>
                      <a:pt x="22" y="0"/>
                    </a:cubicBezTo>
                    <a:cubicBezTo>
                      <a:pt x="10" y="0"/>
                      <a:pt x="0" y="17"/>
                      <a:pt x="0" y="33"/>
                    </a:cubicBezTo>
                    <a:cubicBezTo>
                      <a:pt x="0" y="46"/>
                      <a:pt x="7" y="55"/>
                      <a:pt x="16" y="57"/>
                    </a:cubicBezTo>
                    <a:cubicBezTo>
                      <a:pt x="14" y="133"/>
                      <a:pt x="14" y="133"/>
                      <a:pt x="14" y="133"/>
                    </a:cubicBezTo>
                    <a:cubicBezTo>
                      <a:pt x="31" y="133"/>
                      <a:pt x="31" y="133"/>
                      <a:pt x="31" y="133"/>
                    </a:cubicBezTo>
                    <a:cubicBezTo>
                      <a:pt x="28" y="57"/>
                      <a:pt x="28" y="57"/>
                      <a:pt x="28" y="57"/>
                    </a:cubicBezTo>
                    <a:cubicBezTo>
                      <a:pt x="38" y="55"/>
                      <a:pt x="45" y="46"/>
                      <a:pt x="4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6" name="Freeform 37"/>
              <p:cNvSpPr>
                <a:spLocks/>
              </p:cNvSpPr>
              <p:nvPr/>
            </p:nvSpPr>
            <p:spPr bwMode="auto">
              <a:xfrm>
                <a:off x="-3036888" y="3319463"/>
                <a:ext cx="150813" cy="492125"/>
              </a:xfrm>
              <a:custGeom>
                <a:avLst/>
                <a:gdLst>
                  <a:gd name="T0" fmla="*/ 40 w 40"/>
                  <a:gd name="T1" fmla="*/ 39 h 131"/>
                  <a:gd name="T2" fmla="*/ 37 w 40"/>
                  <a:gd name="T3" fmla="*/ 15 h 131"/>
                  <a:gd name="T4" fmla="*/ 31 w 40"/>
                  <a:gd name="T5" fmla="*/ 1 h 131"/>
                  <a:gd name="T6" fmla="*/ 31 w 40"/>
                  <a:gd name="T7" fmla="*/ 31 h 131"/>
                  <a:gd name="T8" fmla="*/ 27 w 40"/>
                  <a:gd name="T9" fmla="*/ 31 h 131"/>
                  <a:gd name="T10" fmla="*/ 27 w 40"/>
                  <a:gd name="T11" fmla="*/ 0 h 131"/>
                  <a:gd name="T12" fmla="*/ 22 w 40"/>
                  <a:gd name="T13" fmla="*/ 0 h 131"/>
                  <a:gd name="T14" fmla="*/ 22 w 40"/>
                  <a:gd name="T15" fmla="*/ 31 h 131"/>
                  <a:gd name="T16" fmla="*/ 21 w 40"/>
                  <a:gd name="T17" fmla="*/ 31 h 131"/>
                  <a:gd name="T18" fmla="*/ 21 w 40"/>
                  <a:gd name="T19" fmla="*/ 31 h 131"/>
                  <a:gd name="T20" fmla="*/ 17 w 40"/>
                  <a:gd name="T21" fmla="*/ 31 h 131"/>
                  <a:gd name="T22" fmla="*/ 17 w 40"/>
                  <a:gd name="T23" fmla="*/ 0 h 131"/>
                  <a:gd name="T24" fmla="*/ 13 w 40"/>
                  <a:gd name="T25" fmla="*/ 0 h 131"/>
                  <a:gd name="T26" fmla="*/ 13 w 40"/>
                  <a:gd name="T27" fmla="*/ 31 h 131"/>
                  <a:gd name="T28" fmla="*/ 8 w 40"/>
                  <a:gd name="T29" fmla="*/ 31 h 131"/>
                  <a:gd name="T30" fmla="*/ 8 w 40"/>
                  <a:gd name="T31" fmla="*/ 1 h 131"/>
                  <a:gd name="T32" fmla="*/ 2 w 40"/>
                  <a:gd name="T33" fmla="*/ 15 h 131"/>
                  <a:gd name="T34" fmla="*/ 0 w 40"/>
                  <a:gd name="T35" fmla="*/ 39 h 131"/>
                  <a:gd name="T36" fmla="*/ 14 w 40"/>
                  <a:gd name="T37" fmla="*/ 56 h 131"/>
                  <a:gd name="T38" fmla="*/ 11 w 40"/>
                  <a:gd name="T39" fmla="*/ 131 h 131"/>
                  <a:gd name="T40" fmla="*/ 28 w 40"/>
                  <a:gd name="T41" fmla="*/ 131 h 131"/>
                  <a:gd name="T42" fmla="*/ 26 w 40"/>
                  <a:gd name="T43" fmla="*/ 56 h 131"/>
                  <a:gd name="T44" fmla="*/ 40 w 40"/>
                  <a:gd name="T45" fmla="*/ 39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0" h="131">
                    <a:moveTo>
                      <a:pt x="40" y="39"/>
                    </a:moveTo>
                    <a:cubicBezTo>
                      <a:pt x="37" y="15"/>
                      <a:pt x="37" y="15"/>
                      <a:pt x="37" y="15"/>
                    </a:cubicBezTo>
                    <a:cubicBezTo>
                      <a:pt x="37" y="10"/>
                      <a:pt x="35" y="4"/>
                      <a:pt x="31" y="1"/>
                    </a:cubicBezTo>
                    <a:cubicBezTo>
                      <a:pt x="31" y="31"/>
                      <a:pt x="31" y="31"/>
                      <a:pt x="31" y="31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5" y="0"/>
                      <a:pt x="24" y="0"/>
                      <a:pt x="22" y="0"/>
                    </a:cubicBezTo>
                    <a:cubicBezTo>
                      <a:pt x="22" y="31"/>
                      <a:pt x="22" y="31"/>
                      <a:pt x="22" y="31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6" y="0"/>
                      <a:pt x="15" y="0"/>
                      <a:pt x="13" y="0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5" y="4"/>
                      <a:pt x="2" y="10"/>
                      <a:pt x="2" y="1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7"/>
                      <a:pt x="5" y="54"/>
                      <a:pt x="14" y="56"/>
                    </a:cubicBezTo>
                    <a:cubicBezTo>
                      <a:pt x="11" y="131"/>
                      <a:pt x="11" y="131"/>
                      <a:pt x="11" y="131"/>
                    </a:cubicBezTo>
                    <a:cubicBezTo>
                      <a:pt x="28" y="131"/>
                      <a:pt x="28" y="131"/>
                      <a:pt x="28" y="131"/>
                    </a:cubicBezTo>
                    <a:cubicBezTo>
                      <a:pt x="26" y="56"/>
                      <a:pt x="26" y="56"/>
                      <a:pt x="26" y="56"/>
                    </a:cubicBezTo>
                    <a:cubicBezTo>
                      <a:pt x="34" y="54"/>
                      <a:pt x="40" y="47"/>
                      <a:pt x="40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50" name="Freeform 17"/>
            <p:cNvSpPr>
              <a:spLocks/>
            </p:cNvSpPr>
            <p:nvPr/>
          </p:nvSpPr>
          <p:spPr bwMode="auto">
            <a:xfrm flipH="1">
              <a:off x="-741011" y="819229"/>
              <a:ext cx="379363" cy="446131"/>
            </a:xfrm>
            <a:custGeom>
              <a:avLst/>
              <a:gdLst>
                <a:gd name="T0" fmla="*/ 461 w 503"/>
                <a:gd name="T1" fmla="*/ 304 h 591"/>
                <a:gd name="T2" fmla="*/ 503 w 503"/>
                <a:gd name="T3" fmla="*/ 267 h 591"/>
                <a:gd name="T4" fmla="*/ 461 w 503"/>
                <a:gd name="T5" fmla="*/ 230 h 591"/>
                <a:gd name="T6" fmla="*/ 278 w 503"/>
                <a:gd name="T7" fmla="*/ 230 h 591"/>
                <a:gd name="T8" fmla="*/ 278 w 503"/>
                <a:gd name="T9" fmla="*/ 109 h 591"/>
                <a:gd name="T10" fmla="*/ 385 w 503"/>
                <a:gd name="T11" fmla="*/ 109 h 591"/>
                <a:gd name="T12" fmla="*/ 410 w 503"/>
                <a:gd name="T13" fmla="*/ 73 h 591"/>
                <a:gd name="T14" fmla="*/ 385 w 503"/>
                <a:gd name="T15" fmla="*/ 36 h 591"/>
                <a:gd name="T16" fmla="*/ 278 w 503"/>
                <a:gd name="T17" fmla="*/ 36 h 591"/>
                <a:gd name="T18" fmla="*/ 278 w 503"/>
                <a:gd name="T19" fmla="*/ 22 h 591"/>
                <a:gd name="T20" fmla="*/ 261 w 503"/>
                <a:gd name="T21" fmla="*/ 0 h 591"/>
                <a:gd name="T22" fmla="*/ 244 w 503"/>
                <a:gd name="T23" fmla="*/ 22 h 591"/>
                <a:gd name="T24" fmla="*/ 244 w 503"/>
                <a:gd name="T25" fmla="*/ 109 h 591"/>
                <a:gd name="T26" fmla="*/ 46 w 503"/>
                <a:gd name="T27" fmla="*/ 109 h 591"/>
                <a:gd name="T28" fmla="*/ 0 w 503"/>
                <a:gd name="T29" fmla="*/ 146 h 591"/>
                <a:gd name="T30" fmla="*/ 46 w 503"/>
                <a:gd name="T31" fmla="*/ 183 h 591"/>
                <a:gd name="T32" fmla="*/ 244 w 503"/>
                <a:gd name="T33" fmla="*/ 183 h 591"/>
                <a:gd name="T34" fmla="*/ 244 w 503"/>
                <a:gd name="T35" fmla="*/ 516 h 591"/>
                <a:gd name="T36" fmla="*/ 224 w 503"/>
                <a:gd name="T37" fmla="*/ 516 h 591"/>
                <a:gd name="T38" fmla="*/ 204 w 503"/>
                <a:gd name="T39" fmla="*/ 537 h 591"/>
                <a:gd name="T40" fmla="*/ 206 w 503"/>
                <a:gd name="T41" fmla="*/ 547 h 591"/>
                <a:gd name="T42" fmla="*/ 181 w 503"/>
                <a:gd name="T43" fmla="*/ 569 h 591"/>
                <a:gd name="T44" fmla="*/ 209 w 503"/>
                <a:gd name="T45" fmla="*/ 591 h 591"/>
                <a:gd name="T46" fmla="*/ 314 w 503"/>
                <a:gd name="T47" fmla="*/ 591 h 591"/>
                <a:gd name="T48" fmla="*/ 342 w 503"/>
                <a:gd name="T49" fmla="*/ 569 h 591"/>
                <a:gd name="T50" fmla="*/ 319 w 503"/>
                <a:gd name="T51" fmla="*/ 547 h 591"/>
                <a:gd name="T52" fmla="*/ 321 w 503"/>
                <a:gd name="T53" fmla="*/ 537 h 591"/>
                <a:gd name="T54" fmla="*/ 300 w 503"/>
                <a:gd name="T55" fmla="*/ 516 h 591"/>
                <a:gd name="T56" fmla="*/ 278 w 503"/>
                <a:gd name="T57" fmla="*/ 516 h 591"/>
                <a:gd name="T58" fmla="*/ 278 w 503"/>
                <a:gd name="T59" fmla="*/ 304 h 591"/>
                <a:gd name="T60" fmla="*/ 461 w 503"/>
                <a:gd name="T61" fmla="*/ 304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03" h="591">
                  <a:moveTo>
                    <a:pt x="461" y="304"/>
                  </a:moveTo>
                  <a:cubicBezTo>
                    <a:pt x="503" y="267"/>
                    <a:pt x="503" y="267"/>
                    <a:pt x="503" y="267"/>
                  </a:cubicBezTo>
                  <a:cubicBezTo>
                    <a:pt x="461" y="230"/>
                    <a:pt x="461" y="230"/>
                    <a:pt x="461" y="230"/>
                  </a:cubicBezTo>
                  <a:cubicBezTo>
                    <a:pt x="278" y="230"/>
                    <a:pt x="278" y="230"/>
                    <a:pt x="278" y="230"/>
                  </a:cubicBezTo>
                  <a:cubicBezTo>
                    <a:pt x="278" y="109"/>
                    <a:pt x="278" y="109"/>
                    <a:pt x="278" y="109"/>
                  </a:cubicBezTo>
                  <a:cubicBezTo>
                    <a:pt x="385" y="109"/>
                    <a:pt x="385" y="109"/>
                    <a:pt x="385" y="109"/>
                  </a:cubicBezTo>
                  <a:cubicBezTo>
                    <a:pt x="410" y="73"/>
                    <a:pt x="410" y="73"/>
                    <a:pt x="410" y="73"/>
                  </a:cubicBezTo>
                  <a:cubicBezTo>
                    <a:pt x="385" y="36"/>
                    <a:pt x="385" y="36"/>
                    <a:pt x="385" y="36"/>
                  </a:cubicBezTo>
                  <a:cubicBezTo>
                    <a:pt x="278" y="36"/>
                    <a:pt x="278" y="36"/>
                    <a:pt x="278" y="36"/>
                  </a:cubicBezTo>
                  <a:cubicBezTo>
                    <a:pt x="278" y="22"/>
                    <a:pt x="278" y="22"/>
                    <a:pt x="278" y="22"/>
                  </a:cubicBezTo>
                  <a:cubicBezTo>
                    <a:pt x="278" y="10"/>
                    <a:pt x="271" y="0"/>
                    <a:pt x="261" y="0"/>
                  </a:cubicBezTo>
                  <a:cubicBezTo>
                    <a:pt x="252" y="0"/>
                    <a:pt x="244" y="10"/>
                    <a:pt x="244" y="22"/>
                  </a:cubicBezTo>
                  <a:cubicBezTo>
                    <a:pt x="244" y="109"/>
                    <a:pt x="244" y="109"/>
                    <a:pt x="244" y="109"/>
                  </a:cubicBezTo>
                  <a:cubicBezTo>
                    <a:pt x="46" y="109"/>
                    <a:pt x="46" y="109"/>
                    <a:pt x="46" y="109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46" y="183"/>
                    <a:pt x="46" y="183"/>
                    <a:pt x="46" y="183"/>
                  </a:cubicBezTo>
                  <a:cubicBezTo>
                    <a:pt x="244" y="183"/>
                    <a:pt x="244" y="183"/>
                    <a:pt x="244" y="183"/>
                  </a:cubicBezTo>
                  <a:cubicBezTo>
                    <a:pt x="244" y="516"/>
                    <a:pt x="244" y="516"/>
                    <a:pt x="244" y="516"/>
                  </a:cubicBezTo>
                  <a:cubicBezTo>
                    <a:pt x="224" y="516"/>
                    <a:pt x="224" y="516"/>
                    <a:pt x="224" y="516"/>
                  </a:cubicBezTo>
                  <a:cubicBezTo>
                    <a:pt x="213" y="516"/>
                    <a:pt x="204" y="525"/>
                    <a:pt x="204" y="537"/>
                  </a:cubicBezTo>
                  <a:cubicBezTo>
                    <a:pt x="204" y="541"/>
                    <a:pt x="205" y="544"/>
                    <a:pt x="206" y="547"/>
                  </a:cubicBezTo>
                  <a:cubicBezTo>
                    <a:pt x="192" y="548"/>
                    <a:pt x="181" y="557"/>
                    <a:pt x="181" y="569"/>
                  </a:cubicBezTo>
                  <a:cubicBezTo>
                    <a:pt x="181" y="581"/>
                    <a:pt x="193" y="591"/>
                    <a:pt x="209" y="591"/>
                  </a:cubicBezTo>
                  <a:cubicBezTo>
                    <a:pt x="314" y="591"/>
                    <a:pt x="314" y="591"/>
                    <a:pt x="314" y="591"/>
                  </a:cubicBezTo>
                  <a:cubicBezTo>
                    <a:pt x="329" y="591"/>
                    <a:pt x="342" y="581"/>
                    <a:pt x="342" y="569"/>
                  </a:cubicBezTo>
                  <a:cubicBezTo>
                    <a:pt x="342" y="558"/>
                    <a:pt x="332" y="549"/>
                    <a:pt x="319" y="547"/>
                  </a:cubicBezTo>
                  <a:cubicBezTo>
                    <a:pt x="320" y="544"/>
                    <a:pt x="321" y="541"/>
                    <a:pt x="321" y="537"/>
                  </a:cubicBezTo>
                  <a:cubicBezTo>
                    <a:pt x="321" y="525"/>
                    <a:pt x="312" y="516"/>
                    <a:pt x="300" y="516"/>
                  </a:cubicBezTo>
                  <a:cubicBezTo>
                    <a:pt x="278" y="516"/>
                    <a:pt x="278" y="516"/>
                    <a:pt x="278" y="516"/>
                  </a:cubicBezTo>
                  <a:cubicBezTo>
                    <a:pt x="278" y="304"/>
                    <a:pt x="278" y="304"/>
                    <a:pt x="278" y="304"/>
                  </a:cubicBezTo>
                  <a:lnTo>
                    <a:pt x="461" y="304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1" name="Freeform 45"/>
            <p:cNvSpPr>
              <a:spLocks noEditPoints="1"/>
            </p:cNvSpPr>
            <p:nvPr/>
          </p:nvSpPr>
          <p:spPr bwMode="auto">
            <a:xfrm flipH="1">
              <a:off x="1657393" y="103198"/>
              <a:ext cx="404760" cy="614421"/>
            </a:xfrm>
            <a:custGeom>
              <a:avLst/>
              <a:gdLst>
                <a:gd name="T0" fmla="*/ 266 w 266"/>
                <a:gd name="T1" fmla="*/ 133 h 403"/>
                <a:gd name="T2" fmla="*/ 133 w 266"/>
                <a:gd name="T3" fmla="*/ 0 h 403"/>
                <a:gd name="T4" fmla="*/ 0 w 266"/>
                <a:gd name="T5" fmla="*/ 133 h 403"/>
                <a:gd name="T6" fmla="*/ 2 w 266"/>
                <a:gd name="T7" fmla="*/ 156 h 403"/>
                <a:gd name="T8" fmla="*/ 19 w 266"/>
                <a:gd name="T9" fmla="*/ 203 h 403"/>
                <a:gd name="T10" fmla="*/ 19 w 266"/>
                <a:gd name="T11" fmla="*/ 203 h 403"/>
                <a:gd name="T12" fmla="*/ 133 w 266"/>
                <a:gd name="T13" fmla="*/ 403 h 403"/>
                <a:gd name="T14" fmla="*/ 133 w 266"/>
                <a:gd name="T15" fmla="*/ 403 h 403"/>
                <a:gd name="T16" fmla="*/ 133 w 266"/>
                <a:gd name="T17" fmla="*/ 403 h 403"/>
                <a:gd name="T18" fmla="*/ 247 w 266"/>
                <a:gd name="T19" fmla="*/ 203 h 403"/>
                <a:gd name="T20" fmla="*/ 247 w 266"/>
                <a:gd name="T21" fmla="*/ 203 h 403"/>
                <a:gd name="T22" fmla="*/ 266 w 266"/>
                <a:gd name="T23" fmla="*/ 133 h 403"/>
                <a:gd name="T24" fmla="*/ 133 w 266"/>
                <a:gd name="T25" fmla="*/ 189 h 403"/>
                <a:gd name="T26" fmla="*/ 76 w 266"/>
                <a:gd name="T27" fmla="*/ 131 h 403"/>
                <a:gd name="T28" fmla="*/ 133 w 266"/>
                <a:gd name="T29" fmla="*/ 74 h 403"/>
                <a:gd name="T30" fmla="*/ 190 w 266"/>
                <a:gd name="T31" fmla="*/ 131 h 403"/>
                <a:gd name="T32" fmla="*/ 133 w 266"/>
                <a:gd name="T33" fmla="*/ 189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6" h="403">
                  <a:moveTo>
                    <a:pt x="266" y="133"/>
                  </a:moveTo>
                  <a:cubicBezTo>
                    <a:pt x="266" y="60"/>
                    <a:pt x="207" y="0"/>
                    <a:pt x="133" y="0"/>
                  </a:cubicBezTo>
                  <a:cubicBezTo>
                    <a:pt x="59" y="0"/>
                    <a:pt x="0" y="60"/>
                    <a:pt x="0" y="133"/>
                  </a:cubicBezTo>
                  <a:cubicBezTo>
                    <a:pt x="0" y="141"/>
                    <a:pt x="0" y="149"/>
                    <a:pt x="2" y="156"/>
                  </a:cubicBezTo>
                  <a:cubicBezTo>
                    <a:pt x="4" y="173"/>
                    <a:pt x="11" y="189"/>
                    <a:pt x="19" y="203"/>
                  </a:cubicBezTo>
                  <a:cubicBezTo>
                    <a:pt x="19" y="203"/>
                    <a:pt x="19" y="203"/>
                    <a:pt x="19" y="203"/>
                  </a:cubicBezTo>
                  <a:cubicBezTo>
                    <a:pt x="133" y="403"/>
                    <a:pt x="133" y="403"/>
                    <a:pt x="133" y="403"/>
                  </a:cubicBezTo>
                  <a:cubicBezTo>
                    <a:pt x="133" y="403"/>
                    <a:pt x="133" y="403"/>
                    <a:pt x="133" y="403"/>
                  </a:cubicBezTo>
                  <a:cubicBezTo>
                    <a:pt x="133" y="403"/>
                    <a:pt x="133" y="403"/>
                    <a:pt x="133" y="403"/>
                  </a:cubicBezTo>
                  <a:cubicBezTo>
                    <a:pt x="247" y="203"/>
                    <a:pt x="247" y="203"/>
                    <a:pt x="247" y="203"/>
                  </a:cubicBezTo>
                  <a:cubicBezTo>
                    <a:pt x="247" y="203"/>
                    <a:pt x="247" y="203"/>
                    <a:pt x="247" y="203"/>
                  </a:cubicBezTo>
                  <a:cubicBezTo>
                    <a:pt x="259" y="182"/>
                    <a:pt x="266" y="159"/>
                    <a:pt x="266" y="133"/>
                  </a:cubicBezTo>
                  <a:close/>
                  <a:moveTo>
                    <a:pt x="133" y="189"/>
                  </a:moveTo>
                  <a:cubicBezTo>
                    <a:pt x="101" y="189"/>
                    <a:pt x="76" y="163"/>
                    <a:pt x="76" y="131"/>
                  </a:cubicBezTo>
                  <a:cubicBezTo>
                    <a:pt x="76" y="100"/>
                    <a:pt x="101" y="74"/>
                    <a:pt x="133" y="74"/>
                  </a:cubicBezTo>
                  <a:cubicBezTo>
                    <a:pt x="165" y="74"/>
                    <a:pt x="190" y="100"/>
                    <a:pt x="190" y="131"/>
                  </a:cubicBezTo>
                  <a:cubicBezTo>
                    <a:pt x="190" y="163"/>
                    <a:pt x="165" y="189"/>
                    <a:pt x="133" y="189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2" name="Freeform 55"/>
            <p:cNvSpPr>
              <a:spLocks noEditPoints="1"/>
            </p:cNvSpPr>
            <p:nvPr/>
          </p:nvSpPr>
          <p:spPr bwMode="auto">
            <a:xfrm flipH="1">
              <a:off x="-952122" y="1341567"/>
              <a:ext cx="657141" cy="584256"/>
            </a:xfrm>
            <a:custGeom>
              <a:avLst/>
              <a:gdLst>
                <a:gd name="T0" fmla="*/ 80 w 100"/>
                <a:gd name="T1" fmla="*/ 89 h 89"/>
                <a:gd name="T2" fmla="*/ 94 w 100"/>
                <a:gd name="T3" fmla="*/ 86 h 89"/>
                <a:gd name="T4" fmla="*/ 77 w 100"/>
                <a:gd name="T5" fmla="*/ 78 h 89"/>
                <a:gd name="T6" fmla="*/ 7 w 100"/>
                <a:gd name="T7" fmla="*/ 86 h 89"/>
                <a:gd name="T8" fmla="*/ 21 w 100"/>
                <a:gd name="T9" fmla="*/ 89 h 89"/>
                <a:gd name="T10" fmla="*/ 24 w 100"/>
                <a:gd name="T11" fmla="*/ 78 h 89"/>
                <a:gd name="T12" fmla="*/ 7 w 100"/>
                <a:gd name="T13" fmla="*/ 86 h 89"/>
                <a:gd name="T14" fmla="*/ 59 w 100"/>
                <a:gd name="T15" fmla="*/ 52 h 89"/>
                <a:gd name="T16" fmla="*/ 40 w 100"/>
                <a:gd name="T17" fmla="*/ 48 h 89"/>
                <a:gd name="T18" fmla="*/ 95 w 100"/>
                <a:gd name="T19" fmla="*/ 35 h 89"/>
                <a:gd name="T20" fmla="*/ 70 w 100"/>
                <a:gd name="T21" fmla="*/ 0 h 89"/>
                <a:gd name="T22" fmla="*/ 31 w 100"/>
                <a:gd name="T23" fmla="*/ 0 h 89"/>
                <a:gd name="T24" fmla="*/ 0 w 100"/>
                <a:gd name="T25" fmla="*/ 52 h 89"/>
                <a:gd name="T26" fmla="*/ 3 w 100"/>
                <a:gd name="T27" fmla="*/ 72 h 89"/>
                <a:gd name="T28" fmla="*/ 50 w 100"/>
                <a:gd name="T29" fmla="*/ 74 h 89"/>
                <a:gd name="T30" fmla="*/ 50 w 100"/>
                <a:gd name="T31" fmla="*/ 74 h 89"/>
                <a:gd name="T32" fmla="*/ 97 w 100"/>
                <a:gd name="T33" fmla="*/ 72 h 89"/>
                <a:gd name="T34" fmla="*/ 95 w 100"/>
                <a:gd name="T35" fmla="*/ 35 h 89"/>
                <a:gd name="T36" fmla="*/ 31 w 100"/>
                <a:gd name="T37" fmla="*/ 7 h 89"/>
                <a:gd name="T38" fmla="*/ 70 w 100"/>
                <a:gd name="T39" fmla="*/ 7 h 89"/>
                <a:gd name="T40" fmla="*/ 13 w 100"/>
                <a:gd name="T41" fmla="*/ 28 h 89"/>
                <a:gd name="T42" fmla="*/ 15 w 100"/>
                <a:gd name="T43" fmla="*/ 71 h 89"/>
                <a:gd name="T44" fmla="*/ 15 w 100"/>
                <a:gd name="T45" fmla="*/ 63 h 89"/>
                <a:gd name="T46" fmla="*/ 15 w 100"/>
                <a:gd name="T47" fmla="*/ 71 h 89"/>
                <a:gd name="T48" fmla="*/ 26 w 100"/>
                <a:gd name="T49" fmla="*/ 47 h 89"/>
                <a:gd name="T50" fmla="*/ 7 w 100"/>
                <a:gd name="T51" fmla="*/ 47 h 89"/>
                <a:gd name="T52" fmla="*/ 7 w 100"/>
                <a:gd name="T53" fmla="*/ 46 h 89"/>
                <a:gd name="T54" fmla="*/ 7 w 100"/>
                <a:gd name="T55" fmla="*/ 46 h 89"/>
                <a:gd name="T56" fmla="*/ 7 w 100"/>
                <a:gd name="T57" fmla="*/ 46 h 89"/>
                <a:gd name="T58" fmla="*/ 11 w 100"/>
                <a:gd name="T59" fmla="*/ 37 h 89"/>
                <a:gd name="T60" fmla="*/ 12 w 100"/>
                <a:gd name="T61" fmla="*/ 37 h 89"/>
                <a:gd name="T62" fmla="*/ 27 w 100"/>
                <a:gd name="T63" fmla="*/ 46 h 89"/>
                <a:gd name="T64" fmla="*/ 27 w 100"/>
                <a:gd name="T65" fmla="*/ 46 h 89"/>
                <a:gd name="T66" fmla="*/ 60 w 100"/>
                <a:gd name="T67" fmla="*/ 56 h 89"/>
                <a:gd name="T68" fmla="*/ 60 w 100"/>
                <a:gd name="T69" fmla="*/ 56 h 89"/>
                <a:gd name="T70" fmla="*/ 41 w 100"/>
                <a:gd name="T71" fmla="*/ 56 h 89"/>
                <a:gd name="T72" fmla="*/ 35 w 100"/>
                <a:gd name="T73" fmla="*/ 45 h 89"/>
                <a:gd name="T74" fmla="*/ 35 w 100"/>
                <a:gd name="T75" fmla="*/ 45 h 89"/>
                <a:gd name="T76" fmla="*/ 35 w 100"/>
                <a:gd name="T77" fmla="*/ 45 h 89"/>
                <a:gd name="T78" fmla="*/ 64 w 100"/>
                <a:gd name="T79" fmla="*/ 43 h 89"/>
                <a:gd name="T80" fmla="*/ 65 w 100"/>
                <a:gd name="T81" fmla="*/ 45 h 89"/>
                <a:gd name="T82" fmla="*/ 65 w 100"/>
                <a:gd name="T83" fmla="*/ 45 h 89"/>
                <a:gd name="T84" fmla="*/ 85 w 100"/>
                <a:gd name="T85" fmla="*/ 71 h 89"/>
                <a:gd name="T86" fmla="*/ 85 w 100"/>
                <a:gd name="T87" fmla="*/ 63 h 89"/>
                <a:gd name="T88" fmla="*/ 85 w 100"/>
                <a:gd name="T89" fmla="*/ 71 h 89"/>
                <a:gd name="T90" fmla="*/ 94 w 100"/>
                <a:gd name="T91" fmla="*/ 46 h 89"/>
                <a:gd name="T92" fmla="*/ 93 w 100"/>
                <a:gd name="T93" fmla="*/ 47 h 89"/>
                <a:gd name="T94" fmla="*/ 93 w 100"/>
                <a:gd name="T95" fmla="*/ 47 h 89"/>
                <a:gd name="T96" fmla="*/ 74 w 100"/>
                <a:gd name="T97" fmla="*/ 46 h 89"/>
                <a:gd name="T98" fmla="*/ 74 w 100"/>
                <a:gd name="T99" fmla="*/ 46 h 89"/>
                <a:gd name="T100" fmla="*/ 89 w 100"/>
                <a:gd name="T101" fmla="*/ 37 h 89"/>
                <a:gd name="T102" fmla="*/ 90 w 100"/>
                <a:gd name="T103" fmla="*/ 37 h 89"/>
                <a:gd name="T104" fmla="*/ 94 w 100"/>
                <a:gd name="T105" fmla="*/ 46 h 89"/>
                <a:gd name="T106" fmla="*/ 94 w 100"/>
                <a:gd name="T107" fmla="*/ 4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0" h="89">
                  <a:moveTo>
                    <a:pt x="77" y="86"/>
                  </a:moveTo>
                  <a:cubicBezTo>
                    <a:pt x="77" y="88"/>
                    <a:pt x="78" y="89"/>
                    <a:pt x="8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2" y="89"/>
                    <a:pt x="94" y="88"/>
                    <a:pt x="94" y="86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77" y="78"/>
                    <a:pt x="77" y="78"/>
                    <a:pt x="77" y="78"/>
                  </a:cubicBezTo>
                  <a:lnTo>
                    <a:pt x="77" y="86"/>
                  </a:lnTo>
                  <a:close/>
                  <a:moveTo>
                    <a:pt x="7" y="86"/>
                  </a:moveTo>
                  <a:cubicBezTo>
                    <a:pt x="7" y="88"/>
                    <a:pt x="8" y="89"/>
                    <a:pt x="10" y="89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4" y="88"/>
                    <a:pt x="24" y="86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7" y="78"/>
                    <a:pt x="7" y="78"/>
                    <a:pt x="7" y="78"/>
                  </a:cubicBezTo>
                  <a:lnTo>
                    <a:pt x="7" y="86"/>
                  </a:lnTo>
                  <a:close/>
                  <a:moveTo>
                    <a:pt x="41" y="52"/>
                  </a:moveTo>
                  <a:cubicBezTo>
                    <a:pt x="59" y="52"/>
                    <a:pt x="59" y="52"/>
                    <a:pt x="59" y="52"/>
                  </a:cubicBezTo>
                  <a:cubicBezTo>
                    <a:pt x="60" y="51"/>
                    <a:pt x="60" y="50"/>
                    <a:pt x="61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50"/>
                    <a:pt x="41" y="51"/>
                    <a:pt x="41" y="52"/>
                  </a:cubicBezTo>
                  <a:close/>
                  <a:moveTo>
                    <a:pt x="95" y="35"/>
                  </a:moveTo>
                  <a:cubicBezTo>
                    <a:pt x="95" y="30"/>
                    <a:pt x="90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1" y="0"/>
                    <a:pt x="6" y="30"/>
                    <a:pt x="5" y="35"/>
                  </a:cubicBezTo>
                  <a:cubicBezTo>
                    <a:pt x="2" y="39"/>
                    <a:pt x="0" y="45"/>
                    <a:pt x="0" y="52"/>
                  </a:cubicBezTo>
                  <a:cubicBezTo>
                    <a:pt x="0" y="61"/>
                    <a:pt x="2" y="70"/>
                    <a:pt x="3" y="72"/>
                  </a:cubicBezTo>
                  <a:cubicBezTo>
                    <a:pt x="3" y="72"/>
                    <a:pt x="3" y="72"/>
                    <a:pt x="3" y="72"/>
                  </a:cubicBezTo>
                  <a:cubicBezTo>
                    <a:pt x="4" y="73"/>
                    <a:pt x="5" y="74"/>
                    <a:pt x="6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5" y="74"/>
                    <a:pt x="97" y="73"/>
                    <a:pt x="97" y="72"/>
                  </a:cubicBezTo>
                  <a:cubicBezTo>
                    <a:pt x="98" y="69"/>
                    <a:pt x="100" y="61"/>
                    <a:pt x="100" y="52"/>
                  </a:cubicBezTo>
                  <a:cubicBezTo>
                    <a:pt x="100" y="45"/>
                    <a:pt x="99" y="39"/>
                    <a:pt x="95" y="35"/>
                  </a:cubicBezTo>
                  <a:close/>
                  <a:moveTo>
                    <a:pt x="30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9" y="7"/>
                    <a:pt x="85" y="19"/>
                    <a:pt x="87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6" y="19"/>
                    <a:pt x="21" y="7"/>
                    <a:pt x="30" y="7"/>
                  </a:cubicBezTo>
                  <a:close/>
                  <a:moveTo>
                    <a:pt x="15" y="71"/>
                  </a:moveTo>
                  <a:cubicBezTo>
                    <a:pt x="13" y="71"/>
                    <a:pt x="11" y="70"/>
                    <a:pt x="11" y="67"/>
                  </a:cubicBezTo>
                  <a:cubicBezTo>
                    <a:pt x="11" y="65"/>
                    <a:pt x="13" y="63"/>
                    <a:pt x="15" y="63"/>
                  </a:cubicBezTo>
                  <a:cubicBezTo>
                    <a:pt x="18" y="63"/>
                    <a:pt x="20" y="65"/>
                    <a:pt x="20" y="67"/>
                  </a:cubicBezTo>
                  <a:cubicBezTo>
                    <a:pt x="20" y="70"/>
                    <a:pt x="18" y="71"/>
                    <a:pt x="15" y="71"/>
                  </a:cubicBezTo>
                  <a:close/>
                  <a:moveTo>
                    <a:pt x="27" y="46"/>
                  </a:moveTo>
                  <a:cubicBezTo>
                    <a:pt x="27" y="46"/>
                    <a:pt x="26" y="47"/>
                    <a:pt x="26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1"/>
                    <a:pt x="9" y="38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1" y="37"/>
                    <a:pt x="12" y="37"/>
                  </a:cubicBezTo>
                  <a:cubicBezTo>
                    <a:pt x="12" y="37"/>
                    <a:pt x="21" y="37"/>
                    <a:pt x="24" y="40"/>
                  </a:cubicBezTo>
                  <a:cubicBezTo>
                    <a:pt x="26" y="41"/>
                    <a:pt x="27" y="43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lose/>
                  <a:moveTo>
                    <a:pt x="65" y="45"/>
                  </a:moveTo>
                  <a:cubicBezTo>
                    <a:pt x="65" y="46"/>
                    <a:pt x="64" y="56"/>
                    <a:pt x="60" y="56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36" y="56"/>
                    <a:pt x="35" y="46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4"/>
                    <a:pt x="36" y="43"/>
                    <a:pt x="37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5" y="43"/>
                    <a:pt x="65" y="44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lose/>
                  <a:moveTo>
                    <a:pt x="85" y="71"/>
                  </a:moveTo>
                  <a:cubicBezTo>
                    <a:pt x="83" y="71"/>
                    <a:pt x="81" y="70"/>
                    <a:pt x="81" y="67"/>
                  </a:cubicBezTo>
                  <a:cubicBezTo>
                    <a:pt x="81" y="65"/>
                    <a:pt x="83" y="63"/>
                    <a:pt x="85" y="63"/>
                  </a:cubicBezTo>
                  <a:cubicBezTo>
                    <a:pt x="88" y="63"/>
                    <a:pt x="90" y="65"/>
                    <a:pt x="90" y="67"/>
                  </a:cubicBezTo>
                  <a:cubicBezTo>
                    <a:pt x="90" y="70"/>
                    <a:pt x="88" y="71"/>
                    <a:pt x="85" y="71"/>
                  </a:cubicBezTo>
                  <a:close/>
                  <a:moveTo>
                    <a:pt x="94" y="46"/>
                  </a:moveTo>
                  <a:cubicBezTo>
                    <a:pt x="94" y="46"/>
                    <a:pt x="94" y="46"/>
                    <a:pt x="94" y="46"/>
                  </a:cubicBezTo>
                  <a:cubicBezTo>
                    <a:pt x="93" y="46"/>
                    <a:pt x="93" y="46"/>
                    <a:pt x="93" y="46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4" y="47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3"/>
                    <a:pt x="75" y="41"/>
                    <a:pt x="76" y="40"/>
                  </a:cubicBezTo>
                  <a:cubicBezTo>
                    <a:pt x="79" y="37"/>
                    <a:pt x="89" y="37"/>
                    <a:pt x="89" y="37"/>
                  </a:cubicBezTo>
                  <a:cubicBezTo>
                    <a:pt x="89" y="37"/>
                    <a:pt x="89" y="37"/>
                    <a:pt x="90" y="37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2" y="38"/>
                    <a:pt x="93" y="41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94" y="46"/>
                    <a:pt x="94" y="46"/>
                    <a:pt x="94" y="46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53" name="Group 157"/>
            <p:cNvGrpSpPr/>
            <p:nvPr/>
          </p:nvGrpSpPr>
          <p:grpSpPr>
            <a:xfrm flipH="1">
              <a:off x="1208305" y="489975"/>
              <a:ext cx="432939" cy="293811"/>
              <a:chOff x="-1341438" y="968375"/>
              <a:chExt cx="795338" cy="539751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110" name="Freeform 38"/>
              <p:cNvSpPr>
                <a:spLocks/>
              </p:cNvSpPr>
              <p:nvPr/>
            </p:nvSpPr>
            <p:spPr bwMode="auto">
              <a:xfrm>
                <a:off x="-1341438" y="1392238"/>
                <a:ext cx="795338" cy="115888"/>
              </a:xfrm>
              <a:custGeom>
                <a:avLst/>
                <a:gdLst>
                  <a:gd name="T0" fmla="*/ 0 w 212"/>
                  <a:gd name="T1" fmla="*/ 17 h 31"/>
                  <a:gd name="T2" fmla="*/ 14 w 212"/>
                  <a:gd name="T3" fmla="*/ 31 h 31"/>
                  <a:gd name="T4" fmla="*/ 197 w 212"/>
                  <a:gd name="T5" fmla="*/ 31 h 31"/>
                  <a:gd name="T6" fmla="*/ 212 w 212"/>
                  <a:gd name="T7" fmla="*/ 17 h 31"/>
                  <a:gd name="T8" fmla="*/ 212 w 212"/>
                  <a:gd name="T9" fmla="*/ 0 h 31"/>
                  <a:gd name="T10" fmla="*/ 0 w 212"/>
                  <a:gd name="T11" fmla="*/ 0 h 31"/>
                  <a:gd name="T12" fmla="*/ 0 w 212"/>
                  <a:gd name="T13" fmla="*/ 1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2" h="31">
                    <a:moveTo>
                      <a:pt x="0" y="17"/>
                    </a:moveTo>
                    <a:cubicBezTo>
                      <a:pt x="0" y="25"/>
                      <a:pt x="6" y="31"/>
                      <a:pt x="14" y="31"/>
                    </a:cubicBezTo>
                    <a:cubicBezTo>
                      <a:pt x="197" y="31"/>
                      <a:pt x="197" y="31"/>
                      <a:pt x="197" y="31"/>
                    </a:cubicBezTo>
                    <a:cubicBezTo>
                      <a:pt x="205" y="31"/>
                      <a:pt x="212" y="25"/>
                      <a:pt x="212" y="17"/>
                    </a:cubicBezTo>
                    <a:cubicBezTo>
                      <a:pt x="212" y="0"/>
                      <a:pt x="212" y="0"/>
                      <a:pt x="212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1" name="Rectangle 39"/>
              <p:cNvSpPr>
                <a:spLocks noChangeArrowheads="1"/>
              </p:cNvSpPr>
              <p:nvPr/>
            </p:nvSpPr>
            <p:spPr bwMode="auto">
              <a:xfrm>
                <a:off x="-1341438" y="1235075"/>
                <a:ext cx="795338" cy="127000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2" name="Freeform 40"/>
              <p:cNvSpPr>
                <a:spLocks noEditPoints="1"/>
              </p:cNvSpPr>
              <p:nvPr/>
            </p:nvSpPr>
            <p:spPr bwMode="auto">
              <a:xfrm>
                <a:off x="-1341438" y="968375"/>
                <a:ext cx="795338" cy="236538"/>
              </a:xfrm>
              <a:custGeom>
                <a:avLst/>
                <a:gdLst>
                  <a:gd name="T0" fmla="*/ 197 w 212"/>
                  <a:gd name="T1" fmla="*/ 0 h 63"/>
                  <a:gd name="T2" fmla="*/ 14 w 212"/>
                  <a:gd name="T3" fmla="*/ 0 h 63"/>
                  <a:gd name="T4" fmla="*/ 0 w 212"/>
                  <a:gd name="T5" fmla="*/ 14 h 63"/>
                  <a:gd name="T6" fmla="*/ 0 w 212"/>
                  <a:gd name="T7" fmla="*/ 63 h 63"/>
                  <a:gd name="T8" fmla="*/ 212 w 212"/>
                  <a:gd name="T9" fmla="*/ 63 h 63"/>
                  <a:gd name="T10" fmla="*/ 212 w 212"/>
                  <a:gd name="T11" fmla="*/ 14 h 63"/>
                  <a:gd name="T12" fmla="*/ 197 w 212"/>
                  <a:gd name="T13" fmla="*/ 0 h 63"/>
                  <a:gd name="T14" fmla="*/ 26 w 212"/>
                  <a:gd name="T15" fmla="*/ 14 h 63"/>
                  <a:gd name="T16" fmla="*/ 87 w 212"/>
                  <a:gd name="T17" fmla="*/ 14 h 63"/>
                  <a:gd name="T18" fmla="*/ 87 w 212"/>
                  <a:gd name="T19" fmla="*/ 25 h 63"/>
                  <a:gd name="T20" fmla="*/ 26 w 212"/>
                  <a:gd name="T21" fmla="*/ 25 h 63"/>
                  <a:gd name="T22" fmla="*/ 26 w 212"/>
                  <a:gd name="T23" fmla="*/ 14 h 63"/>
                  <a:gd name="T24" fmla="*/ 26 w 212"/>
                  <a:gd name="T25" fmla="*/ 28 h 63"/>
                  <a:gd name="T26" fmla="*/ 97 w 212"/>
                  <a:gd name="T27" fmla="*/ 28 h 63"/>
                  <a:gd name="T28" fmla="*/ 97 w 212"/>
                  <a:gd name="T29" fmla="*/ 39 h 63"/>
                  <a:gd name="T30" fmla="*/ 26 w 212"/>
                  <a:gd name="T31" fmla="*/ 39 h 63"/>
                  <a:gd name="T32" fmla="*/ 26 w 212"/>
                  <a:gd name="T33" fmla="*/ 28 h 63"/>
                  <a:gd name="T34" fmla="*/ 102 w 212"/>
                  <a:gd name="T35" fmla="*/ 54 h 63"/>
                  <a:gd name="T36" fmla="*/ 26 w 212"/>
                  <a:gd name="T37" fmla="*/ 54 h 63"/>
                  <a:gd name="T38" fmla="*/ 26 w 212"/>
                  <a:gd name="T39" fmla="*/ 43 h 63"/>
                  <a:gd name="T40" fmla="*/ 102 w 212"/>
                  <a:gd name="T41" fmla="*/ 43 h 63"/>
                  <a:gd name="T42" fmla="*/ 102 w 212"/>
                  <a:gd name="T43" fmla="*/ 54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2" h="63">
                    <a:moveTo>
                      <a:pt x="197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212" y="63"/>
                      <a:pt x="212" y="63"/>
                      <a:pt x="212" y="63"/>
                    </a:cubicBezTo>
                    <a:cubicBezTo>
                      <a:pt x="212" y="14"/>
                      <a:pt x="212" y="14"/>
                      <a:pt x="212" y="14"/>
                    </a:cubicBezTo>
                    <a:cubicBezTo>
                      <a:pt x="212" y="6"/>
                      <a:pt x="205" y="0"/>
                      <a:pt x="197" y="0"/>
                    </a:cubicBezTo>
                    <a:close/>
                    <a:moveTo>
                      <a:pt x="26" y="14"/>
                    </a:moveTo>
                    <a:cubicBezTo>
                      <a:pt x="87" y="14"/>
                      <a:pt x="87" y="14"/>
                      <a:pt x="87" y="14"/>
                    </a:cubicBezTo>
                    <a:cubicBezTo>
                      <a:pt x="87" y="25"/>
                      <a:pt x="87" y="25"/>
                      <a:pt x="87" y="25"/>
                    </a:cubicBezTo>
                    <a:cubicBezTo>
                      <a:pt x="26" y="25"/>
                      <a:pt x="26" y="25"/>
                      <a:pt x="26" y="25"/>
                    </a:cubicBezTo>
                    <a:lnTo>
                      <a:pt x="26" y="14"/>
                    </a:lnTo>
                    <a:close/>
                    <a:moveTo>
                      <a:pt x="26" y="28"/>
                    </a:moveTo>
                    <a:cubicBezTo>
                      <a:pt x="97" y="28"/>
                      <a:pt x="97" y="28"/>
                      <a:pt x="97" y="28"/>
                    </a:cubicBezTo>
                    <a:cubicBezTo>
                      <a:pt x="97" y="39"/>
                      <a:pt x="97" y="39"/>
                      <a:pt x="97" y="39"/>
                    </a:cubicBezTo>
                    <a:cubicBezTo>
                      <a:pt x="26" y="39"/>
                      <a:pt x="26" y="39"/>
                      <a:pt x="26" y="39"/>
                    </a:cubicBezTo>
                    <a:lnTo>
                      <a:pt x="26" y="28"/>
                    </a:lnTo>
                    <a:close/>
                    <a:moveTo>
                      <a:pt x="102" y="54"/>
                    </a:move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43"/>
                      <a:pt x="26" y="43"/>
                      <a:pt x="26" y="43"/>
                    </a:cubicBezTo>
                    <a:cubicBezTo>
                      <a:pt x="102" y="43"/>
                      <a:pt x="102" y="43"/>
                      <a:pt x="102" y="43"/>
                    </a:cubicBezTo>
                    <a:lnTo>
                      <a:pt x="102" y="54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54" name="Group 161"/>
            <p:cNvGrpSpPr/>
            <p:nvPr/>
          </p:nvGrpSpPr>
          <p:grpSpPr>
            <a:xfrm flipH="1">
              <a:off x="-884365" y="2640648"/>
              <a:ext cx="367203" cy="506316"/>
              <a:chOff x="-2284413" y="254000"/>
              <a:chExt cx="1185862" cy="1635126"/>
            </a:xfrm>
            <a:solidFill>
              <a:schemeClr val="accent4">
                <a:lumMod val="60000"/>
                <a:lumOff val="40000"/>
              </a:schemeClr>
            </a:solidFill>
          </p:grpSpPr>
          <p:sp>
            <p:nvSpPr>
              <p:cNvPr id="108" name="Freeform 9"/>
              <p:cNvSpPr>
                <a:spLocks noEditPoints="1"/>
              </p:cNvSpPr>
              <p:nvPr/>
            </p:nvSpPr>
            <p:spPr bwMode="auto">
              <a:xfrm>
                <a:off x="-2119313" y="254000"/>
                <a:ext cx="858837" cy="1181100"/>
              </a:xfrm>
              <a:custGeom>
                <a:avLst/>
                <a:gdLst>
                  <a:gd name="T0" fmla="*/ 33 w 229"/>
                  <a:gd name="T1" fmla="*/ 286 h 315"/>
                  <a:gd name="T2" fmla="*/ 195 w 229"/>
                  <a:gd name="T3" fmla="*/ 286 h 315"/>
                  <a:gd name="T4" fmla="*/ 209 w 229"/>
                  <a:gd name="T5" fmla="*/ 315 h 315"/>
                  <a:gd name="T6" fmla="*/ 19 w 229"/>
                  <a:gd name="T7" fmla="*/ 315 h 315"/>
                  <a:gd name="T8" fmla="*/ 33 w 229"/>
                  <a:gd name="T9" fmla="*/ 286 h 315"/>
                  <a:gd name="T10" fmla="*/ 52 w 229"/>
                  <a:gd name="T11" fmla="*/ 75 h 315"/>
                  <a:gd name="T12" fmla="*/ 176 w 229"/>
                  <a:gd name="T13" fmla="*/ 75 h 315"/>
                  <a:gd name="T14" fmla="*/ 190 w 229"/>
                  <a:gd name="T15" fmla="*/ 89 h 315"/>
                  <a:gd name="T16" fmla="*/ 194 w 229"/>
                  <a:gd name="T17" fmla="*/ 137 h 315"/>
                  <a:gd name="T18" fmla="*/ 180 w 229"/>
                  <a:gd name="T19" fmla="*/ 151 h 315"/>
                  <a:gd name="T20" fmla="*/ 48 w 229"/>
                  <a:gd name="T21" fmla="*/ 151 h 315"/>
                  <a:gd name="T22" fmla="*/ 34 w 229"/>
                  <a:gd name="T23" fmla="*/ 137 h 315"/>
                  <a:gd name="T24" fmla="*/ 38 w 229"/>
                  <a:gd name="T25" fmla="*/ 89 h 315"/>
                  <a:gd name="T26" fmla="*/ 52 w 229"/>
                  <a:gd name="T27" fmla="*/ 75 h 315"/>
                  <a:gd name="T28" fmla="*/ 83 w 229"/>
                  <a:gd name="T29" fmla="*/ 43 h 315"/>
                  <a:gd name="T30" fmla="*/ 145 w 229"/>
                  <a:gd name="T31" fmla="*/ 43 h 315"/>
                  <a:gd name="T32" fmla="*/ 151 w 229"/>
                  <a:gd name="T33" fmla="*/ 49 h 315"/>
                  <a:gd name="T34" fmla="*/ 151 w 229"/>
                  <a:gd name="T35" fmla="*/ 59 h 315"/>
                  <a:gd name="T36" fmla="*/ 145 w 229"/>
                  <a:gd name="T37" fmla="*/ 65 h 315"/>
                  <a:gd name="T38" fmla="*/ 83 w 229"/>
                  <a:gd name="T39" fmla="*/ 65 h 315"/>
                  <a:gd name="T40" fmla="*/ 77 w 229"/>
                  <a:gd name="T41" fmla="*/ 59 h 315"/>
                  <a:gd name="T42" fmla="*/ 77 w 229"/>
                  <a:gd name="T43" fmla="*/ 49 h 315"/>
                  <a:gd name="T44" fmla="*/ 83 w 229"/>
                  <a:gd name="T45" fmla="*/ 43 h 315"/>
                  <a:gd name="T46" fmla="*/ 46 w 229"/>
                  <a:gd name="T47" fmla="*/ 33 h 315"/>
                  <a:gd name="T48" fmla="*/ 182 w 229"/>
                  <a:gd name="T49" fmla="*/ 33 h 315"/>
                  <a:gd name="T50" fmla="*/ 212 w 229"/>
                  <a:gd name="T51" fmla="*/ 63 h 315"/>
                  <a:gd name="T52" fmla="*/ 227 w 229"/>
                  <a:gd name="T53" fmla="*/ 249 h 315"/>
                  <a:gd name="T54" fmla="*/ 198 w 229"/>
                  <a:gd name="T55" fmla="*/ 278 h 315"/>
                  <a:gd name="T56" fmla="*/ 30 w 229"/>
                  <a:gd name="T57" fmla="*/ 278 h 315"/>
                  <a:gd name="T58" fmla="*/ 1 w 229"/>
                  <a:gd name="T59" fmla="*/ 249 h 315"/>
                  <a:gd name="T60" fmla="*/ 16 w 229"/>
                  <a:gd name="T61" fmla="*/ 63 h 315"/>
                  <a:gd name="T62" fmla="*/ 46 w 229"/>
                  <a:gd name="T63" fmla="*/ 33 h 315"/>
                  <a:gd name="T64" fmla="*/ 185 w 229"/>
                  <a:gd name="T65" fmla="*/ 216 h 315"/>
                  <a:gd name="T66" fmla="*/ 201 w 229"/>
                  <a:gd name="T67" fmla="*/ 233 h 315"/>
                  <a:gd name="T68" fmla="*/ 185 w 229"/>
                  <a:gd name="T69" fmla="*/ 249 h 315"/>
                  <a:gd name="T70" fmla="*/ 168 w 229"/>
                  <a:gd name="T71" fmla="*/ 233 h 315"/>
                  <a:gd name="T72" fmla="*/ 185 w 229"/>
                  <a:gd name="T73" fmla="*/ 216 h 315"/>
                  <a:gd name="T74" fmla="*/ 44 w 229"/>
                  <a:gd name="T75" fmla="*/ 216 h 315"/>
                  <a:gd name="T76" fmla="*/ 60 w 229"/>
                  <a:gd name="T77" fmla="*/ 233 h 315"/>
                  <a:gd name="T78" fmla="*/ 44 w 229"/>
                  <a:gd name="T79" fmla="*/ 249 h 315"/>
                  <a:gd name="T80" fmla="*/ 27 w 229"/>
                  <a:gd name="T81" fmla="*/ 233 h 315"/>
                  <a:gd name="T82" fmla="*/ 44 w 229"/>
                  <a:gd name="T83" fmla="*/ 216 h 315"/>
                  <a:gd name="T84" fmla="*/ 80 w 229"/>
                  <a:gd name="T85" fmla="*/ 0 h 315"/>
                  <a:gd name="T86" fmla="*/ 93 w 229"/>
                  <a:gd name="T87" fmla="*/ 0 h 315"/>
                  <a:gd name="T88" fmla="*/ 93 w 229"/>
                  <a:gd name="T89" fmla="*/ 26 h 315"/>
                  <a:gd name="T90" fmla="*/ 80 w 229"/>
                  <a:gd name="T91" fmla="*/ 26 h 315"/>
                  <a:gd name="T92" fmla="*/ 80 w 229"/>
                  <a:gd name="T93" fmla="*/ 0 h 315"/>
                  <a:gd name="T94" fmla="*/ 135 w 229"/>
                  <a:gd name="T95" fmla="*/ 0 h 315"/>
                  <a:gd name="T96" fmla="*/ 148 w 229"/>
                  <a:gd name="T97" fmla="*/ 0 h 315"/>
                  <a:gd name="T98" fmla="*/ 148 w 229"/>
                  <a:gd name="T99" fmla="*/ 26 h 315"/>
                  <a:gd name="T100" fmla="*/ 135 w 229"/>
                  <a:gd name="T101" fmla="*/ 26 h 315"/>
                  <a:gd name="T102" fmla="*/ 135 w 229"/>
                  <a:gd name="T103" fmla="*/ 0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29" h="315">
                    <a:moveTo>
                      <a:pt x="33" y="286"/>
                    </a:moveTo>
                    <a:cubicBezTo>
                      <a:pt x="195" y="286"/>
                      <a:pt x="195" y="286"/>
                      <a:pt x="195" y="286"/>
                    </a:cubicBezTo>
                    <a:cubicBezTo>
                      <a:pt x="209" y="315"/>
                      <a:pt x="209" y="315"/>
                      <a:pt x="209" y="315"/>
                    </a:cubicBezTo>
                    <a:cubicBezTo>
                      <a:pt x="19" y="315"/>
                      <a:pt x="19" y="315"/>
                      <a:pt x="19" y="315"/>
                    </a:cubicBezTo>
                    <a:cubicBezTo>
                      <a:pt x="33" y="286"/>
                      <a:pt x="33" y="286"/>
                      <a:pt x="33" y="286"/>
                    </a:cubicBezTo>
                    <a:close/>
                    <a:moveTo>
                      <a:pt x="52" y="75"/>
                    </a:moveTo>
                    <a:cubicBezTo>
                      <a:pt x="176" y="75"/>
                      <a:pt x="176" y="75"/>
                      <a:pt x="176" y="75"/>
                    </a:cubicBezTo>
                    <a:cubicBezTo>
                      <a:pt x="184" y="75"/>
                      <a:pt x="190" y="81"/>
                      <a:pt x="190" y="89"/>
                    </a:cubicBezTo>
                    <a:cubicBezTo>
                      <a:pt x="194" y="137"/>
                      <a:pt x="194" y="137"/>
                      <a:pt x="194" y="137"/>
                    </a:cubicBezTo>
                    <a:cubicBezTo>
                      <a:pt x="195" y="145"/>
                      <a:pt x="188" y="151"/>
                      <a:pt x="180" y="151"/>
                    </a:cubicBezTo>
                    <a:cubicBezTo>
                      <a:pt x="48" y="151"/>
                      <a:pt x="48" y="151"/>
                      <a:pt x="48" y="151"/>
                    </a:cubicBezTo>
                    <a:cubicBezTo>
                      <a:pt x="40" y="151"/>
                      <a:pt x="33" y="145"/>
                      <a:pt x="34" y="137"/>
                    </a:cubicBezTo>
                    <a:cubicBezTo>
                      <a:pt x="38" y="89"/>
                      <a:pt x="38" y="89"/>
                      <a:pt x="38" y="89"/>
                    </a:cubicBezTo>
                    <a:cubicBezTo>
                      <a:pt x="39" y="81"/>
                      <a:pt x="44" y="75"/>
                      <a:pt x="52" y="75"/>
                    </a:cubicBezTo>
                    <a:close/>
                    <a:moveTo>
                      <a:pt x="83" y="43"/>
                    </a:moveTo>
                    <a:cubicBezTo>
                      <a:pt x="145" y="43"/>
                      <a:pt x="145" y="43"/>
                      <a:pt x="145" y="43"/>
                    </a:cubicBezTo>
                    <a:cubicBezTo>
                      <a:pt x="149" y="43"/>
                      <a:pt x="151" y="46"/>
                      <a:pt x="151" y="49"/>
                    </a:cubicBezTo>
                    <a:cubicBezTo>
                      <a:pt x="151" y="59"/>
                      <a:pt x="151" y="59"/>
                      <a:pt x="151" y="59"/>
                    </a:cubicBezTo>
                    <a:cubicBezTo>
                      <a:pt x="151" y="63"/>
                      <a:pt x="149" y="65"/>
                      <a:pt x="145" y="65"/>
                    </a:cubicBezTo>
                    <a:cubicBezTo>
                      <a:pt x="83" y="65"/>
                      <a:pt x="83" y="65"/>
                      <a:pt x="83" y="65"/>
                    </a:cubicBezTo>
                    <a:cubicBezTo>
                      <a:pt x="80" y="65"/>
                      <a:pt x="77" y="63"/>
                      <a:pt x="77" y="59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46"/>
                      <a:pt x="80" y="43"/>
                      <a:pt x="83" y="43"/>
                    </a:cubicBezTo>
                    <a:close/>
                    <a:moveTo>
                      <a:pt x="46" y="33"/>
                    </a:moveTo>
                    <a:cubicBezTo>
                      <a:pt x="182" y="33"/>
                      <a:pt x="182" y="33"/>
                      <a:pt x="182" y="33"/>
                    </a:cubicBezTo>
                    <a:cubicBezTo>
                      <a:pt x="199" y="33"/>
                      <a:pt x="211" y="47"/>
                      <a:pt x="212" y="63"/>
                    </a:cubicBezTo>
                    <a:cubicBezTo>
                      <a:pt x="227" y="249"/>
                      <a:pt x="227" y="249"/>
                      <a:pt x="227" y="249"/>
                    </a:cubicBezTo>
                    <a:cubicBezTo>
                      <a:pt x="229" y="265"/>
                      <a:pt x="214" y="278"/>
                      <a:pt x="198" y="278"/>
                    </a:cubicBezTo>
                    <a:cubicBezTo>
                      <a:pt x="30" y="278"/>
                      <a:pt x="30" y="278"/>
                      <a:pt x="30" y="278"/>
                    </a:cubicBezTo>
                    <a:cubicBezTo>
                      <a:pt x="14" y="278"/>
                      <a:pt x="0" y="265"/>
                      <a:pt x="1" y="249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18" y="47"/>
                      <a:pt x="30" y="33"/>
                      <a:pt x="46" y="33"/>
                    </a:cubicBezTo>
                    <a:close/>
                    <a:moveTo>
                      <a:pt x="185" y="216"/>
                    </a:moveTo>
                    <a:cubicBezTo>
                      <a:pt x="194" y="216"/>
                      <a:pt x="201" y="223"/>
                      <a:pt x="201" y="233"/>
                    </a:cubicBezTo>
                    <a:cubicBezTo>
                      <a:pt x="201" y="242"/>
                      <a:pt x="194" y="249"/>
                      <a:pt x="185" y="249"/>
                    </a:cubicBezTo>
                    <a:cubicBezTo>
                      <a:pt x="176" y="249"/>
                      <a:pt x="168" y="242"/>
                      <a:pt x="168" y="233"/>
                    </a:cubicBezTo>
                    <a:cubicBezTo>
                      <a:pt x="168" y="223"/>
                      <a:pt x="176" y="216"/>
                      <a:pt x="185" y="216"/>
                    </a:cubicBezTo>
                    <a:close/>
                    <a:moveTo>
                      <a:pt x="44" y="216"/>
                    </a:moveTo>
                    <a:cubicBezTo>
                      <a:pt x="53" y="216"/>
                      <a:pt x="60" y="223"/>
                      <a:pt x="60" y="233"/>
                    </a:cubicBezTo>
                    <a:cubicBezTo>
                      <a:pt x="60" y="242"/>
                      <a:pt x="53" y="249"/>
                      <a:pt x="44" y="249"/>
                    </a:cubicBezTo>
                    <a:cubicBezTo>
                      <a:pt x="35" y="249"/>
                      <a:pt x="27" y="242"/>
                      <a:pt x="27" y="233"/>
                    </a:cubicBezTo>
                    <a:cubicBezTo>
                      <a:pt x="27" y="223"/>
                      <a:pt x="35" y="216"/>
                      <a:pt x="44" y="216"/>
                    </a:cubicBezTo>
                    <a:close/>
                    <a:moveTo>
                      <a:pt x="80" y="0"/>
                    </a:moveTo>
                    <a:cubicBezTo>
                      <a:pt x="93" y="0"/>
                      <a:pt x="93" y="0"/>
                      <a:pt x="93" y="0"/>
                    </a:cubicBezTo>
                    <a:cubicBezTo>
                      <a:pt x="93" y="26"/>
                      <a:pt x="93" y="26"/>
                      <a:pt x="93" y="26"/>
                    </a:cubicBezTo>
                    <a:cubicBezTo>
                      <a:pt x="80" y="26"/>
                      <a:pt x="80" y="26"/>
                      <a:pt x="80" y="26"/>
                    </a:cubicBezTo>
                    <a:cubicBezTo>
                      <a:pt x="80" y="0"/>
                      <a:pt x="80" y="0"/>
                      <a:pt x="80" y="0"/>
                    </a:cubicBezTo>
                    <a:close/>
                    <a:moveTo>
                      <a:pt x="135" y="0"/>
                    </a:moveTo>
                    <a:cubicBezTo>
                      <a:pt x="148" y="0"/>
                      <a:pt x="148" y="0"/>
                      <a:pt x="148" y="0"/>
                    </a:cubicBezTo>
                    <a:cubicBezTo>
                      <a:pt x="148" y="26"/>
                      <a:pt x="148" y="26"/>
                      <a:pt x="148" y="26"/>
                    </a:cubicBezTo>
                    <a:cubicBezTo>
                      <a:pt x="135" y="26"/>
                      <a:pt x="135" y="26"/>
                      <a:pt x="135" y="26"/>
                    </a:cubicBezTo>
                    <a:cubicBezTo>
                      <a:pt x="135" y="0"/>
                      <a:pt x="135" y="0"/>
                      <a:pt x="1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09" name="Freeform 10"/>
              <p:cNvSpPr>
                <a:spLocks noEditPoints="1"/>
              </p:cNvSpPr>
              <p:nvPr/>
            </p:nvSpPr>
            <p:spPr bwMode="auto">
              <a:xfrm>
                <a:off x="-2284413" y="1468438"/>
                <a:ext cx="1185862" cy="420688"/>
              </a:xfrm>
              <a:custGeom>
                <a:avLst/>
                <a:gdLst>
                  <a:gd name="T0" fmla="*/ 144 w 747"/>
                  <a:gd name="T1" fmla="*/ 0 h 265"/>
                  <a:gd name="T2" fmla="*/ 198 w 747"/>
                  <a:gd name="T3" fmla="*/ 0 h 265"/>
                  <a:gd name="T4" fmla="*/ 85 w 747"/>
                  <a:gd name="T5" fmla="*/ 265 h 265"/>
                  <a:gd name="T6" fmla="*/ 0 w 747"/>
                  <a:gd name="T7" fmla="*/ 265 h 265"/>
                  <a:gd name="T8" fmla="*/ 144 w 747"/>
                  <a:gd name="T9" fmla="*/ 0 h 265"/>
                  <a:gd name="T10" fmla="*/ 144 w 747"/>
                  <a:gd name="T11" fmla="*/ 0 h 265"/>
                  <a:gd name="T12" fmla="*/ 605 w 747"/>
                  <a:gd name="T13" fmla="*/ 0 h 265"/>
                  <a:gd name="T14" fmla="*/ 550 w 747"/>
                  <a:gd name="T15" fmla="*/ 0 h 265"/>
                  <a:gd name="T16" fmla="*/ 661 w 747"/>
                  <a:gd name="T17" fmla="*/ 265 h 265"/>
                  <a:gd name="T18" fmla="*/ 747 w 747"/>
                  <a:gd name="T19" fmla="*/ 265 h 265"/>
                  <a:gd name="T20" fmla="*/ 605 w 747"/>
                  <a:gd name="T21" fmla="*/ 0 h 265"/>
                  <a:gd name="T22" fmla="*/ 605 w 747"/>
                  <a:gd name="T23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7" h="265">
                    <a:moveTo>
                      <a:pt x="144" y="0"/>
                    </a:moveTo>
                    <a:lnTo>
                      <a:pt x="198" y="0"/>
                    </a:lnTo>
                    <a:lnTo>
                      <a:pt x="85" y="265"/>
                    </a:lnTo>
                    <a:lnTo>
                      <a:pt x="0" y="265"/>
                    </a:lnTo>
                    <a:lnTo>
                      <a:pt x="144" y="0"/>
                    </a:lnTo>
                    <a:lnTo>
                      <a:pt x="144" y="0"/>
                    </a:lnTo>
                    <a:close/>
                    <a:moveTo>
                      <a:pt x="605" y="0"/>
                    </a:moveTo>
                    <a:lnTo>
                      <a:pt x="550" y="0"/>
                    </a:lnTo>
                    <a:lnTo>
                      <a:pt x="661" y="265"/>
                    </a:lnTo>
                    <a:lnTo>
                      <a:pt x="747" y="265"/>
                    </a:lnTo>
                    <a:lnTo>
                      <a:pt x="605" y="0"/>
                    </a:lnTo>
                    <a:lnTo>
                      <a:pt x="605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55" name="Group 164"/>
            <p:cNvGrpSpPr/>
            <p:nvPr/>
          </p:nvGrpSpPr>
          <p:grpSpPr>
            <a:xfrm flipH="1">
              <a:off x="273498" y="3995792"/>
              <a:ext cx="249622" cy="169404"/>
              <a:chOff x="-1341438" y="968375"/>
              <a:chExt cx="795338" cy="539751"/>
            </a:xfrm>
            <a:solidFill>
              <a:schemeClr val="accent4">
                <a:lumMod val="40000"/>
                <a:lumOff val="60000"/>
              </a:schemeClr>
            </a:solidFill>
          </p:grpSpPr>
          <p:sp>
            <p:nvSpPr>
              <p:cNvPr id="105" name="Freeform 38"/>
              <p:cNvSpPr>
                <a:spLocks/>
              </p:cNvSpPr>
              <p:nvPr/>
            </p:nvSpPr>
            <p:spPr bwMode="auto">
              <a:xfrm>
                <a:off x="-1341438" y="1392238"/>
                <a:ext cx="795338" cy="115888"/>
              </a:xfrm>
              <a:custGeom>
                <a:avLst/>
                <a:gdLst>
                  <a:gd name="T0" fmla="*/ 0 w 212"/>
                  <a:gd name="T1" fmla="*/ 17 h 31"/>
                  <a:gd name="T2" fmla="*/ 14 w 212"/>
                  <a:gd name="T3" fmla="*/ 31 h 31"/>
                  <a:gd name="T4" fmla="*/ 197 w 212"/>
                  <a:gd name="T5" fmla="*/ 31 h 31"/>
                  <a:gd name="T6" fmla="*/ 212 w 212"/>
                  <a:gd name="T7" fmla="*/ 17 h 31"/>
                  <a:gd name="T8" fmla="*/ 212 w 212"/>
                  <a:gd name="T9" fmla="*/ 0 h 31"/>
                  <a:gd name="T10" fmla="*/ 0 w 212"/>
                  <a:gd name="T11" fmla="*/ 0 h 31"/>
                  <a:gd name="T12" fmla="*/ 0 w 212"/>
                  <a:gd name="T13" fmla="*/ 1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2" h="31">
                    <a:moveTo>
                      <a:pt x="0" y="17"/>
                    </a:moveTo>
                    <a:cubicBezTo>
                      <a:pt x="0" y="25"/>
                      <a:pt x="6" y="31"/>
                      <a:pt x="14" y="31"/>
                    </a:cubicBezTo>
                    <a:cubicBezTo>
                      <a:pt x="197" y="31"/>
                      <a:pt x="197" y="31"/>
                      <a:pt x="197" y="31"/>
                    </a:cubicBezTo>
                    <a:cubicBezTo>
                      <a:pt x="205" y="31"/>
                      <a:pt x="212" y="25"/>
                      <a:pt x="212" y="17"/>
                    </a:cubicBezTo>
                    <a:cubicBezTo>
                      <a:pt x="212" y="0"/>
                      <a:pt x="212" y="0"/>
                      <a:pt x="212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06" name="Rectangle 39"/>
              <p:cNvSpPr>
                <a:spLocks noChangeArrowheads="1"/>
              </p:cNvSpPr>
              <p:nvPr/>
            </p:nvSpPr>
            <p:spPr bwMode="auto">
              <a:xfrm>
                <a:off x="-1341438" y="1235075"/>
                <a:ext cx="795338" cy="127000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07" name="Freeform 40"/>
              <p:cNvSpPr>
                <a:spLocks noEditPoints="1"/>
              </p:cNvSpPr>
              <p:nvPr/>
            </p:nvSpPr>
            <p:spPr bwMode="auto">
              <a:xfrm>
                <a:off x="-1341438" y="968375"/>
                <a:ext cx="795338" cy="236538"/>
              </a:xfrm>
              <a:custGeom>
                <a:avLst/>
                <a:gdLst>
                  <a:gd name="T0" fmla="*/ 197 w 212"/>
                  <a:gd name="T1" fmla="*/ 0 h 63"/>
                  <a:gd name="T2" fmla="*/ 14 w 212"/>
                  <a:gd name="T3" fmla="*/ 0 h 63"/>
                  <a:gd name="T4" fmla="*/ 0 w 212"/>
                  <a:gd name="T5" fmla="*/ 14 h 63"/>
                  <a:gd name="T6" fmla="*/ 0 w 212"/>
                  <a:gd name="T7" fmla="*/ 63 h 63"/>
                  <a:gd name="T8" fmla="*/ 212 w 212"/>
                  <a:gd name="T9" fmla="*/ 63 h 63"/>
                  <a:gd name="T10" fmla="*/ 212 w 212"/>
                  <a:gd name="T11" fmla="*/ 14 h 63"/>
                  <a:gd name="T12" fmla="*/ 197 w 212"/>
                  <a:gd name="T13" fmla="*/ 0 h 63"/>
                  <a:gd name="T14" fmla="*/ 26 w 212"/>
                  <a:gd name="T15" fmla="*/ 14 h 63"/>
                  <a:gd name="T16" fmla="*/ 87 w 212"/>
                  <a:gd name="T17" fmla="*/ 14 h 63"/>
                  <a:gd name="T18" fmla="*/ 87 w 212"/>
                  <a:gd name="T19" fmla="*/ 25 h 63"/>
                  <a:gd name="T20" fmla="*/ 26 w 212"/>
                  <a:gd name="T21" fmla="*/ 25 h 63"/>
                  <a:gd name="T22" fmla="*/ 26 w 212"/>
                  <a:gd name="T23" fmla="*/ 14 h 63"/>
                  <a:gd name="T24" fmla="*/ 26 w 212"/>
                  <a:gd name="T25" fmla="*/ 28 h 63"/>
                  <a:gd name="T26" fmla="*/ 97 w 212"/>
                  <a:gd name="T27" fmla="*/ 28 h 63"/>
                  <a:gd name="T28" fmla="*/ 97 w 212"/>
                  <a:gd name="T29" fmla="*/ 39 h 63"/>
                  <a:gd name="T30" fmla="*/ 26 w 212"/>
                  <a:gd name="T31" fmla="*/ 39 h 63"/>
                  <a:gd name="T32" fmla="*/ 26 w 212"/>
                  <a:gd name="T33" fmla="*/ 28 h 63"/>
                  <a:gd name="T34" fmla="*/ 102 w 212"/>
                  <a:gd name="T35" fmla="*/ 54 h 63"/>
                  <a:gd name="T36" fmla="*/ 26 w 212"/>
                  <a:gd name="T37" fmla="*/ 54 h 63"/>
                  <a:gd name="T38" fmla="*/ 26 w 212"/>
                  <a:gd name="T39" fmla="*/ 43 h 63"/>
                  <a:gd name="T40" fmla="*/ 102 w 212"/>
                  <a:gd name="T41" fmla="*/ 43 h 63"/>
                  <a:gd name="T42" fmla="*/ 102 w 212"/>
                  <a:gd name="T43" fmla="*/ 54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12" h="63">
                    <a:moveTo>
                      <a:pt x="197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212" y="63"/>
                      <a:pt x="212" y="63"/>
                      <a:pt x="212" y="63"/>
                    </a:cubicBezTo>
                    <a:cubicBezTo>
                      <a:pt x="212" y="14"/>
                      <a:pt x="212" y="14"/>
                      <a:pt x="212" y="14"/>
                    </a:cubicBezTo>
                    <a:cubicBezTo>
                      <a:pt x="212" y="6"/>
                      <a:pt x="205" y="0"/>
                      <a:pt x="197" y="0"/>
                    </a:cubicBezTo>
                    <a:close/>
                    <a:moveTo>
                      <a:pt x="26" y="14"/>
                    </a:moveTo>
                    <a:cubicBezTo>
                      <a:pt x="87" y="14"/>
                      <a:pt x="87" y="14"/>
                      <a:pt x="87" y="14"/>
                    </a:cubicBezTo>
                    <a:cubicBezTo>
                      <a:pt x="87" y="25"/>
                      <a:pt x="87" y="25"/>
                      <a:pt x="87" y="25"/>
                    </a:cubicBezTo>
                    <a:cubicBezTo>
                      <a:pt x="26" y="25"/>
                      <a:pt x="26" y="25"/>
                      <a:pt x="26" y="25"/>
                    </a:cubicBezTo>
                    <a:lnTo>
                      <a:pt x="26" y="14"/>
                    </a:lnTo>
                    <a:close/>
                    <a:moveTo>
                      <a:pt x="26" y="28"/>
                    </a:moveTo>
                    <a:cubicBezTo>
                      <a:pt x="97" y="28"/>
                      <a:pt x="97" y="28"/>
                      <a:pt x="97" y="28"/>
                    </a:cubicBezTo>
                    <a:cubicBezTo>
                      <a:pt x="97" y="39"/>
                      <a:pt x="97" y="39"/>
                      <a:pt x="97" y="39"/>
                    </a:cubicBezTo>
                    <a:cubicBezTo>
                      <a:pt x="26" y="39"/>
                      <a:pt x="26" y="39"/>
                      <a:pt x="26" y="39"/>
                    </a:cubicBezTo>
                    <a:lnTo>
                      <a:pt x="26" y="28"/>
                    </a:lnTo>
                    <a:close/>
                    <a:moveTo>
                      <a:pt x="102" y="54"/>
                    </a:move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43"/>
                      <a:pt x="26" y="43"/>
                      <a:pt x="26" y="43"/>
                    </a:cubicBezTo>
                    <a:cubicBezTo>
                      <a:pt x="102" y="43"/>
                      <a:pt x="102" y="43"/>
                      <a:pt x="102" y="43"/>
                    </a:cubicBezTo>
                    <a:lnTo>
                      <a:pt x="102" y="54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56" name="Group 168"/>
            <p:cNvGrpSpPr/>
            <p:nvPr/>
          </p:nvGrpSpPr>
          <p:grpSpPr>
            <a:xfrm>
              <a:off x="113994" y="3725046"/>
              <a:ext cx="312548" cy="199184"/>
              <a:chOff x="-5124450" y="3267075"/>
              <a:chExt cx="936625" cy="596901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102" name="Oval 27"/>
              <p:cNvSpPr>
                <a:spLocks noChangeArrowheads="1"/>
              </p:cNvSpPr>
              <p:nvPr/>
            </p:nvSpPr>
            <p:spPr bwMode="auto">
              <a:xfrm>
                <a:off x="-4978400" y="3671888"/>
                <a:ext cx="187325" cy="192088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03" name="Oval 28"/>
              <p:cNvSpPr>
                <a:spLocks noChangeArrowheads="1"/>
              </p:cNvSpPr>
              <p:nvPr/>
            </p:nvSpPr>
            <p:spPr bwMode="auto">
              <a:xfrm>
                <a:off x="-4494213" y="3671888"/>
                <a:ext cx="187325" cy="192088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04" name="Freeform 29"/>
              <p:cNvSpPr>
                <a:spLocks noEditPoints="1"/>
              </p:cNvSpPr>
              <p:nvPr/>
            </p:nvSpPr>
            <p:spPr bwMode="auto">
              <a:xfrm>
                <a:off x="-5124450" y="3267075"/>
                <a:ext cx="936625" cy="533400"/>
              </a:xfrm>
              <a:custGeom>
                <a:avLst/>
                <a:gdLst>
                  <a:gd name="T0" fmla="*/ 203 w 250"/>
                  <a:gd name="T1" fmla="*/ 69 h 142"/>
                  <a:gd name="T2" fmla="*/ 203 w 250"/>
                  <a:gd name="T3" fmla="*/ 66 h 142"/>
                  <a:gd name="T4" fmla="*/ 130 w 250"/>
                  <a:gd name="T5" fmla="*/ 0 h 142"/>
                  <a:gd name="T6" fmla="*/ 96 w 250"/>
                  <a:gd name="T7" fmla="*/ 0 h 142"/>
                  <a:gd name="T8" fmla="*/ 34 w 250"/>
                  <a:gd name="T9" fmla="*/ 39 h 142"/>
                  <a:gd name="T10" fmla="*/ 32 w 250"/>
                  <a:gd name="T11" fmla="*/ 53 h 142"/>
                  <a:gd name="T12" fmla="*/ 0 w 250"/>
                  <a:gd name="T13" fmla="*/ 105 h 142"/>
                  <a:gd name="T14" fmla="*/ 0 w 250"/>
                  <a:gd name="T15" fmla="*/ 105 h 142"/>
                  <a:gd name="T16" fmla="*/ 33 w 250"/>
                  <a:gd name="T17" fmla="*/ 140 h 142"/>
                  <a:gd name="T18" fmla="*/ 32 w 250"/>
                  <a:gd name="T19" fmla="*/ 133 h 142"/>
                  <a:gd name="T20" fmla="*/ 64 w 250"/>
                  <a:gd name="T21" fmla="*/ 100 h 142"/>
                  <a:gd name="T22" fmla="*/ 96 w 250"/>
                  <a:gd name="T23" fmla="*/ 133 h 142"/>
                  <a:gd name="T24" fmla="*/ 95 w 250"/>
                  <a:gd name="T25" fmla="*/ 142 h 142"/>
                  <a:gd name="T26" fmla="*/ 162 w 250"/>
                  <a:gd name="T27" fmla="*/ 142 h 142"/>
                  <a:gd name="T28" fmla="*/ 160 w 250"/>
                  <a:gd name="T29" fmla="*/ 133 h 142"/>
                  <a:gd name="T30" fmla="*/ 193 w 250"/>
                  <a:gd name="T31" fmla="*/ 100 h 142"/>
                  <a:gd name="T32" fmla="*/ 225 w 250"/>
                  <a:gd name="T33" fmla="*/ 133 h 142"/>
                  <a:gd name="T34" fmla="*/ 224 w 250"/>
                  <a:gd name="T35" fmla="*/ 137 h 142"/>
                  <a:gd name="T36" fmla="*/ 250 w 250"/>
                  <a:gd name="T37" fmla="*/ 105 h 142"/>
                  <a:gd name="T38" fmla="*/ 250 w 250"/>
                  <a:gd name="T39" fmla="*/ 105 h 142"/>
                  <a:gd name="T40" fmla="*/ 203 w 250"/>
                  <a:gd name="T41" fmla="*/ 69 h 142"/>
                  <a:gd name="T42" fmla="*/ 182 w 250"/>
                  <a:gd name="T43" fmla="*/ 68 h 142"/>
                  <a:gd name="T44" fmla="*/ 69 w 250"/>
                  <a:gd name="T45" fmla="*/ 68 h 142"/>
                  <a:gd name="T46" fmla="*/ 69 w 250"/>
                  <a:gd name="T47" fmla="*/ 48 h 142"/>
                  <a:gd name="T48" fmla="*/ 106 w 250"/>
                  <a:gd name="T49" fmla="*/ 11 h 142"/>
                  <a:gd name="T50" fmla="*/ 129 w 250"/>
                  <a:gd name="T51" fmla="*/ 11 h 142"/>
                  <a:gd name="T52" fmla="*/ 182 w 250"/>
                  <a:gd name="T53" fmla="*/ 58 h 142"/>
                  <a:gd name="T54" fmla="*/ 182 w 250"/>
                  <a:gd name="T55" fmla="*/ 68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0" h="142">
                    <a:moveTo>
                      <a:pt x="203" y="69"/>
                    </a:moveTo>
                    <a:cubicBezTo>
                      <a:pt x="203" y="66"/>
                      <a:pt x="203" y="66"/>
                      <a:pt x="203" y="66"/>
                    </a:cubicBezTo>
                    <a:cubicBezTo>
                      <a:pt x="203" y="37"/>
                      <a:pt x="158" y="0"/>
                      <a:pt x="130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67" y="0"/>
                      <a:pt x="34" y="11"/>
                      <a:pt x="34" y="39"/>
                    </a:cubicBezTo>
                    <a:cubicBezTo>
                      <a:pt x="32" y="53"/>
                      <a:pt x="32" y="53"/>
                      <a:pt x="32" y="53"/>
                    </a:cubicBezTo>
                    <a:cubicBezTo>
                      <a:pt x="6" y="54"/>
                      <a:pt x="0" y="85"/>
                      <a:pt x="0" y="105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0" y="121"/>
                      <a:pt x="14" y="135"/>
                      <a:pt x="33" y="140"/>
                    </a:cubicBezTo>
                    <a:cubicBezTo>
                      <a:pt x="32" y="137"/>
                      <a:pt x="32" y="135"/>
                      <a:pt x="32" y="133"/>
                    </a:cubicBezTo>
                    <a:cubicBezTo>
                      <a:pt x="32" y="115"/>
                      <a:pt x="46" y="100"/>
                      <a:pt x="64" y="100"/>
                    </a:cubicBezTo>
                    <a:cubicBezTo>
                      <a:pt x="82" y="100"/>
                      <a:pt x="96" y="115"/>
                      <a:pt x="96" y="133"/>
                    </a:cubicBezTo>
                    <a:cubicBezTo>
                      <a:pt x="96" y="136"/>
                      <a:pt x="96" y="139"/>
                      <a:pt x="95" y="142"/>
                    </a:cubicBezTo>
                    <a:cubicBezTo>
                      <a:pt x="162" y="142"/>
                      <a:pt x="162" y="142"/>
                      <a:pt x="162" y="142"/>
                    </a:cubicBezTo>
                    <a:cubicBezTo>
                      <a:pt x="161" y="139"/>
                      <a:pt x="160" y="136"/>
                      <a:pt x="160" y="133"/>
                    </a:cubicBezTo>
                    <a:cubicBezTo>
                      <a:pt x="160" y="115"/>
                      <a:pt x="175" y="100"/>
                      <a:pt x="193" y="100"/>
                    </a:cubicBezTo>
                    <a:cubicBezTo>
                      <a:pt x="210" y="100"/>
                      <a:pt x="225" y="115"/>
                      <a:pt x="225" y="133"/>
                    </a:cubicBezTo>
                    <a:cubicBezTo>
                      <a:pt x="225" y="134"/>
                      <a:pt x="225" y="136"/>
                      <a:pt x="224" y="137"/>
                    </a:cubicBezTo>
                    <a:cubicBezTo>
                      <a:pt x="240" y="131"/>
                      <a:pt x="250" y="119"/>
                      <a:pt x="250" y="105"/>
                    </a:cubicBezTo>
                    <a:cubicBezTo>
                      <a:pt x="250" y="105"/>
                      <a:pt x="250" y="105"/>
                      <a:pt x="250" y="105"/>
                    </a:cubicBezTo>
                    <a:cubicBezTo>
                      <a:pt x="250" y="85"/>
                      <a:pt x="229" y="69"/>
                      <a:pt x="203" y="69"/>
                    </a:cubicBezTo>
                    <a:close/>
                    <a:moveTo>
                      <a:pt x="182" y="68"/>
                    </a:moveTo>
                    <a:cubicBezTo>
                      <a:pt x="69" y="68"/>
                      <a:pt x="69" y="68"/>
                      <a:pt x="69" y="68"/>
                    </a:cubicBezTo>
                    <a:cubicBezTo>
                      <a:pt x="69" y="48"/>
                      <a:pt x="69" y="48"/>
                      <a:pt x="69" y="48"/>
                    </a:cubicBezTo>
                    <a:cubicBezTo>
                      <a:pt x="69" y="28"/>
                      <a:pt x="86" y="11"/>
                      <a:pt x="106" y="11"/>
                    </a:cubicBezTo>
                    <a:cubicBezTo>
                      <a:pt x="129" y="11"/>
                      <a:pt x="129" y="11"/>
                      <a:pt x="129" y="11"/>
                    </a:cubicBezTo>
                    <a:cubicBezTo>
                      <a:pt x="149" y="11"/>
                      <a:pt x="182" y="37"/>
                      <a:pt x="182" y="58"/>
                    </a:cubicBezTo>
                    <a:lnTo>
                      <a:pt x="182" y="68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57" name="Group 172"/>
            <p:cNvGrpSpPr/>
            <p:nvPr/>
          </p:nvGrpSpPr>
          <p:grpSpPr>
            <a:xfrm rot="5400000" flipH="1">
              <a:off x="749786" y="4462359"/>
              <a:ext cx="389777" cy="217776"/>
              <a:chOff x="-3778250" y="3316288"/>
              <a:chExt cx="892175" cy="498475"/>
            </a:xfrm>
            <a:solidFill>
              <a:schemeClr val="accent4">
                <a:lumMod val="40000"/>
                <a:lumOff val="60000"/>
              </a:schemeClr>
            </a:solidFill>
          </p:grpSpPr>
          <p:sp>
            <p:nvSpPr>
              <p:cNvPr id="98" name="Freeform 34"/>
              <p:cNvSpPr>
                <a:spLocks noEditPoints="1"/>
              </p:cNvSpPr>
              <p:nvPr/>
            </p:nvSpPr>
            <p:spPr bwMode="auto">
              <a:xfrm>
                <a:off x="-3554413" y="3319463"/>
                <a:ext cx="487363" cy="492125"/>
              </a:xfrm>
              <a:custGeom>
                <a:avLst/>
                <a:gdLst>
                  <a:gd name="T0" fmla="*/ 65 w 130"/>
                  <a:gd name="T1" fmla="*/ 0 h 131"/>
                  <a:gd name="T2" fmla="*/ 0 w 130"/>
                  <a:gd name="T3" fmla="*/ 66 h 131"/>
                  <a:gd name="T4" fmla="*/ 65 w 130"/>
                  <a:gd name="T5" fmla="*/ 131 h 131"/>
                  <a:gd name="T6" fmla="*/ 130 w 130"/>
                  <a:gd name="T7" fmla="*/ 66 h 131"/>
                  <a:gd name="T8" fmla="*/ 65 w 130"/>
                  <a:gd name="T9" fmla="*/ 0 h 131"/>
                  <a:gd name="T10" fmla="*/ 65 w 130"/>
                  <a:gd name="T11" fmla="*/ 117 h 131"/>
                  <a:gd name="T12" fmla="*/ 13 w 130"/>
                  <a:gd name="T13" fmla="*/ 66 h 131"/>
                  <a:gd name="T14" fmla="*/ 65 w 130"/>
                  <a:gd name="T15" fmla="*/ 14 h 131"/>
                  <a:gd name="T16" fmla="*/ 116 w 130"/>
                  <a:gd name="T17" fmla="*/ 66 h 131"/>
                  <a:gd name="T18" fmla="*/ 65 w 130"/>
                  <a:gd name="T19" fmla="*/ 11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1">
                    <a:moveTo>
                      <a:pt x="65" y="0"/>
                    </a:moveTo>
                    <a:cubicBezTo>
                      <a:pt x="29" y="0"/>
                      <a:pt x="0" y="30"/>
                      <a:pt x="0" y="66"/>
                    </a:cubicBezTo>
                    <a:cubicBezTo>
                      <a:pt x="0" y="101"/>
                      <a:pt x="29" y="131"/>
                      <a:pt x="65" y="131"/>
                    </a:cubicBezTo>
                    <a:cubicBezTo>
                      <a:pt x="101" y="131"/>
                      <a:pt x="130" y="101"/>
                      <a:pt x="130" y="66"/>
                    </a:cubicBezTo>
                    <a:cubicBezTo>
                      <a:pt x="130" y="30"/>
                      <a:pt x="101" y="0"/>
                      <a:pt x="65" y="0"/>
                    </a:cubicBezTo>
                    <a:close/>
                    <a:moveTo>
                      <a:pt x="65" y="117"/>
                    </a:moveTo>
                    <a:cubicBezTo>
                      <a:pt x="36" y="117"/>
                      <a:pt x="13" y="94"/>
                      <a:pt x="13" y="66"/>
                    </a:cubicBezTo>
                    <a:cubicBezTo>
                      <a:pt x="13" y="37"/>
                      <a:pt x="36" y="14"/>
                      <a:pt x="65" y="14"/>
                    </a:cubicBezTo>
                    <a:cubicBezTo>
                      <a:pt x="93" y="14"/>
                      <a:pt x="116" y="37"/>
                      <a:pt x="116" y="66"/>
                    </a:cubicBezTo>
                    <a:cubicBezTo>
                      <a:pt x="116" y="94"/>
                      <a:pt x="93" y="117"/>
                      <a:pt x="65" y="117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9" name="Oval 35"/>
              <p:cNvSpPr>
                <a:spLocks noChangeArrowheads="1"/>
              </p:cNvSpPr>
              <p:nvPr/>
            </p:nvSpPr>
            <p:spPr bwMode="auto">
              <a:xfrm>
                <a:off x="-3467100" y="3409950"/>
                <a:ext cx="311150" cy="311150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00" name="Freeform 36"/>
              <p:cNvSpPr>
                <a:spLocks/>
              </p:cNvSpPr>
              <p:nvPr/>
            </p:nvSpPr>
            <p:spPr bwMode="auto">
              <a:xfrm>
                <a:off x="-3778250" y="3316288"/>
                <a:ext cx="168275" cy="498475"/>
              </a:xfrm>
              <a:custGeom>
                <a:avLst/>
                <a:gdLst>
                  <a:gd name="T0" fmla="*/ 45 w 45"/>
                  <a:gd name="T1" fmla="*/ 33 h 133"/>
                  <a:gd name="T2" fmla="*/ 22 w 45"/>
                  <a:gd name="T3" fmla="*/ 0 h 133"/>
                  <a:gd name="T4" fmla="*/ 0 w 45"/>
                  <a:gd name="T5" fmla="*/ 33 h 133"/>
                  <a:gd name="T6" fmla="*/ 16 w 45"/>
                  <a:gd name="T7" fmla="*/ 57 h 133"/>
                  <a:gd name="T8" fmla="*/ 14 w 45"/>
                  <a:gd name="T9" fmla="*/ 133 h 133"/>
                  <a:gd name="T10" fmla="*/ 31 w 45"/>
                  <a:gd name="T11" fmla="*/ 133 h 133"/>
                  <a:gd name="T12" fmla="*/ 28 w 45"/>
                  <a:gd name="T13" fmla="*/ 57 h 133"/>
                  <a:gd name="T14" fmla="*/ 45 w 45"/>
                  <a:gd name="T15" fmla="*/ 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133">
                    <a:moveTo>
                      <a:pt x="45" y="33"/>
                    </a:moveTo>
                    <a:cubicBezTo>
                      <a:pt x="45" y="17"/>
                      <a:pt x="35" y="0"/>
                      <a:pt x="22" y="0"/>
                    </a:cubicBezTo>
                    <a:cubicBezTo>
                      <a:pt x="10" y="0"/>
                      <a:pt x="0" y="17"/>
                      <a:pt x="0" y="33"/>
                    </a:cubicBezTo>
                    <a:cubicBezTo>
                      <a:pt x="0" y="46"/>
                      <a:pt x="7" y="55"/>
                      <a:pt x="16" y="57"/>
                    </a:cubicBezTo>
                    <a:cubicBezTo>
                      <a:pt x="14" y="133"/>
                      <a:pt x="14" y="133"/>
                      <a:pt x="14" y="133"/>
                    </a:cubicBezTo>
                    <a:cubicBezTo>
                      <a:pt x="31" y="133"/>
                      <a:pt x="31" y="133"/>
                      <a:pt x="31" y="133"/>
                    </a:cubicBezTo>
                    <a:cubicBezTo>
                      <a:pt x="28" y="57"/>
                      <a:pt x="28" y="57"/>
                      <a:pt x="28" y="57"/>
                    </a:cubicBezTo>
                    <a:cubicBezTo>
                      <a:pt x="38" y="55"/>
                      <a:pt x="45" y="46"/>
                      <a:pt x="4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01" name="Freeform 37"/>
              <p:cNvSpPr>
                <a:spLocks/>
              </p:cNvSpPr>
              <p:nvPr/>
            </p:nvSpPr>
            <p:spPr bwMode="auto">
              <a:xfrm>
                <a:off x="-3036888" y="3319463"/>
                <a:ext cx="150813" cy="492125"/>
              </a:xfrm>
              <a:custGeom>
                <a:avLst/>
                <a:gdLst>
                  <a:gd name="T0" fmla="*/ 40 w 40"/>
                  <a:gd name="T1" fmla="*/ 39 h 131"/>
                  <a:gd name="T2" fmla="*/ 37 w 40"/>
                  <a:gd name="T3" fmla="*/ 15 h 131"/>
                  <a:gd name="T4" fmla="*/ 31 w 40"/>
                  <a:gd name="T5" fmla="*/ 1 h 131"/>
                  <a:gd name="T6" fmla="*/ 31 w 40"/>
                  <a:gd name="T7" fmla="*/ 31 h 131"/>
                  <a:gd name="T8" fmla="*/ 27 w 40"/>
                  <a:gd name="T9" fmla="*/ 31 h 131"/>
                  <a:gd name="T10" fmla="*/ 27 w 40"/>
                  <a:gd name="T11" fmla="*/ 0 h 131"/>
                  <a:gd name="T12" fmla="*/ 22 w 40"/>
                  <a:gd name="T13" fmla="*/ 0 h 131"/>
                  <a:gd name="T14" fmla="*/ 22 w 40"/>
                  <a:gd name="T15" fmla="*/ 31 h 131"/>
                  <a:gd name="T16" fmla="*/ 21 w 40"/>
                  <a:gd name="T17" fmla="*/ 31 h 131"/>
                  <a:gd name="T18" fmla="*/ 21 w 40"/>
                  <a:gd name="T19" fmla="*/ 31 h 131"/>
                  <a:gd name="T20" fmla="*/ 17 w 40"/>
                  <a:gd name="T21" fmla="*/ 31 h 131"/>
                  <a:gd name="T22" fmla="*/ 17 w 40"/>
                  <a:gd name="T23" fmla="*/ 0 h 131"/>
                  <a:gd name="T24" fmla="*/ 13 w 40"/>
                  <a:gd name="T25" fmla="*/ 0 h 131"/>
                  <a:gd name="T26" fmla="*/ 13 w 40"/>
                  <a:gd name="T27" fmla="*/ 31 h 131"/>
                  <a:gd name="T28" fmla="*/ 8 w 40"/>
                  <a:gd name="T29" fmla="*/ 31 h 131"/>
                  <a:gd name="T30" fmla="*/ 8 w 40"/>
                  <a:gd name="T31" fmla="*/ 1 h 131"/>
                  <a:gd name="T32" fmla="*/ 2 w 40"/>
                  <a:gd name="T33" fmla="*/ 15 h 131"/>
                  <a:gd name="T34" fmla="*/ 0 w 40"/>
                  <a:gd name="T35" fmla="*/ 39 h 131"/>
                  <a:gd name="T36" fmla="*/ 14 w 40"/>
                  <a:gd name="T37" fmla="*/ 56 h 131"/>
                  <a:gd name="T38" fmla="*/ 11 w 40"/>
                  <a:gd name="T39" fmla="*/ 131 h 131"/>
                  <a:gd name="T40" fmla="*/ 28 w 40"/>
                  <a:gd name="T41" fmla="*/ 131 h 131"/>
                  <a:gd name="T42" fmla="*/ 26 w 40"/>
                  <a:gd name="T43" fmla="*/ 56 h 131"/>
                  <a:gd name="T44" fmla="*/ 40 w 40"/>
                  <a:gd name="T45" fmla="*/ 39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0" h="131">
                    <a:moveTo>
                      <a:pt x="40" y="39"/>
                    </a:moveTo>
                    <a:cubicBezTo>
                      <a:pt x="37" y="15"/>
                      <a:pt x="37" y="15"/>
                      <a:pt x="37" y="15"/>
                    </a:cubicBezTo>
                    <a:cubicBezTo>
                      <a:pt x="37" y="10"/>
                      <a:pt x="35" y="4"/>
                      <a:pt x="31" y="1"/>
                    </a:cubicBezTo>
                    <a:cubicBezTo>
                      <a:pt x="31" y="31"/>
                      <a:pt x="31" y="31"/>
                      <a:pt x="31" y="31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5" y="0"/>
                      <a:pt x="24" y="0"/>
                      <a:pt x="22" y="0"/>
                    </a:cubicBezTo>
                    <a:cubicBezTo>
                      <a:pt x="22" y="31"/>
                      <a:pt x="22" y="31"/>
                      <a:pt x="22" y="31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6" y="0"/>
                      <a:pt x="15" y="0"/>
                      <a:pt x="13" y="0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5" y="4"/>
                      <a:pt x="2" y="10"/>
                      <a:pt x="2" y="1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7"/>
                      <a:pt x="5" y="54"/>
                      <a:pt x="14" y="56"/>
                    </a:cubicBezTo>
                    <a:cubicBezTo>
                      <a:pt x="11" y="131"/>
                      <a:pt x="11" y="131"/>
                      <a:pt x="11" y="131"/>
                    </a:cubicBezTo>
                    <a:cubicBezTo>
                      <a:pt x="28" y="131"/>
                      <a:pt x="28" y="131"/>
                      <a:pt x="28" y="131"/>
                    </a:cubicBezTo>
                    <a:cubicBezTo>
                      <a:pt x="26" y="56"/>
                      <a:pt x="26" y="56"/>
                      <a:pt x="26" y="56"/>
                    </a:cubicBezTo>
                    <a:cubicBezTo>
                      <a:pt x="34" y="54"/>
                      <a:pt x="40" y="47"/>
                      <a:pt x="40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58" name="Freeform 17"/>
            <p:cNvSpPr>
              <a:spLocks/>
            </p:cNvSpPr>
            <p:nvPr/>
          </p:nvSpPr>
          <p:spPr bwMode="auto">
            <a:xfrm flipH="1">
              <a:off x="-1414025" y="1876606"/>
              <a:ext cx="533331" cy="627124"/>
            </a:xfrm>
            <a:custGeom>
              <a:avLst/>
              <a:gdLst>
                <a:gd name="T0" fmla="*/ 461 w 503"/>
                <a:gd name="T1" fmla="*/ 304 h 591"/>
                <a:gd name="T2" fmla="*/ 503 w 503"/>
                <a:gd name="T3" fmla="*/ 267 h 591"/>
                <a:gd name="T4" fmla="*/ 461 w 503"/>
                <a:gd name="T5" fmla="*/ 230 h 591"/>
                <a:gd name="T6" fmla="*/ 278 w 503"/>
                <a:gd name="T7" fmla="*/ 230 h 591"/>
                <a:gd name="T8" fmla="*/ 278 w 503"/>
                <a:gd name="T9" fmla="*/ 109 h 591"/>
                <a:gd name="T10" fmla="*/ 385 w 503"/>
                <a:gd name="T11" fmla="*/ 109 h 591"/>
                <a:gd name="T12" fmla="*/ 410 w 503"/>
                <a:gd name="T13" fmla="*/ 73 h 591"/>
                <a:gd name="T14" fmla="*/ 385 w 503"/>
                <a:gd name="T15" fmla="*/ 36 h 591"/>
                <a:gd name="T16" fmla="*/ 278 w 503"/>
                <a:gd name="T17" fmla="*/ 36 h 591"/>
                <a:gd name="T18" fmla="*/ 278 w 503"/>
                <a:gd name="T19" fmla="*/ 22 h 591"/>
                <a:gd name="T20" fmla="*/ 261 w 503"/>
                <a:gd name="T21" fmla="*/ 0 h 591"/>
                <a:gd name="T22" fmla="*/ 244 w 503"/>
                <a:gd name="T23" fmla="*/ 22 h 591"/>
                <a:gd name="T24" fmla="*/ 244 w 503"/>
                <a:gd name="T25" fmla="*/ 109 h 591"/>
                <a:gd name="T26" fmla="*/ 46 w 503"/>
                <a:gd name="T27" fmla="*/ 109 h 591"/>
                <a:gd name="T28" fmla="*/ 0 w 503"/>
                <a:gd name="T29" fmla="*/ 146 h 591"/>
                <a:gd name="T30" fmla="*/ 46 w 503"/>
                <a:gd name="T31" fmla="*/ 183 h 591"/>
                <a:gd name="T32" fmla="*/ 244 w 503"/>
                <a:gd name="T33" fmla="*/ 183 h 591"/>
                <a:gd name="T34" fmla="*/ 244 w 503"/>
                <a:gd name="T35" fmla="*/ 516 h 591"/>
                <a:gd name="T36" fmla="*/ 224 w 503"/>
                <a:gd name="T37" fmla="*/ 516 h 591"/>
                <a:gd name="T38" fmla="*/ 204 w 503"/>
                <a:gd name="T39" fmla="*/ 537 h 591"/>
                <a:gd name="T40" fmla="*/ 206 w 503"/>
                <a:gd name="T41" fmla="*/ 547 h 591"/>
                <a:gd name="T42" fmla="*/ 181 w 503"/>
                <a:gd name="T43" fmla="*/ 569 h 591"/>
                <a:gd name="T44" fmla="*/ 209 w 503"/>
                <a:gd name="T45" fmla="*/ 591 h 591"/>
                <a:gd name="T46" fmla="*/ 314 w 503"/>
                <a:gd name="T47" fmla="*/ 591 h 591"/>
                <a:gd name="T48" fmla="*/ 342 w 503"/>
                <a:gd name="T49" fmla="*/ 569 h 591"/>
                <a:gd name="T50" fmla="*/ 319 w 503"/>
                <a:gd name="T51" fmla="*/ 547 h 591"/>
                <a:gd name="T52" fmla="*/ 321 w 503"/>
                <a:gd name="T53" fmla="*/ 537 h 591"/>
                <a:gd name="T54" fmla="*/ 300 w 503"/>
                <a:gd name="T55" fmla="*/ 516 h 591"/>
                <a:gd name="T56" fmla="*/ 278 w 503"/>
                <a:gd name="T57" fmla="*/ 516 h 591"/>
                <a:gd name="T58" fmla="*/ 278 w 503"/>
                <a:gd name="T59" fmla="*/ 304 h 591"/>
                <a:gd name="T60" fmla="*/ 461 w 503"/>
                <a:gd name="T61" fmla="*/ 304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03" h="591">
                  <a:moveTo>
                    <a:pt x="461" y="304"/>
                  </a:moveTo>
                  <a:cubicBezTo>
                    <a:pt x="503" y="267"/>
                    <a:pt x="503" y="267"/>
                    <a:pt x="503" y="267"/>
                  </a:cubicBezTo>
                  <a:cubicBezTo>
                    <a:pt x="461" y="230"/>
                    <a:pt x="461" y="230"/>
                    <a:pt x="461" y="230"/>
                  </a:cubicBezTo>
                  <a:cubicBezTo>
                    <a:pt x="278" y="230"/>
                    <a:pt x="278" y="230"/>
                    <a:pt x="278" y="230"/>
                  </a:cubicBezTo>
                  <a:cubicBezTo>
                    <a:pt x="278" y="109"/>
                    <a:pt x="278" y="109"/>
                    <a:pt x="278" y="109"/>
                  </a:cubicBezTo>
                  <a:cubicBezTo>
                    <a:pt x="385" y="109"/>
                    <a:pt x="385" y="109"/>
                    <a:pt x="385" y="109"/>
                  </a:cubicBezTo>
                  <a:cubicBezTo>
                    <a:pt x="410" y="73"/>
                    <a:pt x="410" y="73"/>
                    <a:pt x="410" y="73"/>
                  </a:cubicBezTo>
                  <a:cubicBezTo>
                    <a:pt x="385" y="36"/>
                    <a:pt x="385" y="36"/>
                    <a:pt x="385" y="36"/>
                  </a:cubicBezTo>
                  <a:cubicBezTo>
                    <a:pt x="278" y="36"/>
                    <a:pt x="278" y="36"/>
                    <a:pt x="278" y="36"/>
                  </a:cubicBezTo>
                  <a:cubicBezTo>
                    <a:pt x="278" y="22"/>
                    <a:pt x="278" y="22"/>
                    <a:pt x="278" y="22"/>
                  </a:cubicBezTo>
                  <a:cubicBezTo>
                    <a:pt x="278" y="10"/>
                    <a:pt x="271" y="0"/>
                    <a:pt x="261" y="0"/>
                  </a:cubicBezTo>
                  <a:cubicBezTo>
                    <a:pt x="252" y="0"/>
                    <a:pt x="244" y="10"/>
                    <a:pt x="244" y="22"/>
                  </a:cubicBezTo>
                  <a:cubicBezTo>
                    <a:pt x="244" y="109"/>
                    <a:pt x="244" y="109"/>
                    <a:pt x="244" y="109"/>
                  </a:cubicBezTo>
                  <a:cubicBezTo>
                    <a:pt x="46" y="109"/>
                    <a:pt x="46" y="109"/>
                    <a:pt x="46" y="109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46" y="183"/>
                    <a:pt x="46" y="183"/>
                    <a:pt x="46" y="183"/>
                  </a:cubicBezTo>
                  <a:cubicBezTo>
                    <a:pt x="244" y="183"/>
                    <a:pt x="244" y="183"/>
                    <a:pt x="244" y="183"/>
                  </a:cubicBezTo>
                  <a:cubicBezTo>
                    <a:pt x="244" y="516"/>
                    <a:pt x="244" y="516"/>
                    <a:pt x="244" y="516"/>
                  </a:cubicBezTo>
                  <a:cubicBezTo>
                    <a:pt x="224" y="516"/>
                    <a:pt x="224" y="516"/>
                    <a:pt x="224" y="516"/>
                  </a:cubicBezTo>
                  <a:cubicBezTo>
                    <a:pt x="213" y="516"/>
                    <a:pt x="204" y="525"/>
                    <a:pt x="204" y="537"/>
                  </a:cubicBezTo>
                  <a:cubicBezTo>
                    <a:pt x="204" y="541"/>
                    <a:pt x="205" y="544"/>
                    <a:pt x="206" y="547"/>
                  </a:cubicBezTo>
                  <a:cubicBezTo>
                    <a:pt x="192" y="548"/>
                    <a:pt x="181" y="557"/>
                    <a:pt x="181" y="569"/>
                  </a:cubicBezTo>
                  <a:cubicBezTo>
                    <a:pt x="181" y="581"/>
                    <a:pt x="193" y="591"/>
                    <a:pt x="209" y="591"/>
                  </a:cubicBezTo>
                  <a:cubicBezTo>
                    <a:pt x="314" y="591"/>
                    <a:pt x="314" y="591"/>
                    <a:pt x="314" y="591"/>
                  </a:cubicBezTo>
                  <a:cubicBezTo>
                    <a:pt x="329" y="591"/>
                    <a:pt x="342" y="581"/>
                    <a:pt x="342" y="569"/>
                  </a:cubicBezTo>
                  <a:cubicBezTo>
                    <a:pt x="342" y="558"/>
                    <a:pt x="332" y="549"/>
                    <a:pt x="319" y="547"/>
                  </a:cubicBezTo>
                  <a:cubicBezTo>
                    <a:pt x="320" y="544"/>
                    <a:pt x="321" y="541"/>
                    <a:pt x="321" y="537"/>
                  </a:cubicBezTo>
                  <a:cubicBezTo>
                    <a:pt x="321" y="525"/>
                    <a:pt x="312" y="516"/>
                    <a:pt x="300" y="516"/>
                  </a:cubicBezTo>
                  <a:cubicBezTo>
                    <a:pt x="278" y="516"/>
                    <a:pt x="278" y="516"/>
                    <a:pt x="278" y="516"/>
                  </a:cubicBezTo>
                  <a:cubicBezTo>
                    <a:pt x="278" y="304"/>
                    <a:pt x="278" y="304"/>
                    <a:pt x="278" y="304"/>
                  </a:cubicBezTo>
                  <a:lnTo>
                    <a:pt x="461" y="304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59" name="Group 178"/>
            <p:cNvGrpSpPr/>
            <p:nvPr/>
          </p:nvGrpSpPr>
          <p:grpSpPr>
            <a:xfrm flipH="1">
              <a:off x="-1246088" y="2739090"/>
              <a:ext cx="217769" cy="202366"/>
              <a:chOff x="3791090" y="2972422"/>
              <a:chExt cx="428485" cy="398177"/>
            </a:xfrm>
            <a:solidFill>
              <a:schemeClr val="accent4">
                <a:lumMod val="60000"/>
                <a:lumOff val="40000"/>
              </a:schemeClr>
            </a:solidFill>
          </p:grpSpPr>
          <p:sp>
            <p:nvSpPr>
              <p:cNvPr id="93" name="Freeform 18"/>
              <p:cNvSpPr>
                <a:spLocks noEditPoints="1"/>
              </p:cNvSpPr>
              <p:nvPr/>
            </p:nvSpPr>
            <p:spPr bwMode="auto">
              <a:xfrm>
                <a:off x="3791090" y="2972422"/>
                <a:ext cx="428485" cy="398177"/>
              </a:xfrm>
              <a:custGeom>
                <a:avLst/>
                <a:gdLst>
                  <a:gd name="T0" fmla="*/ 240 w 479"/>
                  <a:gd name="T1" fmla="*/ 0 h 445"/>
                  <a:gd name="T2" fmla="*/ 0 w 479"/>
                  <a:gd name="T3" fmla="*/ 222 h 445"/>
                  <a:gd name="T4" fmla="*/ 240 w 479"/>
                  <a:gd name="T5" fmla="*/ 445 h 445"/>
                  <a:gd name="T6" fmla="*/ 479 w 479"/>
                  <a:gd name="T7" fmla="*/ 222 h 445"/>
                  <a:gd name="T8" fmla="*/ 240 w 479"/>
                  <a:gd name="T9" fmla="*/ 0 h 445"/>
                  <a:gd name="T10" fmla="*/ 240 w 479"/>
                  <a:gd name="T11" fmla="*/ 377 h 445"/>
                  <a:gd name="T12" fmla="*/ 70 w 479"/>
                  <a:gd name="T13" fmla="*/ 222 h 445"/>
                  <a:gd name="T14" fmla="*/ 240 w 479"/>
                  <a:gd name="T15" fmla="*/ 67 h 445"/>
                  <a:gd name="T16" fmla="*/ 410 w 479"/>
                  <a:gd name="T17" fmla="*/ 222 h 445"/>
                  <a:gd name="T18" fmla="*/ 240 w 479"/>
                  <a:gd name="T19" fmla="*/ 377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9" h="445">
                    <a:moveTo>
                      <a:pt x="240" y="0"/>
                    </a:moveTo>
                    <a:cubicBezTo>
                      <a:pt x="108" y="0"/>
                      <a:pt x="0" y="99"/>
                      <a:pt x="0" y="222"/>
                    </a:cubicBezTo>
                    <a:cubicBezTo>
                      <a:pt x="0" y="345"/>
                      <a:pt x="108" y="445"/>
                      <a:pt x="240" y="445"/>
                    </a:cubicBezTo>
                    <a:cubicBezTo>
                      <a:pt x="372" y="445"/>
                      <a:pt x="479" y="345"/>
                      <a:pt x="479" y="222"/>
                    </a:cubicBezTo>
                    <a:cubicBezTo>
                      <a:pt x="479" y="99"/>
                      <a:pt x="372" y="0"/>
                      <a:pt x="240" y="0"/>
                    </a:cubicBezTo>
                    <a:close/>
                    <a:moveTo>
                      <a:pt x="240" y="377"/>
                    </a:moveTo>
                    <a:cubicBezTo>
                      <a:pt x="146" y="377"/>
                      <a:pt x="70" y="308"/>
                      <a:pt x="70" y="222"/>
                    </a:cubicBezTo>
                    <a:cubicBezTo>
                      <a:pt x="70" y="137"/>
                      <a:pt x="146" y="67"/>
                      <a:pt x="240" y="67"/>
                    </a:cubicBezTo>
                    <a:cubicBezTo>
                      <a:pt x="333" y="67"/>
                      <a:pt x="410" y="137"/>
                      <a:pt x="410" y="222"/>
                    </a:cubicBezTo>
                    <a:cubicBezTo>
                      <a:pt x="410" y="308"/>
                      <a:pt x="333" y="377"/>
                      <a:pt x="240" y="377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4" name="Freeform 19"/>
              <p:cNvSpPr>
                <a:spLocks/>
              </p:cNvSpPr>
              <p:nvPr/>
            </p:nvSpPr>
            <p:spPr bwMode="auto">
              <a:xfrm>
                <a:off x="3872544" y="3062590"/>
                <a:ext cx="266714" cy="96608"/>
              </a:xfrm>
              <a:custGeom>
                <a:avLst/>
                <a:gdLst>
                  <a:gd name="T0" fmla="*/ 298 w 298"/>
                  <a:gd name="T1" fmla="*/ 77 h 108"/>
                  <a:gd name="T2" fmla="*/ 293 w 298"/>
                  <a:gd name="T3" fmla="*/ 71 h 108"/>
                  <a:gd name="T4" fmla="*/ 261 w 298"/>
                  <a:gd name="T5" fmla="*/ 92 h 108"/>
                  <a:gd name="T6" fmla="*/ 230 w 298"/>
                  <a:gd name="T7" fmla="*/ 58 h 108"/>
                  <a:gd name="T8" fmla="*/ 248 w 298"/>
                  <a:gd name="T9" fmla="*/ 24 h 108"/>
                  <a:gd name="T10" fmla="*/ 239 w 298"/>
                  <a:gd name="T11" fmla="*/ 21 h 108"/>
                  <a:gd name="T12" fmla="*/ 223 w 298"/>
                  <a:gd name="T13" fmla="*/ 52 h 108"/>
                  <a:gd name="T14" fmla="*/ 222 w 298"/>
                  <a:gd name="T15" fmla="*/ 53 h 108"/>
                  <a:gd name="T16" fmla="*/ 156 w 298"/>
                  <a:gd name="T17" fmla="*/ 36 h 108"/>
                  <a:gd name="T18" fmla="*/ 156 w 298"/>
                  <a:gd name="T19" fmla="*/ 0 h 108"/>
                  <a:gd name="T20" fmla="*/ 146 w 298"/>
                  <a:gd name="T21" fmla="*/ 0 h 108"/>
                  <a:gd name="T22" fmla="*/ 146 w 298"/>
                  <a:gd name="T23" fmla="*/ 36 h 108"/>
                  <a:gd name="T24" fmla="*/ 89 w 298"/>
                  <a:gd name="T25" fmla="*/ 49 h 108"/>
                  <a:gd name="T26" fmla="*/ 71 w 298"/>
                  <a:gd name="T27" fmla="*/ 15 h 108"/>
                  <a:gd name="T28" fmla="*/ 62 w 298"/>
                  <a:gd name="T29" fmla="*/ 18 h 108"/>
                  <a:gd name="T30" fmla="*/ 69 w 298"/>
                  <a:gd name="T31" fmla="*/ 31 h 108"/>
                  <a:gd name="T32" fmla="*/ 18 w 298"/>
                  <a:gd name="T33" fmla="*/ 79 h 108"/>
                  <a:gd name="T34" fmla="*/ 6 w 298"/>
                  <a:gd name="T35" fmla="*/ 71 h 108"/>
                  <a:gd name="T36" fmla="*/ 0 w 298"/>
                  <a:gd name="T37" fmla="*/ 77 h 108"/>
                  <a:gd name="T38" fmla="*/ 34 w 298"/>
                  <a:gd name="T39" fmla="*/ 100 h 108"/>
                  <a:gd name="T40" fmla="*/ 33 w 298"/>
                  <a:gd name="T41" fmla="*/ 103 h 108"/>
                  <a:gd name="T42" fmla="*/ 44 w 298"/>
                  <a:gd name="T43" fmla="*/ 108 h 108"/>
                  <a:gd name="T44" fmla="*/ 150 w 298"/>
                  <a:gd name="T45" fmla="*/ 47 h 108"/>
                  <a:gd name="T46" fmla="*/ 257 w 298"/>
                  <a:gd name="T47" fmla="*/ 108 h 108"/>
                  <a:gd name="T48" fmla="*/ 268 w 298"/>
                  <a:gd name="T49" fmla="*/ 103 h 108"/>
                  <a:gd name="T50" fmla="*/ 266 w 298"/>
                  <a:gd name="T51" fmla="*/ 99 h 108"/>
                  <a:gd name="T52" fmla="*/ 298 w 298"/>
                  <a:gd name="T53" fmla="*/ 77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98" h="108">
                    <a:moveTo>
                      <a:pt x="298" y="77"/>
                    </a:moveTo>
                    <a:cubicBezTo>
                      <a:pt x="293" y="71"/>
                      <a:pt x="293" y="71"/>
                      <a:pt x="293" y="71"/>
                    </a:cubicBezTo>
                    <a:cubicBezTo>
                      <a:pt x="261" y="92"/>
                      <a:pt x="261" y="92"/>
                      <a:pt x="261" y="92"/>
                    </a:cubicBezTo>
                    <a:cubicBezTo>
                      <a:pt x="252" y="77"/>
                      <a:pt x="242" y="66"/>
                      <a:pt x="230" y="58"/>
                    </a:cubicBezTo>
                    <a:cubicBezTo>
                      <a:pt x="248" y="24"/>
                      <a:pt x="248" y="24"/>
                      <a:pt x="248" y="24"/>
                    </a:cubicBezTo>
                    <a:cubicBezTo>
                      <a:pt x="239" y="21"/>
                      <a:pt x="239" y="21"/>
                      <a:pt x="239" y="21"/>
                    </a:cubicBezTo>
                    <a:cubicBezTo>
                      <a:pt x="223" y="52"/>
                      <a:pt x="223" y="52"/>
                      <a:pt x="223" y="52"/>
                    </a:cubicBezTo>
                    <a:cubicBezTo>
                      <a:pt x="222" y="53"/>
                      <a:pt x="222" y="53"/>
                      <a:pt x="222" y="53"/>
                    </a:cubicBezTo>
                    <a:cubicBezTo>
                      <a:pt x="204" y="42"/>
                      <a:pt x="183" y="37"/>
                      <a:pt x="156" y="36"/>
                    </a:cubicBezTo>
                    <a:cubicBezTo>
                      <a:pt x="156" y="0"/>
                      <a:pt x="156" y="0"/>
                      <a:pt x="156" y="0"/>
                    </a:cubicBezTo>
                    <a:cubicBezTo>
                      <a:pt x="146" y="0"/>
                      <a:pt x="146" y="0"/>
                      <a:pt x="146" y="0"/>
                    </a:cubicBezTo>
                    <a:cubicBezTo>
                      <a:pt x="146" y="36"/>
                      <a:pt x="146" y="36"/>
                      <a:pt x="146" y="36"/>
                    </a:cubicBezTo>
                    <a:cubicBezTo>
                      <a:pt x="125" y="37"/>
                      <a:pt x="106" y="41"/>
                      <a:pt x="89" y="49"/>
                    </a:cubicBezTo>
                    <a:cubicBezTo>
                      <a:pt x="71" y="15"/>
                      <a:pt x="71" y="15"/>
                      <a:pt x="71" y="15"/>
                    </a:cubicBezTo>
                    <a:cubicBezTo>
                      <a:pt x="62" y="18"/>
                      <a:pt x="62" y="18"/>
                      <a:pt x="62" y="18"/>
                    </a:cubicBezTo>
                    <a:cubicBezTo>
                      <a:pt x="69" y="31"/>
                      <a:pt x="69" y="31"/>
                      <a:pt x="69" y="31"/>
                    </a:cubicBezTo>
                    <a:cubicBezTo>
                      <a:pt x="44" y="43"/>
                      <a:pt x="28" y="61"/>
                      <a:pt x="18" y="79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4" y="101"/>
                      <a:pt x="33" y="102"/>
                      <a:pt x="33" y="103"/>
                    </a:cubicBezTo>
                    <a:cubicBezTo>
                      <a:pt x="44" y="108"/>
                      <a:pt x="44" y="108"/>
                      <a:pt x="44" y="108"/>
                    </a:cubicBezTo>
                    <a:cubicBezTo>
                      <a:pt x="51" y="94"/>
                      <a:pt x="79" y="47"/>
                      <a:pt x="150" y="47"/>
                    </a:cubicBezTo>
                    <a:cubicBezTo>
                      <a:pt x="215" y="47"/>
                      <a:pt x="240" y="77"/>
                      <a:pt x="257" y="108"/>
                    </a:cubicBezTo>
                    <a:cubicBezTo>
                      <a:pt x="268" y="103"/>
                      <a:pt x="268" y="103"/>
                      <a:pt x="268" y="103"/>
                    </a:cubicBezTo>
                    <a:cubicBezTo>
                      <a:pt x="267" y="102"/>
                      <a:pt x="266" y="100"/>
                      <a:pt x="266" y="99"/>
                    </a:cubicBezTo>
                    <a:lnTo>
                      <a:pt x="298" y="7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5" name="Freeform 20"/>
              <p:cNvSpPr>
                <a:spLocks/>
              </p:cNvSpPr>
              <p:nvPr/>
            </p:nvSpPr>
            <p:spPr bwMode="auto">
              <a:xfrm>
                <a:off x="3893002" y="3166396"/>
                <a:ext cx="27656" cy="38643"/>
              </a:xfrm>
              <a:custGeom>
                <a:avLst/>
                <a:gdLst>
                  <a:gd name="T0" fmla="*/ 66 w 73"/>
                  <a:gd name="T1" fmla="*/ 57 h 102"/>
                  <a:gd name="T2" fmla="*/ 21 w 73"/>
                  <a:gd name="T3" fmla="*/ 57 h 102"/>
                  <a:gd name="T4" fmla="*/ 21 w 73"/>
                  <a:gd name="T5" fmla="*/ 85 h 102"/>
                  <a:gd name="T6" fmla="*/ 73 w 73"/>
                  <a:gd name="T7" fmla="*/ 85 h 102"/>
                  <a:gd name="T8" fmla="*/ 73 w 73"/>
                  <a:gd name="T9" fmla="*/ 102 h 102"/>
                  <a:gd name="T10" fmla="*/ 0 w 73"/>
                  <a:gd name="T11" fmla="*/ 102 h 102"/>
                  <a:gd name="T12" fmla="*/ 0 w 73"/>
                  <a:gd name="T13" fmla="*/ 0 h 102"/>
                  <a:gd name="T14" fmla="*/ 69 w 73"/>
                  <a:gd name="T15" fmla="*/ 0 h 102"/>
                  <a:gd name="T16" fmla="*/ 69 w 73"/>
                  <a:gd name="T17" fmla="*/ 14 h 102"/>
                  <a:gd name="T18" fmla="*/ 21 w 73"/>
                  <a:gd name="T19" fmla="*/ 14 h 102"/>
                  <a:gd name="T20" fmla="*/ 21 w 73"/>
                  <a:gd name="T21" fmla="*/ 40 h 102"/>
                  <a:gd name="T22" fmla="*/ 66 w 73"/>
                  <a:gd name="T23" fmla="*/ 40 h 102"/>
                  <a:gd name="T24" fmla="*/ 66 w 73"/>
                  <a:gd name="T25" fmla="*/ 5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3" h="102">
                    <a:moveTo>
                      <a:pt x="66" y="57"/>
                    </a:moveTo>
                    <a:lnTo>
                      <a:pt x="21" y="57"/>
                    </a:lnTo>
                    <a:lnTo>
                      <a:pt x="21" y="85"/>
                    </a:lnTo>
                    <a:lnTo>
                      <a:pt x="73" y="85"/>
                    </a:lnTo>
                    <a:lnTo>
                      <a:pt x="73" y="102"/>
                    </a:lnTo>
                    <a:lnTo>
                      <a:pt x="0" y="102"/>
                    </a:lnTo>
                    <a:lnTo>
                      <a:pt x="0" y="0"/>
                    </a:lnTo>
                    <a:lnTo>
                      <a:pt x="69" y="0"/>
                    </a:lnTo>
                    <a:lnTo>
                      <a:pt x="69" y="14"/>
                    </a:lnTo>
                    <a:lnTo>
                      <a:pt x="21" y="14"/>
                    </a:lnTo>
                    <a:lnTo>
                      <a:pt x="21" y="40"/>
                    </a:lnTo>
                    <a:lnTo>
                      <a:pt x="66" y="40"/>
                    </a:lnTo>
                    <a:lnTo>
                      <a:pt x="66" y="5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6" name="Freeform 21"/>
              <p:cNvSpPr>
                <a:spLocks/>
              </p:cNvSpPr>
              <p:nvPr/>
            </p:nvSpPr>
            <p:spPr bwMode="auto">
              <a:xfrm>
                <a:off x="4100614" y="3168290"/>
                <a:ext cx="26899" cy="38643"/>
              </a:xfrm>
              <a:custGeom>
                <a:avLst/>
                <a:gdLst>
                  <a:gd name="T0" fmla="*/ 0 w 71"/>
                  <a:gd name="T1" fmla="*/ 0 h 102"/>
                  <a:gd name="T2" fmla="*/ 71 w 71"/>
                  <a:gd name="T3" fmla="*/ 0 h 102"/>
                  <a:gd name="T4" fmla="*/ 71 w 71"/>
                  <a:gd name="T5" fmla="*/ 17 h 102"/>
                  <a:gd name="T6" fmla="*/ 24 w 71"/>
                  <a:gd name="T7" fmla="*/ 17 h 102"/>
                  <a:gd name="T8" fmla="*/ 24 w 71"/>
                  <a:gd name="T9" fmla="*/ 43 h 102"/>
                  <a:gd name="T10" fmla="*/ 66 w 71"/>
                  <a:gd name="T11" fmla="*/ 43 h 102"/>
                  <a:gd name="T12" fmla="*/ 66 w 71"/>
                  <a:gd name="T13" fmla="*/ 59 h 102"/>
                  <a:gd name="T14" fmla="*/ 24 w 71"/>
                  <a:gd name="T15" fmla="*/ 59 h 102"/>
                  <a:gd name="T16" fmla="*/ 24 w 71"/>
                  <a:gd name="T17" fmla="*/ 102 h 102"/>
                  <a:gd name="T18" fmla="*/ 0 w 71"/>
                  <a:gd name="T19" fmla="*/ 102 h 102"/>
                  <a:gd name="T20" fmla="*/ 0 w 71"/>
                  <a:gd name="T21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1" h="102">
                    <a:moveTo>
                      <a:pt x="0" y="0"/>
                    </a:moveTo>
                    <a:lnTo>
                      <a:pt x="71" y="0"/>
                    </a:lnTo>
                    <a:lnTo>
                      <a:pt x="71" y="17"/>
                    </a:lnTo>
                    <a:lnTo>
                      <a:pt x="24" y="17"/>
                    </a:lnTo>
                    <a:lnTo>
                      <a:pt x="24" y="43"/>
                    </a:lnTo>
                    <a:lnTo>
                      <a:pt x="66" y="43"/>
                    </a:lnTo>
                    <a:lnTo>
                      <a:pt x="66" y="59"/>
                    </a:lnTo>
                    <a:lnTo>
                      <a:pt x="24" y="59"/>
                    </a:lnTo>
                    <a:lnTo>
                      <a:pt x="24" y="102"/>
                    </a:lnTo>
                    <a:lnTo>
                      <a:pt x="0" y="10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7" name="Freeform 22"/>
              <p:cNvSpPr>
                <a:spLocks/>
              </p:cNvSpPr>
              <p:nvPr/>
            </p:nvSpPr>
            <p:spPr bwMode="auto">
              <a:xfrm>
                <a:off x="3986958" y="3110325"/>
                <a:ext cx="132599" cy="131463"/>
              </a:xfrm>
              <a:custGeom>
                <a:avLst/>
                <a:gdLst>
                  <a:gd name="T0" fmla="*/ 148 w 148"/>
                  <a:gd name="T1" fmla="*/ 0 h 147"/>
                  <a:gd name="T2" fmla="*/ 148 w 148"/>
                  <a:gd name="T3" fmla="*/ 0 h 147"/>
                  <a:gd name="T4" fmla="*/ 148 w 148"/>
                  <a:gd name="T5" fmla="*/ 0 h 147"/>
                  <a:gd name="T6" fmla="*/ 116 w 148"/>
                  <a:gd name="T7" fmla="*/ 16 h 147"/>
                  <a:gd name="T8" fmla="*/ 22 w 148"/>
                  <a:gd name="T9" fmla="*/ 115 h 147"/>
                  <a:gd name="T10" fmla="*/ 6 w 148"/>
                  <a:gd name="T11" fmla="*/ 120 h 147"/>
                  <a:gd name="T12" fmla="*/ 8 w 148"/>
                  <a:gd name="T13" fmla="*/ 142 h 147"/>
                  <a:gd name="T14" fmla="*/ 30 w 148"/>
                  <a:gd name="T15" fmla="*/ 140 h 147"/>
                  <a:gd name="T16" fmla="*/ 31 w 148"/>
                  <a:gd name="T17" fmla="*/ 122 h 147"/>
                  <a:gd name="T18" fmla="*/ 129 w 148"/>
                  <a:gd name="T19" fmla="*/ 34 h 147"/>
                  <a:gd name="T20" fmla="*/ 148 w 148"/>
                  <a:gd name="T21" fmla="*/ 0 h 147"/>
                  <a:gd name="T22" fmla="*/ 148 w 148"/>
                  <a:gd name="T23" fmla="*/ 0 h 147"/>
                  <a:gd name="T24" fmla="*/ 148 w 148"/>
                  <a:gd name="T25" fmla="*/ 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" h="147">
                    <a:moveTo>
                      <a:pt x="148" y="0"/>
                    </a:moveTo>
                    <a:cubicBezTo>
                      <a:pt x="148" y="0"/>
                      <a:pt x="148" y="0"/>
                      <a:pt x="148" y="0"/>
                    </a:cubicBezTo>
                    <a:cubicBezTo>
                      <a:pt x="148" y="0"/>
                      <a:pt x="148" y="0"/>
                      <a:pt x="148" y="0"/>
                    </a:cubicBezTo>
                    <a:cubicBezTo>
                      <a:pt x="139" y="5"/>
                      <a:pt x="125" y="12"/>
                      <a:pt x="116" y="16"/>
                    </a:cubicBezTo>
                    <a:cubicBezTo>
                      <a:pt x="104" y="29"/>
                      <a:pt x="51" y="85"/>
                      <a:pt x="22" y="115"/>
                    </a:cubicBezTo>
                    <a:cubicBezTo>
                      <a:pt x="16" y="114"/>
                      <a:pt x="10" y="115"/>
                      <a:pt x="6" y="120"/>
                    </a:cubicBezTo>
                    <a:cubicBezTo>
                      <a:pt x="0" y="126"/>
                      <a:pt x="1" y="136"/>
                      <a:pt x="8" y="142"/>
                    </a:cubicBezTo>
                    <a:cubicBezTo>
                      <a:pt x="14" y="147"/>
                      <a:pt x="24" y="147"/>
                      <a:pt x="30" y="140"/>
                    </a:cubicBezTo>
                    <a:cubicBezTo>
                      <a:pt x="34" y="135"/>
                      <a:pt x="35" y="128"/>
                      <a:pt x="31" y="122"/>
                    </a:cubicBezTo>
                    <a:cubicBezTo>
                      <a:pt x="62" y="93"/>
                      <a:pt x="116" y="45"/>
                      <a:pt x="129" y="34"/>
                    </a:cubicBezTo>
                    <a:cubicBezTo>
                      <a:pt x="134" y="24"/>
                      <a:pt x="142" y="10"/>
                      <a:pt x="148" y="0"/>
                    </a:cubicBezTo>
                    <a:cubicBezTo>
                      <a:pt x="148" y="0"/>
                      <a:pt x="148" y="0"/>
                      <a:pt x="148" y="0"/>
                    </a:cubicBezTo>
                    <a:cubicBezTo>
                      <a:pt x="148" y="0"/>
                      <a:pt x="148" y="0"/>
                      <a:pt x="14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60" name="Freeform 60"/>
            <p:cNvSpPr>
              <a:spLocks noEditPoints="1"/>
            </p:cNvSpPr>
            <p:nvPr/>
          </p:nvSpPr>
          <p:spPr bwMode="auto">
            <a:xfrm flipH="1">
              <a:off x="225652" y="88909"/>
              <a:ext cx="369839" cy="365160"/>
            </a:xfrm>
            <a:custGeom>
              <a:avLst/>
              <a:gdLst>
                <a:gd name="T0" fmla="*/ 246 w 249"/>
                <a:gd name="T1" fmla="*/ 145 h 245"/>
                <a:gd name="T2" fmla="*/ 214 w 249"/>
                <a:gd name="T3" fmla="*/ 89 h 245"/>
                <a:gd name="T4" fmla="*/ 214 w 249"/>
                <a:gd name="T5" fmla="*/ 89 h 245"/>
                <a:gd name="T6" fmla="*/ 211 w 249"/>
                <a:gd name="T7" fmla="*/ 84 h 245"/>
                <a:gd name="T8" fmla="*/ 211 w 249"/>
                <a:gd name="T9" fmla="*/ 84 h 245"/>
                <a:gd name="T10" fmla="*/ 165 w 249"/>
                <a:gd name="T11" fmla="*/ 39 h 245"/>
                <a:gd name="T12" fmla="*/ 164 w 249"/>
                <a:gd name="T13" fmla="*/ 39 h 245"/>
                <a:gd name="T14" fmla="*/ 164 w 249"/>
                <a:gd name="T15" fmla="*/ 15 h 245"/>
                <a:gd name="T16" fmla="*/ 149 w 249"/>
                <a:gd name="T17" fmla="*/ 0 h 245"/>
                <a:gd name="T18" fmla="*/ 16 w 249"/>
                <a:gd name="T19" fmla="*/ 0 h 245"/>
                <a:gd name="T20" fmla="*/ 0 w 249"/>
                <a:gd name="T21" fmla="*/ 15 h 245"/>
                <a:gd name="T22" fmla="*/ 0 w 249"/>
                <a:gd name="T23" fmla="*/ 229 h 245"/>
                <a:gd name="T24" fmla="*/ 16 w 249"/>
                <a:gd name="T25" fmla="*/ 245 h 245"/>
                <a:gd name="T26" fmla="*/ 149 w 249"/>
                <a:gd name="T27" fmla="*/ 245 h 245"/>
                <a:gd name="T28" fmla="*/ 164 w 249"/>
                <a:gd name="T29" fmla="*/ 229 h 245"/>
                <a:gd name="T30" fmla="*/ 164 w 249"/>
                <a:gd name="T31" fmla="*/ 143 h 245"/>
                <a:gd name="T32" fmla="*/ 168 w 249"/>
                <a:gd name="T33" fmla="*/ 148 h 245"/>
                <a:gd name="T34" fmla="*/ 175 w 249"/>
                <a:gd name="T35" fmla="*/ 187 h 245"/>
                <a:gd name="T36" fmla="*/ 191 w 249"/>
                <a:gd name="T37" fmla="*/ 227 h 245"/>
                <a:gd name="T38" fmla="*/ 216 w 249"/>
                <a:gd name="T39" fmla="*/ 238 h 245"/>
                <a:gd name="T40" fmla="*/ 216 w 249"/>
                <a:gd name="T41" fmla="*/ 238 h 245"/>
                <a:gd name="T42" fmla="*/ 233 w 249"/>
                <a:gd name="T43" fmla="*/ 230 h 245"/>
                <a:gd name="T44" fmla="*/ 249 w 249"/>
                <a:gd name="T45" fmla="*/ 172 h 245"/>
                <a:gd name="T46" fmla="*/ 246 w 249"/>
                <a:gd name="T47" fmla="*/ 145 h 245"/>
                <a:gd name="T48" fmla="*/ 140 w 249"/>
                <a:gd name="T49" fmla="*/ 93 h 245"/>
                <a:gd name="T50" fmla="*/ 124 w 249"/>
                <a:gd name="T51" fmla="*/ 108 h 245"/>
                <a:gd name="T52" fmla="*/ 41 w 249"/>
                <a:gd name="T53" fmla="*/ 108 h 245"/>
                <a:gd name="T54" fmla="*/ 25 w 249"/>
                <a:gd name="T55" fmla="*/ 93 h 245"/>
                <a:gd name="T56" fmla="*/ 25 w 249"/>
                <a:gd name="T57" fmla="*/ 40 h 245"/>
                <a:gd name="T58" fmla="*/ 41 w 249"/>
                <a:gd name="T59" fmla="*/ 25 h 245"/>
                <a:gd name="T60" fmla="*/ 124 w 249"/>
                <a:gd name="T61" fmla="*/ 25 h 245"/>
                <a:gd name="T62" fmla="*/ 140 w 249"/>
                <a:gd name="T63" fmla="*/ 40 h 245"/>
                <a:gd name="T64" fmla="*/ 140 w 249"/>
                <a:gd name="T65" fmla="*/ 93 h 245"/>
                <a:gd name="T66" fmla="*/ 204 w 249"/>
                <a:gd name="T67" fmla="*/ 90 h 245"/>
                <a:gd name="T68" fmla="*/ 204 w 249"/>
                <a:gd name="T69" fmla="*/ 90 h 245"/>
                <a:gd name="T70" fmla="*/ 205 w 249"/>
                <a:gd name="T71" fmla="*/ 92 h 245"/>
                <a:gd name="T72" fmla="*/ 203 w 249"/>
                <a:gd name="T73" fmla="*/ 97 h 245"/>
                <a:gd name="T74" fmla="*/ 201 w 249"/>
                <a:gd name="T75" fmla="*/ 98 h 245"/>
                <a:gd name="T76" fmla="*/ 189 w 249"/>
                <a:gd name="T77" fmla="*/ 91 h 245"/>
                <a:gd name="T78" fmla="*/ 183 w 249"/>
                <a:gd name="T79" fmla="*/ 76 h 245"/>
                <a:gd name="T80" fmla="*/ 182 w 249"/>
                <a:gd name="T81" fmla="*/ 69 h 245"/>
                <a:gd name="T82" fmla="*/ 204 w 249"/>
                <a:gd name="T83" fmla="*/ 90 h 245"/>
                <a:gd name="T84" fmla="*/ 231 w 249"/>
                <a:gd name="T85" fmla="*/ 210 h 245"/>
                <a:gd name="T86" fmla="*/ 224 w 249"/>
                <a:gd name="T87" fmla="*/ 222 h 245"/>
                <a:gd name="T88" fmla="*/ 216 w 249"/>
                <a:gd name="T89" fmla="*/ 225 h 245"/>
                <a:gd name="T90" fmla="*/ 199 w 249"/>
                <a:gd name="T91" fmla="*/ 217 h 245"/>
                <a:gd name="T92" fmla="*/ 189 w 249"/>
                <a:gd name="T93" fmla="*/ 199 h 245"/>
                <a:gd name="T94" fmla="*/ 183 w 249"/>
                <a:gd name="T95" fmla="*/ 156 h 245"/>
                <a:gd name="T96" fmla="*/ 175 w 249"/>
                <a:gd name="T97" fmla="*/ 137 h 245"/>
                <a:gd name="T98" fmla="*/ 164 w 249"/>
                <a:gd name="T99" fmla="*/ 129 h 245"/>
                <a:gd name="T100" fmla="*/ 164 w 249"/>
                <a:gd name="T101" fmla="*/ 52 h 245"/>
                <a:gd name="T102" fmla="*/ 173 w 249"/>
                <a:gd name="T103" fmla="*/ 60 h 245"/>
                <a:gd name="T104" fmla="*/ 172 w 249"/>
                <a:gd name="T105" fmla="*/ 66 h 245"/>
                <a:gd name="T106" fmla="*/ 173 w 249"/>
                <a:gd name="T107" fmla="*/ 68 h 245"/>
                <a:gd name="T108" fmla="*/ 174 w 249"/>
                <a:gd name="T109" fmla="*/ 78 h 245"/>
                <a:gd name="T110" fmla="*/ 182 w 249"/>
                <a:gd name="T111" fmla="*/ 98 h 245"/>
                <a:gd name="T112" fmla="*/ 201 w 249"/>
                <a:gd name="T113" fmla="*/ 108 h 245"/>
                <a:gd name="T114" fmla="*/ 201 w 249"/>
                <a:gd name="T115" fmla="*/ 108 h 245"/>
                <a:gd name="T116" fmla="*/ 210 w 249"/>
                <a:gd name="T117" fmla="*/ 104 h 245"/>
                <a:gd name="T118" fmla="*/ 210 w 249"/>
                <a:gd name="T119" fmla="*/ 104 h 245"/>
                <a:gd name="T120" fmla="*/ 234 w 249"/>
                <a:gd name="T121" fmla="*/ 148 h 245"/>
                <a:gd name="T122" fmla="*/ 236 w 249"/>
                <a:gd name="T123" fmla="*/ 172 h 245"/>
                <a:gd name="T124" fmla="*/ 231 w 249"/>
                <a:gd name="T125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9" h="245">
                  <a:moveTo>
                    <a:pt x="246" y="145"/>
                  </a:moveTo>
                  <a:cubicBezTo>
                    <a:pt x="239" y="124"/>
                    <a:pt x="227" y="105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7"/>
                    <a:pt x="213" y="85"/>
                    <a:pt x="211" y="84"/>
                  </a:cubicBezTo>
                  <a:cubicBezTo>
                    <a:pt x="211" y="84"/>
                    <a:pt x="211" y="84"/>
                    <a:pt x="211" y="84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4" y="39"/>
                    <a:pt x="164" y="39"/>
                  </a:cubicBezTo>
                  <a:cubicBezTo>
                    <a:pt x="164" y="15"/>
                    <a:pt x="164" y="15"/>
                    <a:pt x="164" y="15"/>
                  </a:cubicBezTo>
                  <a:cubicBezTo>
                    <a:pt x="164" y="7"/>
                    <a:pt x="158" y="0"/>
                    <a:pt x="14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0" y="238"/>
                    <a:pt x="7" y="245"/>
                    <a:pt x="16" y="245"/>
                  </a:cubicBezTo>
                  <a:cubicBezTo>
                    <a:pt x="149" y="245"/>
                    <a:pt x="149" y="245"/>
                    <a:pt x="149" y="245"/>
                  </a:cubicBezTo>
                  <a:cubicBezTo>
                    <a:pt x="158" y="245"/>
                    <a:pt x="164" y="238"/>
                    <a:pt x="164" y="229"/>
                  </a:cubicBezTo>
                  <a:cubicBezTo>
                    <a:pt x="164" y="143"/>
                    <a:pt x="164" y="143"/>
                    <a:pt x="164" y="143"/>
                  </a:cubicBezTo>
                  <a:cubicBezTo>
                    <a:pt x="166" y="144"/>
                    <a:pt x="167" y="146"/>
                    <a:pt x="168" y="148"/>
                  </a:cubicBezTo>
                  <a:cubicBezTo>
                    <a:pt x="172" y="157"/>
                    <a:pt x="173" y="172"/>
                    <a:pt x="175" y="187"/>
                  </a:cubicBezTo>
                  <a:cubicBezTo>
                    <a:pt x="177" y="201"/>
                    <a:pt x="179" y="217"/>
                    <a:pt x="191" y="227"/>
                  </a:cubicBezTo>
                  <a:cubicBezTo>
                    <a:pt x="200" y="234"/>
                    <a:pt x="208" y="238"/>
                    <a:pt x="216" y="238"/>
                  </a:cubicBezTo>
                  <a:cubicBezTo>
                    <a:pt x="216" y="238"/>
                    <a:pt x="216" y="238"/>
                    <a:pt x="216" y="238"/>
                  </a:cubicBezTo>
                  <a:cubicBezTo>
                    <a:pt x="222" y="238"/>
                    <a:pt x="228" y="235"/>
                    <a:pt x="233" y="230"/>
                  </a:cubicBezTo>
                  <a:cubicBezTo>
                    <a:pt x="245" y="217"/>
                    <a:pt x="248" y="193"/>
                    <a:pt x="249" y="172"/>
                  </a:cubicBezTo>
                  <a:cubicBezTo>
                    <a:pt x="249" y="161"/>
                    <a:pt x="248" y="152"/>
                    <a:pt x="246" y="145"/>
                  </a:cubicBezTo>
                  <a:close/>
                  <a:moveTo>
                    <a:pt x="140" y="93"/>
                  </a:moveTo>
                  <a:cubicBezTo>
                    <a:pt x="140" y="101"/>
                    <a:pt x="133" y="108"/>
                    <a:pt x="124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32" y="108"/>
                    <a:pt x="25" y="101"/>
                    <a:pt x="25" y="93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32"/>
                    <a:pt x="32" y="25"/>
                    <a:pt x="41" y="25"/>
                  </a:cubicBezTo>
                  <a:cubicBezTo>
                    <a:pt x="124" y="25"/>
                    <a:pt x="124" y="25"/>
                    <a:pt x="124" y="25"/>
                  </a:cubicBezTo>
                  <a:cubicBezTo>
                    <a:pt x="133" y="25"/>
                    <a:pt x="140" y="32"/>
                    <a:pt x="140" y="40"/>
                  </a:cubicBezTo>
                  <a:lnTo>
                    <a:pt x="140" y="93"/>
                  </a:lnTo>
                  <a:close/>
                  <a:moveTo>
                    <a:pt x="204" y="90"/>
                  </a:moveTo>
                  <a:cubicBezTo>
                    <a:pt x="204" y="90"/>
                    <a:pt x="204" y="90"/>
                    <a:pt x="204" y="90"/>
                  </a:cubicBezTo>
                  <a:cubicBezTo>
                    <a:pt x="205" y="91"/>
                    <a:pt x="205" y="91"/>
                    <a:pt x="205" y="92"/>
                  </a:cubicBezTo>
                  <a:cubicBezTo>
                    <a:pt x="205" y="94"/>
                    <a:pt x="204" y="97"/>
                    <a:pt x="203" y="97"/>
                  </a:cubicBezTo>
                  <a:cubicBezTo>
                    <a:pt x="203" y="98"/>
                    <a:pt x="202" y="98"/>
                    <a:pt x="201" y="98"/>
                  </a:cubicBezTo>
                  <a:cubicBezTo>
                    <a:pt x="198" y="99"/>
                    <a:pt x="192" y="94"/>
                    <a:pt x="189" y="91"/>
                  </a:cubicBezTo>
                  <a:cubicBezTo>
                    <a:pt x="186" y="88"/>
                    <a:pt x="184" y="82"/>
                    <a:pt x="183" y="76"/>
                  </a:cubicBezTo>
                  <a:cubicBezTo>
                    <a:pt x="183" y="74"/>
                    <a:pt x="182" y="71"/>
                    <a:pt x="182" y="69"/>
                  </a:cubicBezTo>
                  <a:lnTo>
                    <a:pt x="204" y="90"/>
                  </a:lnTo>
                  <a:close/>
                  <a:moveTo>
                    <a:pt x="231" y="210"/>
                  </a:moveTo>
                  <a:cubicBezTo>
                    <a:pt x="229" y="215"/>
                    <a:pt x="226" y="219"/>
                    <a:pt x="224" y="222"/>
                  </a:cubicBezTo>
                  <a:cubicBezTo>
                    <a:pt x="221" y="224"/>
                    <a:pt x="219" y="225"/>
                    <a:pt x="216" y="225"/>
                  </a:cubicBezTo>
                  <a:cubicBezTo>
                    <a:pt x="212" y="225"/>
                    <a:pt x="206" y="223"/>
                    <a:pt x="199" y="217"/>
                  </a:cubicBezTo>
                  <a:cubicBezTo>
                    <a:pt x="194" y="214"/>
                    <a:pt x="191" y="207"/>
                    <a:pt x="189" y="199"/>
                  </a:cubicBezTo>
                  <a:cubicBezTo>
                    <a:pt x="186" y="186"/>
                    <a:pt x="186" y="170"/>
                    <a:pt x="183" y="156"/>
                  </a:cubicBezTo>
                  <a:cubicBezTo>
                    <a:pt x="182" y="149"/>
                    <a:pt x="179" y="143"/>
                    <a:pt x="175" y="137"/>
                  </a:cubicBezTo>
                  <a:cubicBezTo>
                    <a:pt x="173" y="133"/>
                    <a:pt x="169" y="130"/>
                    <a:pt x="164" y="129"/>
                  </a:cubicBezTo>
                  <a:cubicBezTo>
                    <a:pt x="164" y="52"/>
                    <a:pt x="164" y="52"/>
                    <a:pt x="164" y="52"/>
                  </a:cubicBezTo>
                  <a:cubicBezTo>
                    <a:pt x="173" y="60"/>
                    <a:pt x="173" y="60"/>
                    <a:pt x="173" y="60"/>
                  </a:cubicBezTo>
                  <a:cubicBezTo>
                    <a:pt x="173" y="62"/>
                    <a:pt x="172" y="63"/>
                    <a:pt x="172" y="66"/>
                  </a:cubicBezTo>
                  <a:cubicBezTo>
                    <a:pt x="172" y="67"/>
                    <a:pt x="172" y="67"/>
                    <a:pt x="173" y="68"/>
                  </a:cubicBezTo>
                  <a:cubicBezTo>
                    <a:pt x="173" y="72"/>
                    <a:pt x="173" y="75"/>
                    <a:pt x="174" y="78"/>
                  </a:cubicBezTo>
                  <a:cubicBezTo>
                    <a:pt x="175" y="85"/>
                    <a:pt x="177" y="92"/>
                    <a:pt x="182" y="98"/>
                  </a:cubicBezTo>
                  <a:cubicBezTo>
                    <a:pt x="186" y="102"/>
                    <a:pt x="193" y="107"/>
                    <a:pt x="201" y="108"/>
                  </a:cubicBezTo>
                  <a:cubicBezTo>
                    <a:pt x="201" y="108"/>
                    <a:pt x="201" y="108"/>
                    <a:pt x="201" y="108"/>
                  </a:cubicBezTo>
                  <a:cubicBezTo>
                    <a:pt x="204" y="108"/>
                    <a:pt x="207" y="106"/>
                    <a:pt x="210" y="104"/>
                  </a:cubicBezTo>
                  <a:cubicBezTo>
                    <a:pt x="210" y="104"/>
                    <a:pt x="210" y="104"/>
                    <a:pt x="210" y="104"/>
                  </a:cubicBezTo>
                  <a:cubicBezTo>
                    <a:pt x="220" y="117"/>
                    <a:pt x="229" y="133"/>
                    <a:pt x="234" y="148"/>
                  </a:cubicBezTo>
                  <a:cubicBezTo>
                    <a:pt x="235" y="153"/>
                    <a:pt x="236" y="162"/>
                    <a:pt x="236" y="172"/>
                  </a:cubicBezTo>
                  <a:cubicBezTo>
                    <a:pt x="236" y="185"/>
                    <a:pt x="234" y="199"/>
                    <a:pt x="231" y="210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1" name="Freeform 60"/>
            <p:cNvSpPr>
              <a:spLocks noEditPoints="1"/>
            </p:cNvSpPr>
            <p:nvPr/>
          </p:nvSpPr>
          <p:spPr bwMode="auto">
            <a:xfrm flipH="1">
              <a:off x="-312442" y="1035150"/>
              <a:ext cx="326983" cy="320706"/>
            </a:xfrm>
            <a:custGeom>
              <a:avLst/>
              <a:gdLst>
                <a:gd name="T0" fmla="*/ 246 w 249"/>
                <a:gd name="T1" fmla="*/ 145 h 245"/>
                <a:gd name="T2" fmla="*/ 214 w 249"/>
                <a:gd name="T3" fmla="*/ 89 h 245"/>
                <a:gd name="T4" fmla="*/ 214 w 249"/>
                <a:gd name="T5" fmla="*/ 89 h 245"/>
                <a:gd name="T6" fmla="*/ 211 w 249"/>
                <a:gd name="T7" fmla="*/ 84 h 245"/>
                <a:gd name="T8" fmla="*/ 211 w 249"/>
                <a:gd name="T9" fmla="*/ 84 h 245"/>
                <a:gd name="T10" fmla="*/ 165 w 249"/>
                <a:gd name="T11" fmla="*/ 39 h 245"/>
                <a:gd name="T12" fmla="*/ 164 w 249"/>
                <a:gd name="T13" fmla="*/ 39 h 245"/>
                <a:gd name="T14" fmla="*/ 164 w 249"/>
                <a:gd name="T15" fmla="*/ 15 h 245"/>
                <a:gd name="T16" fmla="*/ 149 w 249"/>
                <a:gd name="T17" fmla="*/ 0 h 245"/>
                <a:gd name="T18" fmla="*/ 16 w 249"/>
                <a:gd name="T19" fmla="*/ 0 h 245"/>
                <a:gd name="T20" fmla="*/ 0 w 249"/>
                <a:gd name="T21" fmla="*/ 15 h 245"/>
                <a:gd name="T22" fmla="*/ 0 w 249"/>
                <a:gd name="T23" fmla="*/ 229 h 245"/>
                <a:gd name="T24" fmla="*/ 16 w 249"/>
                <a:gd name="T25" fmla="*/ 245 h 245"/>
                <a:gd name="T26" fmla="*/ 149 w 249"/>
                <a:gd name="T27" fmla="*/ 245 h 245"/>
                <a:gd name="T28" fmla="*/ 164 w 249"/>
                <a:gd name="T29" fmla="*/ 229 h 245"/>
                <a:gd name="T30" fmla="*/ 164 w 249"/>
                <a:gd name="T31" fmla="*/ 143 h 245"/>
                <a:gd name="T32" fmla="*/ 168 w 249"/>
                <a:gd name="T33" fmla="*/ 148 h 245"/>
                <a:gd name="T34" fmla="*/ 175 w 249"/>
                <a:gd name="T35" fmla="*/ 187 h 245"/>
                <a:gd name="T36" fmla="*/ 191 w 249"/>
                <a:gd name="T37" fmla="*/ 227 h 245"/>
                <a:gd name="T38" fmla="*/ 216 w 249"/>
                <a:gd name="T39" fmla="*/ 238 h 245"/>
                <a:gd name="T40" fmla="*/ 216 w 249"/>
                <a:gd name="T41" fmla="*/ 238 h 245"/>
                <a:gd name="T42" fmla="*/ 233 w 249"/>
                <a:gd name="T43" fmla="*/ 230 h 245"/>
                <a:gd name="T44" fmla="*/ 249 w 249"/>
                <a:gd name="T45" fmla="*/ 172 h 245"/>
                <a:gd name="T46" fmla="*/ 246 w 249"/>
                <a:gd name="T47" fmla="*/ 145 h 245"/>
                <a:gd name="T48" fmla="*/ 140 w 249"/>
                <a:gd name="T49" fmla="*/ 93 h 245"/>
                <a:gd name="T50" fmla="*/ 124 w 249"/>
                <a:gd name="T51" fmla="*/ 108 h 245"/>
                <a:gd name="T52" fmla="*/ 41 w 249"/>
                <a:gd name="T53" fmla="*/ 108 h 245"/>
                <a:gd name="T54" fmla="*/ 25 w 249"/>
                <a:gd name="T55" fmla="*/ 93 h 245"/>
                <a:gd name="T56" fmla="*/ 25 w 249"/>
                <a:gd name="T57" fmla="*/ 40 h 245"/>
                <a:gd name="T58" fmla="*/ 41 w 249"/>
                <a:gd name="T59" fmla="*/ 25 h 245"/>
                <a:gd name="T60" fmla="*/ 124 w 249"/>
                <a:gd name="T61" fmla="*/ 25 h 245"/>
                <a:gd name="T62" fmla="*/ 140 w 249"/>
                <a:gd name="T63" fmla="*/ 40 h 245"/>
                <a:gd name="T64" fmla="*/ 140 w 249"/>
                <a:gd name="T65" fmla="*/ 93 h 245"/>
                <a:gd name="T66" fmla="*/ 204 w 249"/>
                <a:gd name="T67" fmla="*/ 90 h 245"/>
                <a:gd name="T68" fmla="*/ 204 w 249"/>
                <a:gd name="T69" fmla="*/ 90 h 245"/>
                <a:gd name="T70" fmla="*/ 205 w 249"/>
                <a:gd name="T71" fmla="*/ 92 h 245"/>
                <a:gd name="T72" fmla="*/ 203 w 249"/>
                <a:gd name="T73" fmla="*/ 97 h 245"/>
                <a:gd name="T74" fmla="*/ 201 w 249"/>
                <a:gd name="T75" fmla="*/ 98 h 245"/>
                <a:gd name="T76" fmla="*/ 189 w 249"/>
                <a:gd name="T77" fmla="*/ 91 h 245"/>
                <a:gd name="T78" fmla="*/ 183 w 249"/>
                <a:gd name="T79" fmla="*/ 76 h 245"/>
                <a:gd name="T80" fmla="*/ 182 w 249"/>
                <a:gd name="T81" fmla="*/ 69 h 245"/>
                <a:gd name="T82" fmla="*/ 204 w 249"/>
                <a:gd name="T83" fmla="*/ 90 h 245"/>
                <a:gd name="T84" fmla="*/ 231 w 249"/>
                <a:gd name="T85" fmla="*/ 210 h 245"/>
                <a:gd name="T86" fmla="*/ 224 w 249"/>
                <a:gd name="T87" fmla="*/ 222 h 245"/>
                <a:gd name="T88" fmla="*/ 216 w 249"/>
                <a:gd name="T89" fmla="*/ 225 h 245"/>
                <a:gd name="T90" fmla="*/ 199 w 249"/>
                <a:gd name="T91" fmla="*/ 217 h 245"/>
                <a:gd name="T92" fmla="*/ 189 w 249"/>
                <a:gd name="T93" fmla="*/ 199 h 245"/>
                <a:gd name="T94" fmla="*/ 183 w 249"/>
                <a:gd name="T95" fmla="*/ 156 h 245"/>
                <a:gd name="T96" fmla="*/ 175 w 249"/>
                <a:gd name="T97" fmla="*/ 137 h 245"/>
                <a:gd name="T98" fmla="*/ 164 w 249"/>
                <a:gd name="T99" fmla="*/ 129 h 245"/>
                <a:gd name="T100" fmla="*/ 164 w 249"/>
                <a:gd name="T101" fmla="*/ 52 h 245"/>
                <a:gd name="T102" fmla="*/ 173 w 249"/>
                <a:gd name="T103" fmla="*/ 60 h 245"/>
                <a:gd name="T104" fmla="*/ 172 w 249"/>
                <a:gd name="T105" fmla="*/ 66 h 245"/>
                <a:gd name="T106" fmla="*/ 173 w 249"/>
                <a:gd name="T107" fmla="*/ 68 h 245"/>
                <a:gd name="T108" fmla="*/ 174 w 249"/>
                <a:gd name="T109" fmla="*/ 78 h 245"/>
                <a:gd name="T110" fmla="*/ 182 w 249"/>
                <a:gd name="T111" fmla="*/ 98 h 245"/>
                <a:gd name="T112" fmla="*/ 201 w 249"/>
                <a:gd name="T113" fmla="*/ 108 h 245"/>
                <a:gd name="T114" fmla="*/ 201 w 249"/>
                <a:gd name="T115" fmla="*/ 108 h 245"/>
                <a:gd name="T116" fmla="*/ 210 w 249"/>
                <a:gd name="T117" fmla="*/ 104 h 245"/>
                <a:gd name="T118" fmla="*/ 210 w 249"/>
                <a:gd name="T119" fmla="*/ 104 h 245"/>
                <a:gd name="T120" fmla="*/ 234 w 249"/>
                <a:gd name="T121" fmla="*/ 148 h 245"/>
                <a:gd name="T122" fmla="*/ 236 w 249"/>
                <a:gd name="T123" fmla="*/ 172 h 245"/>
                <a:gd name="T124" fmla="*/ 231 w 249"/>
                <a:gd name="T125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9" h="245">
                  <a:moveTo>
                    <a:pt x="246" y="145"/>
                  </a:moveTo>
                  <a:cubicBezTo>
                    <a:pt x="239" y="124"/>
                    <a:pt x="227" y="105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7"/>
                    <a:pt x="213" y="85"/>
                    <a:pt x="211" y="84"/>
                  </a:cubicBezTo>
                  <a:cubicBezTo>
                    <a:pt x="211" y="84"/>
                    <a:pt x="211" y="84"/>
                    <a:pt x="211" y="84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4" y="39"/>
                    <a:pt x="164" y="39"/>
                  </a:cubicBezTo>
                  <a:cubicBezTo>
                    <a:pt x="164" y="15"/>
                    <a:pt x="164" y="15"/>
                    <a:pt x="164" y="15"/>
                  </a:cubicBezTo>
                  <a:cubicBezTo>
                    <a:pt x="164" y="7"/>
                    <a:pt x="158" y="0"/>
                    <a:pt x="14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0" y="238"/>
                    <a:pt x="7" y="245"/>
                    <a:pt x="16" y="245"/>
                  </a:cubicBezTo>
                  <a:cubicBezTo>
                    <a:pt x="149" y="245"/>
                    <a:pt x="149" y="245"/>
                    <a:pt x="149" y="245"/>
                  </a:cubicBezTo>
                  <a:cubicBezTo>
                    <a:pt x="158" y="245"/>
                    <a:pt x="164" y="238"/>
                    <a:pt x="164" y="229"/>
                  </a:cubicBezTo>
                  <a:cubicBezTo>
                    <a:pt x="164" y="143"/>
                    <a:pt x="164" y="143"/>
                    <a:pt x="164" y="143"/>
                  </a:cubicBezTo>
                  <a:cubicBezTo>
                    <a:pt x="166" y="144"/>
                    <a:pt x="167" y="146"/>
                    <a:pt x="168" y="148"/>
                  </a:cubicBezTo>
                  <a:cubicBezTo>
                    <a:pt x="172" y="157"/>
                    <a:pt x="173" y="172"/>
                    <a:pt x="175" y="187"/>
                  </a:cubicBezTo>
                  <a:cubicBezTo>
                    <a:pt x="177" y="201"/>
                    <a:pt x="179" y="217"/>
                    <a:pt x="191" y="227"/>
                  </a:cubicBezTo>
                  <a:cubicBezTo>
                    <a:pt x="200" y="234"/>
                    <a:pt x="208" y="238"/>
                    <a:pt x="216" y="238"/>
                  </a:cubicBezTo>
                  <a:cubicBezTo>
                    <a:pt x="216" y="238"/>
                    <a:pt x="216" y="238"/>
                    <a:pt x="216" y="238"/>
                  </a:cubicBezTo>
                  <a:cubicBezTo>
                    <a:pt x="222" y="238"/>
                    <a:pt x="228" y="235"/>
                    <a:pt x="233" y="230"/>
                  </a:cubicBezTo>
                  <a:cubicBezTo>
                    <a:pt x="245" y="217"/>
                    <a:pt x="248" y="193"/>
                    <a:pt x="249" y="172"/>
                  </a:cubicBezTo>
                  <a:cubicBezTo>
                    <a:pt x="249" y="161"/>
                    <a:pt x="248" y="152"/>
                    <a:pt x="246" y="145"/>
                  </a:cubicBezTo>
                  <a:close/>
                  <a:moveTo>
                    <a:pt x="140" y="93"/>
                  </a:moveTo>
                  <a:cubicBezTo>
                    <a:pt x="140" y="101"/>
                    <a:pt x="133" y="108"/>
                    <a:pt x="124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32" y="108"/>
                    <a:pt x="25" y="101"/>
                    <a:pt x="25" y="93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32"/>
                    <a:pt x="32" y="25"/>
                    <a:pt x="41" y="25"/>
                  </a:cubicBezTo>
                  <a:cubicBezTo>
                    <a:pt x="124" y="25"/>
                    <a:pt x="124" y="25"/>
                    <a:pt x="124" y="25"/>
                  </a:cubicBezTo>
                  <a:cubicBezTo>
                    <a:pt x="133" y="25"/>
                    <a:pt x="140" y="32"/>
                    <a:pt x="140" y="40"/>
                  </a:cubicBezTo>
                  <a:lnTo>
                    <a:pt x="140" y="93"/>
                  </a:lnTo>
                  <a:close/>
                  <a:moveTo>
                    <a:pt x="204" y="90"/>
                  </a:moveTo>
                  <a:cubicBezTo>
                    <a:pt x="204" y="90"/>
                    <a:pt x="204" y="90"/>
                    <a:pt x="204" y="90"/>
                  </a:cubicBezTo>
                  <a:cubicBezTo>
                    <a:pt x="205" y="91"/>
                    <a:pt x="205" y="91"/>
                    <a:pt x="205" y="92"/>
                  </a:cubicBezTo>
                  <a:cubicBezTo>
                    <a:pt x="205" y="94"/>
                    <a:pt x="204" y="97"/>
                    <a:pt x="203" y="97"/>
                  </a:cubicBezTo>
                  <a:cubicBezTo>
                    <a:pt x="203" y="98"/>
                    <a:pt x="202" y="98"/>
                    <a:pt x="201" y="98"/>
                  </a:cubicBezTo>
                  <a:cubicBezTo>
                    <a:pt x="198" y="99"/>
                    <a:pt x="192" y="94"/>
                    <a:pt x="189" y="91"/>
                  </a:cubicBezTo>
                  <a:cubicBezTo>
                    <a:pt x="186" y="88"/>
                    <a:pt x="184" y="82"/>
                    <a:pt x="183" y="76"/>
                  </a:cubicBezTo>
                  <a:cubicBezTo>
                    <a:pt x="183" y="74"/>
                    <a:pt x="182" y="71"/>
                    <a:pt x="182" y="69"/>
                  </a:cubicBezTo>
                  <a:lnTo>
                    <a:pt x="204" y="90"/>
                  </a:lnTo>
                  <a:close/>
                  <a:moveTo>
                    <a:pt x="231" y="210"/>
                  </a:moveTo>
                  <a:cubicBezTo>
                    <a:pt x="229" y="215"/>
                    <a:pt x="226" y="219"/>
                    <a:pt x="224" y="222"/>
                  </a:cubicBezTo>
                  <a:cubicBezTo>
                    <a:pt x="221" y="224"/>
                    <a:pt x="219" y="225"/>
                    <a:pt x="216" y="225"/>
                  </a:cubicBezTo>
                  <a:cubicBezTo>
                    <a:pt x="212" y="225"/>
                    <a:pt x="206" y="223"/>
                    <a:pt x="199" y="217"/>
                  </a:cubicBezTo>
                  <a:cubicBezTo>
                    <a:pt x="194" y="214"/>
                    <a:pt x="191" y="207"/>
                    <a:pt x="189" y="199"/>
                  </a:cubicBezTo>
                  <a:cubicBezTo>
                    <a:pt x="186" y="186"/>
                    <a:pt x="186" y="170"/>
                    <a:pt x="183" y="156"/>
                  </a:cubicBezTo>
                  <a:cubicBezTo>
                    <a:pt x="182" y="149"/>
                    <a:pt x="179" y="143"/>
                    <a:pt x="175" y="137"/>
                  </a:cubicBezTo>
                  <a:cubicBezTo>
                    <a:pt x="173" y="133"/>
                    <a:pt x="169" y="130"/>
                    <a:pt x="164" y="129"/>
                  </a:cubicBezTo>
                  <a:cubicBezTo>
                    <a:pt x="164" y="52"/>
                    <a:pt x="164" y="52"/>
                    <a:pt x="164" y="52"/>
                  </a:cubicBezTo>
                  <a:cubicBezTo>
                    <a:pt x="173" y="60"/>
                    <a:pt x="173" y="60"/>
                    <a:pt x="173" y="60"/>
                  </a:cubicBezTo>
                  <a:cubicBezTo>
                    <a:pt x="173" y="62"/>
                    <a:pt x="172" y="63"/>
                    <a:pt x="172" y="66"/>
                  </a:cubicBezTo>
                  <a:cubicBezTo>
                    <a:pt x="172" y="67"/>
                    <a:pt x="172" y="67"/>
                    <a:pt x="173" y="68"/>
                  </a:cubicBezTo>
                  <a:cubicBezTo>
                    <a:pt x="173" y="72"/>
                    <a:pt x="173" y="75"/>
                    <a:pt x="174" y="78"/>
                  </a:cubicBezTo>
                  <a:cubicBezTo>
                    <a:pt x="175" y="85"/>
                    <a:pt x="177" y="92"/>
                    <a:pt x="182" y="98"/>
                  </a:cubicBezTo>
                  <a:cubicBezTo>
                    <a:pt x="186" y="102"/>
                    <a:pt x="193" y="107"/>
                    <a:pt x="201" y="108"/>
                  </a:cubicBezTo>
                  <a:cubicBezTo>
                    <a:pt x="201" y="108"/>
                    <a:pt x="201" y="108"/>
                    <a:pt x="201" y="108"/>
                  </a:cubicBezTo>
                  <a:cubicBezTo>
                    <a:pt x="204" y="108"/>
                    <a:pt x="207" y="106"/>
                    <a:pt x="210" y="104"/>
                  </a:cubicBezTo>
                  <a:cubicBezTo>
                    <a:pt x="210" y="104"/>
                    <a:pt x="210" y="104"/>
                    <a:pt x="210" y="104"/>
                  </a:cubicBezTo>
                  <a:cubicBezTo>
                    <a:pt x="220" y="117"/>
                    <a:pt x="229" y="133"/>
                    <a:pt x="234" y="148"/>
                  </a:cubicBezTo>
                  <a:cubicBezTo>
                    <a:pt x="235" y="153"/>
                    <a:pt x="236" y="162"/>
                    <a:pt x="236" y="172"/>
                  </a:cubicBezTo>
                  <a:cubicBezTo>
                    <a:pt x="236" y="185"/>
                    <a:pt x="234" y="199"/>
                    <a:pt x="231" y="210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62" name="Group 189"/>
            <p:cNvGrpSpPr/>
            <p:nvPr/>
          </p:nvGrpSpPr>
          <p:grpSpPr>
            <a:xfrm flipH="1">
              <a:off x="-414965" y="3722470"/>
              <a:ext cx="411601" cy="567535"/>
              <a:chOff x="-2284413" y="254000"/>
              <a:chExt cx="1185862" cy="1635126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91" name="Freeform 9"/>
              <p:cNvSpPr>
                <a:spLocks noEditPoints="1"/>
              </p:cNvSpPr>
              <p:nvPr/>
            </p:nvSpPr>
            <p:spPr bwMode="auto">
              <a:xfrm>
                <a:off x="-2119313" y="254000"/>
                <a:ext cx="858837" cy="1181100"/>
              </a:xfrm>
              <a:custGeom>
                <a:avLst/>
                <a:gdLst>
                  <a:gd name="T0" fmla="*/ 33 w 229"/>
                  <a:gd name="T1" fmla="*/ 286 h 315"/>
                  <a:gd name="T2" fmla="*/ 195 w 229"/>
                  <a:gd name="T3" fmla="*/ 286 h 315"/>
                  <a:gd name="T4" fmla="*/ 209 w 229"/>
                  <a:gd name="T5" fmla="*/ 315 h 315"/>
                  <a:gd name="T6" fmla="*/ 19 w 229"/>
                  <a:gd name="T7" fmla="*/ 315 h 315"/>
                  <a:gd name="T8" fmla="*/ 33 w 229"/>
                  <a:gd name="T9" fmla="*/ 286 h 315"/>
                  <a:gd name="T10" fmla="*/ 52 w 229"/>
                  <a:gd name="T11" fmla="*/ 75 h 315"/>
                  <a:gd name="T12" fmla="*/ 176 w 229"/>
                  <a:gd name="T13" fmla="*/ 75 h 315"/>
                  <a:gd name="T14" fmla="*/ 190 w 229"/>
                  <a:gd name="T15" fmla="*/ 89 h 315"/>
                  <a:gd name="T16" fmla="*/ 194 w 229"/>
                  <a:gd name="T17" fmla="*/ 137 h 315"/>
                  <a:gd name="T18" fmla="*/ 180 w 229"/>
                  <a:gd name="T19" fmla="*/ 151 h 315"/>
                  <a:gd name="T20" fmla="*/ 48 w 229"/>
                  <a:gd name="T21" fmla="*/ 151 h 315"/>
                  <a:gd name="T22" fmla="*/ 34 w 229"/>
                  <a:gd name="T23" fmla="*/ 137 h 315"/>
                  <a:gd name="T24" fmla="*/ 38 w 229"/>
                  <a:gd name="T25" fmla="*/ 89 h 315"/>
                  <a:gd name="T26" fmla="*/ 52 w 229"/>
                  <a:gd name="T27" fmla="*/ 75 h 315"/>
                  <a:gd name="T28" fmla="*/ 83 w 229"/>
                  <a:gd name="T29" fmla="*/ 43 h 315"/>
                  <a:gd name="T30" fmla="*/ 145 w 229"/>
                  <a:gd name="T31" fmla="*/ 43 h 315"/>
                  <a:gd name="T32" fmla="*/ 151 w 229"/>
                  <a:gd name="T33" fmla="*/ 49 h 315"/>
                  <a:gd name="T34" fmla="*/ 151 w 229"/>
                  <a:gd name="T35" fmla="*/ 59 h 315"/>
                  <a:gd name="T36" fmla="*/ 145 w 229"/>
                  <a:gd name="T37" fmla="*/ 65 h 315"/>
                  <a:gd name="T38" fmla="*/ 83 w 229"/>
                  <a:gd name="T39" fmla="*/ 65 h 315"/>
                  <a:gd name="T40" fmla="*/ 77 w 229"/>
                  <a:gd name="T41" fmla="*/ 59 h 315"/>
                  <a:gd name="T42" fmla="*/ 77 w 229"/>
                  <a:gd name="T43" fmla="*/ 49 h 315"/>
                  <a:gd name="T44" fmla="*/ 83 w 229"/>
                  <a:gd name="T45" fmla="*/ 43 h 315"/>
                  <a:gd name="T46" fmla="*/ 46 w 229"/>
                  <a:gd name="T47" fmla="*/ 33 h 315"/>
                  <a:gd name="T48" fmla="*/ 182 w 229"/>
                  <a:gd name="T49" fmla="*/ 33 h 315"/>
                  <a:gd name="T50" fmla="*/ 212 w 229"/>
                  <a:gd name="T51" fmla="*/ 63 h 315"/>
                  <a:gd name="T52" fmla="*/ 227 w 229"/>
                  <a:gd name="T53" fmla="*/ 249 h 315"/>
                  <a:gd name="T54" fmla="*/ 198 w 229"/>
                  <a:gd name="T55" fmla="*/ 278 h 315"/>
                  <a:gd name="T56" fmla="*/ 30 w 229"/>
                  <a:gd name="T57" fmla="*/ 278 h 315"/>
                  <a:gd name="T58" fmla="*/ 1 w 229"/>
                  <a:gd name="T59" fmla="*/ 249 h 315"/>
                  <a:gd name="T60" fmla="*/ 16 w 229"/>
                  <a:gd name="T61" fmla="*/ 63 h 315"/>
                  <a:gd name="T62" fmla="*/ 46 w 229"/>
                  <a:gd name="T63" fmla="*/ 33 h 315"/>
                  <a:gd name="T64" fmla="*/ 185 w 229"/>
                  <a:gd name="T65" fmla="*/ 216 h 315"/>
                  <a:gd name="T66" fmla="*/ 201 w 229"/>
                  <a:gd name="T67" fmla="*/ 233 h 315"/>
                  <a:gd name="T68" fmla="*/ 185 w 229"/>
                  <a:gd name="T69" fmla="*/ 249 h 315"/>
                  <a:gd name="T70" fmla="*/ 168 w 229"/>
                  <a:gd name="T71" fmla="*/ 233 h 315"/>
                  <a:gd name="T72" fmla="*/ 185 w 229"/>
                  <a:gd name="T73" fmla="*/ 216 h 315"/>
                  <a:gd name="T74" fmla="*/ 44 w 229"/>
                  <a:gd name="T75" fmla="*/ 216 h 315"/>
                  <a:gd name="T76" fmla="*/ 60 w 229"/>
                  <a:gd name="T77" fmla="*/ 233 h 315"/>
                  <a:gd name="T78" fmla="*/ 44 w 229"/>
                  <a:gd name="T79" fmla="*/ 249 h 315"/>
                  <a:gd name="T80" fmla="*/ 27 w 229"/>
                  <a:gd name="T81" fmla="*/ 233 h 315"/>
                  <a:gd name="T82" fmla="*/ 44 w 229"/>
                  <a:gd name="T83" fmla="*/ 216 h 315"/>
                  <a:gd name="T84" fmla="*/ 80 w 229"/>
                  <a:gd name="T85" fmla="*/ 0 h 315"/>
                  <a:gd name="T86" fmla="*/ 93 w 229"/>
                  <a:gd name="T87" fmla="*/ 0 h 315"/>
                  <a:gd name="T88" fmla="*/ 93 w 229"/>
                  <a:gd name="T89" fmla="*/ 26 h 315"/>
                  <a:gd name="T90" fmla="*/ 80 w 229"/>
                  <a:gd name="T91" fmla="*/ 26 h 315"/>
                  <a:gd name="T92" fmla="*/ 80 w 229"/>
                  <a:gd name="T93" fmla="*/ 0 h 315"/>
                  <a:gd name="T94" fmla="*/ 135 w 229"/>
                  <a:gd name="T95" fmla="*/ 0 h 315"/>
                  <a:gd name="T96" fmla="*/ 148 w 229"/>
                  <a:gd name="T97" fmla="*/ 0 h 315"/>
                  <a:gd name="T98" fmla="*/ 148 w 229"/>
                  <a:gd name="T99" fmla="*/ 26 h 315"/>
                  <a:gd name="T100" fmla="*/ 135 w 229"/>
                  <a:gd name="T101" fmla="*/ 26 h 315"/>
                  <a:gd name="T102" fmla="*/ 135 w 229"/>
                  <a:gd name="T103" fmla="*/ 0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29" h="315">
                    <a:moveTo>
                      <a:pt x="33" y="286"/>
                    </a:moveTo>
                    <a:cubicBezTo>
                      <a:pt x="195" y="286"/>
                      <a:pt x="195" y="286"/>
                      <a:pt x="195" y="286"/>
                    </a:cubicBezTo>
                    <a:cubicBezTo>
                      <a:pt x="209" y="315"/>
                      <a:pt x="209" y="315"/>
                      <a:pt x="209" y="315"/>
                    </a:cubicBezTo>
                    <a:cubicBezTo>
                      <a:pt x="19" y="315"/>
                      <a:pt x="19" y="315"/>
                      <a:pt x="19" y="315"/>
                    </a:cubicBezTo>
                    <a:cubicBezTo>
                      <a:pt x="33" y="286"/>
                      <a:pt x="33" y="286"/>
                      <a:pt x="33" y="286"/>
                    </a:cubicBezTo>
                    <a:close/>
                    <a:moveTo>
                      <a:pt x="52" y="75"/>
                    </a:moveTo>
                    <a:cubicBezTo>
                      <a:pt x="176" y="75"/>
                      <a:pt x="176" y="75"/>
                      <a:pt x="176" y="75"/>
                    </a:cubicBezTo>
                    <a:cubicBezTo>
                      <a:pt x="184" y="75"/>
                      <a:pt x="190" y="81"/>
                      <a:pt x="190" y="89"/>
                    </a:cubicBezTo>
                    <a:cubicBezTo>
                      <a:pt x="194" y="137"/>
                      <a:pt x="194" y="137"/>
                      <a:pt x="194" y="137"/>
                    </a:cubicBezTo>
                    <a:cubicBezTo>
                      <a:pt x="195" y="145"/>
                      <a:pt x="188" y="151"/>
                      <a:pt x="180" y="151"/>
                    </a:cubicBezTo>
                    <a:cubicBezTo>
                      <a:pt x="48" y="151"/>
                      <a:pt x="48" y="151"/>
                      <a:pt x="48" y="151"/>
                    </a:cubicBezTo>
                    <a:cubicBezTo>
                      <a:pt x="40" y="151"/>
                      <a:pt x="33" y="145"/>
                      <a:pt x="34" y="137"/>
                    </a:cubicBezTo>
                    <a:cubicBezTo>
                      <a:pt x="38" y="89"/>
                      <a:pt x="38" y="89"/>
                      <a:pt x="38" y="89"/>
                    </a:cubicBezTo>
                    <a:cubicBezTo>
                      <a:pt x="39" y="81"/>
                      <a:pt x="44" y="75"/>
                      <a:pt x="52" y="75"/>
                    </a:cubicBezTo>
                    <a:close/>
                    <a:moveTo>
                      <a:pt x="83" y="43"/>
                    </a:moveTo>
                    <a:cubicBezTo>
                      <a:pt x="145" y="43"/>
                      <a:pt x="145" y="43"/>
                      <a:pt x="145" y="43"/>
                    </a:cubicBezTo>
                    <a:cubicBezTo>
                      <a:pt x="149" y="43"/>
                      <a:pt x="151" y="46"/>
                      <a:pt x="151" y="49"/>
                    </a:cubicBezTo>
                    <a:cubicBezTo>
                      <a:pt x="151" y="59"/>
                      <a:pt x="151" y="59"/>
                      <a:pt x="151" y="59"/>
                    </a:cubicBezTo>
                    <a:cubicBezTo>
                      <a:pt x="151" y="63"/>
                      <a:pt x="149" y="65"/>
                      <a:pt x="145" y="65"/>
                    </a:cubicBezTo>
                    <a:cubicBezTo>
                      <a:pt x="83" y="65"/>
                      <a:pt x="83" y="65"/>
                      <a:pt x="83" y="65"/>
                    </a:cubicBezTo>
                    <a:cubicBezTo>
                      <a:pt x="80" y="65"/>
                      <a:pt x="77" y="63"/>
                      <a:pt x="77" y="59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46"/>
                      <a:pt x="80" y="43"/>
                      <a:pt x="83" y="43"/>
                    </a:cubicBezTo>
                    <a:close/>
                    <a:moveTo>
                      <a:pt x="46" y="33"/>
                    </a:moveTo>
                    <a:cubicBezTo>
                      <a:pt x="182" y="33"/>
                      <a:pt x="182" y="33"/>
                      <a:pt x="182" y="33"/>
                    </a:cubicBezTo>
                    <a:cubicBezTo>
                      <a:pt x="199" y="33"/>
                      <a:pt x="211" y="47"/>
                      <a:pt x="212" y="63"/>
                    </a:cubicBezTo>
                    <a:cubicBezTo>
                      <a:pt x="227" y="249"/>
                      <a:pt x="227" y="249"/>
                      <a:pt x="227" y="249"/>
                    </a:cubicBezTo>
                    <a:cubicBezTo>
                      <a:pt x="229" y="265"/>
                      <a:pt x="214" y="278"/>
                      <a:pt x="198" y="278"/>
                    </a:cubicBezTo>
                    <a:cubicBezTo>
                      <a:pt x="30" y="278"/>
                      <a:pt x="30" y="278"/>
                      <a:pt x="30" y="278"/>
                    </a:cubicBezTo>
                    <a:cubicBezTo>
                      <a:pt x="14" y="278"/>
                      <a:pt x="0" y="265"/>
                      <a:pt x="1" y="249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18" y="47"/>
                      <a:pt x="30" y="33"/>
                      <a:pt x="46" y="33"/>
                    </a:cubicBezTo>
                    <a:close/>
                    <a:moveTo>
                      <a:pt x="185" y="216"/>
                    </a:moveTo>
                    <a:cubicBezTo>
                      <a:pt x="194" y="216"/>
                      <a:pt x="201" y="223"/>
                      <a:pt x="201" y="233"/>
                    </a:cubicBezTo>
                    <a:cubicBezTo>
                      <a:pt x="201" y="242"/>
                      <a:pt x="194" y="249"/>
                      <a:pt x="185" y="249"/>
                    </a:cubicBezTo>
                    <a:cubicBezTo>
                      <a:pt x="176" y="249"/>
                      <a:pt x="168" y="242"/>
                      <a:pt x="168" y="233"/>
                    </a:cubicBezTo>
                    <a:cubicBezTo>
                      <a:pt x="168" y="223"/>
                      <a:pt x="176" y="216"/>
                      <a:pt x="185" y="216"/>
                    </a:cubicBezTo>
                    <a:close/>
                    <a:moveTo>
                      <a:pt x="44" y="216"/>
                    </a:moveTo>
                    <a:cubicBezTo>
                      <a:pt x="53" y="216"/>
                      <a:pt x="60" y="223"/>
                      <a:pt x="60" y="233"/>
                    </a:cubicBezTo>
                    <a:cubicBezTo>
                      <a:pt x="60" y="242"/>
                      <a:pt x="53" y="249"/>
                      <a:pt x="44" y="249"/>
                    </a:cubicBezTo>
                    <a:cubicBezTo>
                      <a:pt x="35" y="249"/>
                      <a:pt x="27" y="242"/>
                      <a:pt x="27" y="233"/>
                    </a:cubicBezTo>
                    <a:cubicBezTo>
                      <a:pt x="27" y="223"/>
                      <a:pt x="35" y="216"/>
                      <a:pt x="44" y="216"/>
                    </a:cubicBezTo>
                    <a:close/>
                    <a:moveTo>
                      <a:pt x="80" y="0"/>
                    </a:moveTo>
                    <a:cubicBezTo>
                      <a:pt x="93" y="0"/>
                      <a:pt x="93" y="0"/>
                      <a:pt x="93" y="0"/>
                    </a:cubicBezTo>
                    <a:cubicBezTo>
                      <a:pt x="93" y="26"/>
                      <a:pt x="93" y="26"/>
                      <a:pt x="93" y="26"/>
                    </a:cubicBezTo>
                    <a:cubicBezTo>
                      <a:pt x="80" y="26"/>
                      <a:pt x="80" y="26"/>
                      <a:pt x="80" y="26"/>
                    </a:cubicBezTo>
                    <a:cubicBezTo>
                      <a:pt x="80" y="0"/>
                      <a:pt x="80" y="0"/>
                      <a:pt x="80" y="0"/>
                    </a:cubicBezTo>
                    <a:close/>
                    <a:moveTo>
                      <a:pt x="135" y="0"/>
                    </a:moveTo>
                    <a:cubicBezTo>
                      <a:pt x="148" y="0"/>
                      <a:pt x="148" y="0"/>
                      <a:pt x="148" y="0"/>
                    </a:cubicBezTo>
                    <a:cubicBezTo>
                      <a:pt x="148" y="26"/>
                      <a:pt x="148" y="26"/>
                      <a:pt x="148" y="26"/>
                    </a:cubicBezTo>
                    <a:cubicBezTo>
                      <a:pt x="135" y="26"/>
                      <a:pt x="135" y="26"/>
                      <a:pt x="135" y="26"/>
                    </a:cubicBezTo>
                    <a:cubicBezTo>
                      <a:pt x="135" y="0"/>
                      <a:pt x="135" y="0"/>
                      <a:pt x="13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" name="Freeform 10"/>
              <p:cNvSpPr>
                <a:spLocks noEditPoints="1"/>
              </p:cNvSpPr>
              <p:nvPr/>
            </p:nvSpPr>
            <p:spPr bwMode="auto">
              <a:xfrm>
                <a:off x="-2284413" y="1468438"/>
                <a:ext cx="1185862" cy="420688"/>
              </a:xfrm>
              <a:custGeom>
                <a:avLst/>
                <a:gdLst>
                  <a:gd name="T0" fmla="*/ 144 w 747"/>
                  <a:gd name="T1" fmla="*/ 0 h 265"/>
                  <a:gd name="T2" fmla="*/ 198 w 747"/>
                  <a:gd name="T3" fmla="*/ 0 h 265"/>
                  <a:gd name="T4" fmla="*/ 85 w 747"/>
                  <a:gd name="T5" fmla="*/ 265 h 265"/>
                  <a:gd name="T6" fmla="*/ 0 w 747"/>
                  <a:gd name="T7" fmla="*/ 265 h 265"/>
                  <a:gd name="T8" fmla="*/ 144 w 747"/>
                  <a:gd name="T9" fmla="*/ 0 h 265"/>
                  <a:gd name="T10" fmla="*/ 144 w 747"/>
                  <a:gd name="T11" fmla="*/ 0 h 265"/>
                  <a:gd name="T12" fmla="*/ 605 w 747"/>
                  <a:gd name="T13" fmla="*/ 0 h 265"/>
                  <a:gd name="T14" fmla="*/ 550 w 747"/>
                  <a:gd name="T15" fmla="*/ 0 h 265"/>
                  <a:gd name="T16" fmla="*/ 661 w 747"/>
                  <a:gd name="T17" fmla="*/ 265 h 265"/>
                  <a:gd name="T18" fmla="*/ 747 w 747"/>
                  <a:gd name="T19" fmla="*/ 265 h 265"/>
                  <a:gd name="T20" fmla="*/ 605 w 747"/>
                  <a:gd name="T21" fmla="*/ 0 h 265"/>
                  <a:gd name="T22" fmla="*/ 605 w 747"/>
                  <a:gd name="T23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47" h="265">
                    <a:moveTo>
                      <a:pt x="144" y="0"/>
                    </a:moveTo>
                    <a:lnTo>
                      <a:pt x="198" y="0"/>
                    </a:lnTo>
                    <a:lnTo>
                      <a:pt x="85" y="265"/>
                    </a:lnTo>
                    <a:lnTo>
                      <a:pt x="0" y="265"/>
                    </a:lnTo>
                    <a:lnTo>
                      <a:pt x="144" y="0"/>
                    </a:lnTo>
                    <a:lnTo>
                      <a:pt x="144" y="0"/>
                    </a:lnTo>
                    <a:close/>
                    <a:moveTo>
                      <a:pt x="605" y="0"/>
                    </a:moveTo>
                    <a:lnTo>
                      <a:pt x="550" y="0"/>
                    </a:lnTo>
                    <a:lnTo>
                      <a:pt x="661" y="265"/>
                    </a:lnTo>
                    <a:lnTo>
                      <a:pt x="747" y="265"/>
                    </a:lnTo>
                    <a:lnTo>
                      <a:pt x="605" y="0"/>
                    </a:lnTo>
                    <a:lnTo>
                      <a:pt x="605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63" name="Freeform 60"/>
            <p:cNvSpPr>
              <a:spLocks noEditPoints="1"/>
            </p:cNvSpPr>
            <p:nvPr/>
          </p:nvSpPr>
          <p:spPr bwMode="auto">
            <a:xfrm flipH="1">
              <a:off x="3355800" y="2718062"/>
              <a:ext cx="368253" cy="363573"/>
            </a:xfrm>
            <a:custGeom>
              <a:avLst/>
              <a:gdLst>
                <a:gd name="T0" fmla="*/ 246 w 249"/>
                <a:gd name="T1" fmla="*/ 145 h 245"/>
                <a:gd name="T2" fmla="*/ 214 w 249"/>
                <a:gd name="T3" fmla="*/ 89 h 245"/>
                <a:gd name="T4" fmla="*/ 214 w 249"/>
                <a:gd name="T5" fmla="*/ 89 h 245"/>
                <a:gd name="T6" fmla="*/ 211 w 249"/>
                <a:gd name="T7" fmla="*/ 84 h 245"/>
                <a:gd name="T8" fmla="*/ 211 w 249"/>
                <a:gd name="T9" fmla="*/ 84 h 245"/>
                <a:gd name="T10" fmla="*/ 165 w 249"/>
                <a:gd name="T11" fmla="*/ 39 h 245"/>
                <a:gd name="T12" fmla="*/ 164 w 249"/>
                <a:gd name="T13" fmla="*/ 39 h 245"/>
                <a:gd name="T14" fmla="*/ 164 w 249"/>
                <a:gd name="T15" fmla="*/ 15 h 245"/>
                <a:gd name="T16" fmla="*/ 149 w 249"/>
                <a:gd name="T17" fmla="*/ 0 h 245"/>
                <a:gd name="T18" fmla="*/ 16 w 249"/>
                <a:gd name="T19" fmla="*/ 0 h 245"/>
                <a:gd name="T20" fmla="*/ 0 w 249"/>
                <a:gd name="T21" fmla="*/ 15 h 245"/>
                <a:gd name="T22" fmla="*/ 0 w 249"/>
                <a:gd name="T23" fmla="*/ 229 h 245"/>
                <a:gd name="T24" fmla="*/ 16 w 249"/>
                <a:gd name="T25" fmla="*/ 245 h 245"/>
                <a:gd name="T26" fmla="*/ 149 w 249"/>
                <a:gd name="T27" fmla="*/ 245 h 245"/>
                <a:gd name="T28" fmla="*/ 164 w 249"/>
                <a:gd name="T29" fmla="*/ 229 h 245"/>
                <a:gd name="T30" fmla="*/ 164 w 249"/>
                <a:gd name="T31" fmla="*/ 143 h 245"/>
                <a:gd name="T32" fmla="*/ 168 w 249"/>
                <a:gd name="T33" fmla="*/ 148 h 245"/>
                <a:gd name="T34" fmla="*/ 175 w 249"/>
                <a:gd name="T35" fmla="*/ 187 h 245"/>
                <a:gd name="T36" fmla="*/ 191 w 249"/>
                <a:gd name="T37" fmla="*/ 227 h 245"/>
                <a:gd name="T38" fmla="*/ 216 w 249"/>
                <a:gd name="T39" fmla="*/ 238 h 245"/>
                <a:gd name="T40" fmla="*/ 216 w 249"/>
                <a:gd name="T41" fmla="*/ 238 h 245"/>
                <a:gd name="T42" fmla="*/ 233 w 249"/>
                <a:gd name="T43" fmla="*/ 230 h 245"/>
                <a:gd name="T44" fmla="*/ 249 w 249"/>
                <a:gd name="T45" fmla="*/ 172 h 245"/>
                <a:gd name="T46" fmla="*/ 246 w 249"/>
                <a:gd name="T47" fmla="*/ 145 h 245"/>
                <a:gd name="T48" fmla="*/ 140 w 249"/>
                <a:gd name="T49" fmla="*/ 93 h 245"/>
                <a:gd name="T50" fmla="*/ 124 w 249"/>
                <a:gd name="T51" fmla="*/ 108 h 245"/>
                <a:gd name="T52" fmla="*/ 41 w 249"/>
                <a:gd name="T53" fmla="*/ 108 h 245"/>
                <a:gd name="T54" fmla="*/ 25 w 249"/>
                <a:gd name="T55" fmla="*/ 93 h 245"/>
                <a:gd name="T56" fmla="*/ 25 w 249"/>
                <a:gd name="T57" fmla="*/ 40 h 245"/>
                <a:gd name="T58" fmla="*/ 41 w 249"/>
                <a:gd name="T59" fmla="*/ 25 h 245"/>
                <a:gd name="T60" fmla="*/ 124 w 249"/>
                <a:gd name="T61" fmla="*/ 25 h 245"/>
                <a:gd name="T62" fmla="*/ 140 w 249"/>
                <a:gd name="T63" fmla="*/ 40 h 245"/>
                <a:gd name="T64" fmla="*/ 140 w 249"/>
                <a:gd name="T65" fmla="*/ 93 h 245"/>
                <a:gd name="T66" fmla="*/ 204 w 249"/>
                <a:gd name="T67" fmla="*/ 90 h 245"/>
                <a:gd name="T68" fmla="*/ 204 w 249"/>
                <a:gd name="T69" fmla="*/ 90 h 245"/>
                <a:gd name="T70" fmla="*/ 205 w 249"/>
                <a:gd name="T71" fmla="*/ 92 h 245"/>
                <a:gd name="T72" fmla="*/ 203 w 249"/>
                <a:gd name="T73" fmla="*/ 97 h 245"/>
                <a:gd name="T74" fmla="*/ 201 w 249"/>
                <a:gd name="T75" fmla="*/ 98 h 245"/>
                <a:gd name="T76" fmla="*/ 189 w 249"/>
                <a:gd name="T77" fmla="*/ 91 h 245"/>
                <a:gd name="T78" fmla="*/ 183 w 249"/>
                <a:gd name="T79" fmla="*/ 76 h 245"/>
                <a:gd name="T80" fmla="*/ 182 w 249"/>
                <a:gd name="T81" fmla="*/ 69 h 245"/>
                <a:gd name="T82" fmla="*/ 204 w 249"/>
                <a:gd name="T83" fmla="*/ 90 h 245"/>
                <a:gd name="T84" fmla="*/ 231 w 249"/>
                <a:gd name="T85" fmla="*/ 210 h 245"/>
                <a:gd name="T86" fmla="*/ 224 w 249"/>
                <a:gd name="T87" fmla="*/ 222 h 245"/>
                <a:gd name="T88" fmla="*/ 216 w 249"/>
                <a:gd name="T89" fmla="*/ 225 h 245"/>
                <a:gd name="T90" fmla="*/ 199 w 249"/>
                <a:gd name="T91" fmla="*/ 217 h 245"/>
                <a:gd name="T92" fmla="*/ 189 w 249"/>
                <a:gd name="T93" fmla="*/ 199 h 245"/>
                <a:gd name="T94" fmla="*/ 183 w 249"/>
                <a:gd name="T95" fmla="*/ 156 h 245"/>
                <a:gd name="T96" fmla="*/ 175 w 249"/>
                <a:gd name="T97" fmla="*/ 137 h 245"/>
                <a:gd name="T98" fmla="*/ 164 w 249"/>
                <a:gd name="T99" fmla="*/ 129 h 245"/>
                <a:gd name="T100" fmla="*/ 164 w 249"/>
                <a:gd name="T101" fmla="*/ 52 h 245"/>
                <a:gd name="T102" fmla="*/ 173 w 249"/>
                <a:gd name="T103" fmla="*/ 60 h 245"/>
                <a:gd name="T104" fmla="*/ 172 w 249"/>
                <a:gd name="T105" fmla="*/ 66 h 245"/>
                <a:gd name="T106" fmla="*/ 173 w 249"/>
                <a:gd name="T107" fmla="*/ 68 h 245"/>
                <a:gd name="T108" fmla="*/ 174 w 249"/>
                <a:gd name="T109" fmla="*/ 78 h 245"/>
                <a:gd name="T110" fmla="*/ 182 w 249"/>
                <a:gd name="T111" fmla="*/ 98 h 245"/>
                <a:gd name="T112" fmla="*/ 201 w 249"/>
                <a:gd name="T113" fmla="*/ 108 h 245"/>
                <a:gd name="T114" fmla="*/ 201 w 249"/>
                <a:gd name="T115" fmla="*/ 108 h 245"/>
                <a:gd name="T116" fmla="*/ 210 w 249"/>
                <a:gd name="T117" fmla="*/ 104 h 245"/>
                <a:gd name="T118" fmla="*/ 210 w 249"/>
                <a:gd name="T119" fmla="*/ 104 h 245"/>
                <a:gd name="T120" fmla="*/ 234 w 249"/>
                <a:gd name="T121" fmla="*/ 148 h 245"/>
                <a:gd name="T122" fmla="*/ 236 w 249"/>
                <a:gd name="T123" fmla="*/ 172 h 245"/>
                <a:gd name="T124" fmla="*/ 231 w 249"/>
                <a:gd name="T125" fmla="*/ 21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9" h="245">
                  <a:moveTo>
                    <a:pt x="246" y="145"/>
                  </a:moveTo>
                  <a:cubicBezTo>
                    <a:pt x="239" y="124"/>
                    <a:pt x="227" y="105"/>
                    <a:pt x="214" y="89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214" y="87"/>
                    <a:pt x="213" y="85"/>
                    <a:pt x="211" y="84"/>
                  </a:cubicBezTo>
                  <a:cubicBezTo>
                    <a:pt x="211" y="84"/>
                    <a:pt x="211" y="84"/>
                    <a:pt x="211" y="84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65" y="39"/>
                    <a:pt x="164" y="39"/>
                    <a:pt x="164" y="39"/>
                  </a:cubicBezTo>
                  <a:cubicBezTo>
                    <a:pt x="164" y="15"/>
                    <a:pt x="164" y="15"/>
                    <a:pt x="164" y="15"/>
                  </a:cubicBezTo>
                  <a:cubicBezTo>
                    <a:pt x="164" y="7"/>
                    <a:pt x="158" y="0"/>
                    <a:pt x="14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0" y="238"/>
                    <a:pt x="7" y="245"/>
                    <a:pt x="16" y="245"/>
                  </a:cubicBezTo>
                  <a:cubicBezTo>
                    <a:pt x="149" y="245"/>
                    <a:pt x="149" y="245"/>
                    <a:pt x="149" y="245"/>
                  </a:cubicBezTo>
                  <a:cubicBezTo>
                    <a:pt x="158" y="245"/>
                    <a:pt x="164" y="238"/>
                    <a:pt x="164" y="229"/>
                  </a:cubicBezTo>
                  <a:cubicBezTo>
                    <a:pt x="164" y="143"/>
                    <a:pt x="164" y="143"/>
                    <a:pt x="164" y="143"/>
                  </a:cubicBezTo>
                  <a:cubicBezTo>
                    <a:pt x="166" y="144"/>
                    <a:pt x="167" y="146"/>
                    <a:pt x="168" y="148"/>
                  </a:cubicBezTo>
                  <a:cubicBezTo>
                    <a:pt x="172" y="157"/>
                    <a:pt x="173" y="172"/>
                    <a:pt x="175" y="187"/>
                  </a:cubicBezTo>
                  <a:cubicBezTo>
                    <a:pt x="177" y="201"/>
                    <a:pt x="179" y="217"/>
                    <a:pt x="191" y="227"/>
                  </a:cubicBezTo>
                  <a:cubicBezTo>
                    <a:pt x="200" y="234"/>
                    <a:pt x="208" y="238"/>
                    <a:pt x="216" y="238"/>
                  </a:cubicBezTo>
                  <a:cubicBezTo>
                    <a:pt x="216" y="238"/>
                    <a:pt x="216" y="238"/>
                    <a:pt x="216" y="238"/>
                  </a:cubicBezTo>
                  <a:cubicBezTo>
                    <a:pt x="222" y="238"/>
                    <a:pt x="228" y="235"/>
                    <a:pt x="233" y="230"/>
                  </a:cubicBezTo>
                  <a:cubicBezTo>
                    <a:pt x="245" y="217"/>
                    <a:pt x="248" y="193"/>
                    <a:pt x="249" y="172"/>
                  </a:cubicBezTo>
                  <a:cubicBezTo>
                    <a:pt x="249" y="161"/>
                    <a:pt x="248" y="152"/>
                    <a:pt x="246" y="145"/>
                  </a:cubicBezTo>
                  <a:close/>
                  <a:moveTo>
                    <a:pt x="140" y="93"/>
                  </a:moveTo>
                  <a:cubicBezTo>
                    <a:pt x="140" y="101"/>
                    <a:pt x="133" y="108"/>
                    <a:pt x="124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32" y="108"/>
                    <a:pt x="25" y="101"/>
                    <a:pt x="25" y="93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32"/>
                    <a:pt x="32" y="25"/>
                    <a:pt x="41" y="25"/>
                  </a:cubicBezTo>
                  <a:cubicBezTo>
                    <a:pt x="124" y="25"/>
                    <a:pt x="124" y="25"/>
                    <a:pt x="124" y="25"/>
                  </a:cubicBezTo>
                  <a:cubicBezTo>
                    <a:pt x="133" y="25"/>
                    <a:pt x="140" y="32"/>
                    <a:pt x="140" y="40"/>
                  </a:cubicBezTo>
                  <a:lnTo>
                    <a:pt x="140" y="93"/>
                  </a:lnTo>
                  <a:close/>
                  <a:moveTo>
                    <a:pt x="204" y="90"/>
                  </a:moveTo>
                  <a:cubicBezTo>
                    <a:pt x="204" y="90"/>
                    <a:pt x="204" y="90"/>
                    <a:pt x="204" y="90"/>
                  </a:cubicBezTo>
                  <a:cubicBezTo>
                    <a:pt x="205" y="91"/>
                    <a:pt x="205" y="91"/>
                    <a:pt x="205" y="92"/>
                  </a:cubicBezTo>
                  <a:cubicBezTo>
                    <a:pt x="205" y="94"/>
                    <a:pt x="204" y="97"/>
                    <a:pt x="203" y="97"/>
                  </a:cubicBezTo>
                  <a:cubicBezTo>
                    <a:pt x="203" y="98"/>
                    <a:pt x="202" y="98"/>
                    <a:pt x="201" y="98"/>
                  </a:cubicBezTo>
                  <a:cubicBezTo>
                    <a:pt x="198" y="99"/>
                    <a:pt x="192" y="94"/>
                    <a:pt x="189" y="91"/>
                  </a:cubicBezTo>
                  <a:cubicBezTo>
                    <a:pt x="186" y="88"/>
                    <a:pt x="184" y="82"/>
                    <a:pt x="183" y="76"/>
                  </a:cubicBezTo>
                  <a:cubicBezTo>
                    <a:pt x="183" y="74"/>
                    <a:pt x="182" y="71"/>
                    <a:pt x="182" y="69"/>
                  </a:cubicBezTo>
                  <a:lnTo>
                    <a:pt x="204" y="90"/>
                  </a:lnTo>
                  <a:close/>
                  <a:moveTo>
                    <a:pt x="231" y="210"/>
                  </a:moveTo>
                  <a:cubicBezTo>
                    <a:pt x="229" y="215"/>
                    <a:pt x="226" y="219"/>
                    <a:pt x="224" y="222"/>
                  </a:cubicBezTo>
                  <a:cubicBezTo>
                    <a:pt x="221" y="224"/>
                    <a:pt x="219" y="225"/>
                    <a:pt x="216" y="225"/>
                  </a:cubicBezTo>
                  <a:cubicBezTo>
                    <a:pt x="212" y="225"/>
                    <a:pt x="206" y="223"/>
                    <a:pt x="199" y="217"/>
                  </a:cubicBezTo>
                  <a:cubicBezTo>
                    <a:pt x="194" y="214"/>
                    <a:pt x="191" y="207"/>
                    <a:pt x="189" y="199"/>
                  </a:cubicBezTo>
                  <a:cubicBezTo>
                    <a:pt x="186" y="186"/>
                    <a:pt x="186" y="170"/>
                    <a:pt x="183" y="156"/>
                  </a:cubicBezTo>
                  <a:cubicBezTo>
                    <a:pt x="182" y="149"/>
                    <a:pt x="179" y="143"/>
                    <a:pt x="175" y="137"/>
                  </a:cubicBezTo>
                  <a:cubicBezTo>
                    <a:pt x="173" y="133"/>
                    <a:pt x="169" y="130"/>
                    <a:pt x="164" y="129"/>
                  </a:cubicBezTo>
                  <a:cubicBezTo>
                    <a:pt x="164" y="52"/>
                    <a:pt x="164" y="52"/>
                    <a:pt x="164" y="52"/>
                  </a:cubicBezTo>
                  <a:cubicBezTo>
                    <a:pt x="173" y="60"/>
                    <a:pt x="173" y="60"/>
                    <a:pt x="173" y="60"/>
                  </a:cubicBezTo>
                  <a:cubicBezTo>
                    <a:pt x="173" y="62"/>
                    <a:pt x="172" y="63"/>
                    <a:pt x="172" y="66"/>
                  </a:cubicBezTo>
                  <a:cubicBezTo>
                    <a:pt x="172" y="67"/>
                    <a:pt x="172" y="67"/>
                    <a:pt x="173" y="68"/>
                  </a:cubicBezTo>
                  <a:cubicBezTo>
                    <a:pt x="173" y="72"/>
                    <a:pt x="173" y="75"/>
                    <a:pt x="174" y="78"/>
                  </a:cubicBezTo>
                  <a:cubicBezTo>
                    <a:pt x="175" y="85"/>
                    <a:pt x="177" y="92"/>
                    <a:pt x="182" y="98"/>
                  </a:cubicBezTo>
                  <a:cubicBezTo>
                    <a:pt x="186" y="102"/>
                    <a:pt x="193" y="107"/>
                    <a:pt x="201" y="108"/>
                  </a:cubicBezTo>
                  <a:cubicBezTo>
                    <a:pt x="201" y="108"/>
                    <a:pt x="201" y="108"/>
                    <a:pt x="201" y="108"/>
                  </a:cubicBezTo>
                  <a:cubicBezTo>
                    <a:pt x="204" y="108"/>
                    <a:pt x="207" y="106"/>
                    <a:pt x="210" y="104"/>
                  </a:cubicBezTo>
                  <a:cubicBezTo>
                    <a:pt x="210" y="104"/>
                    <a:pt x="210" y="104"/>
                    <a:pt x="210" y="104"/>
                  </a:cubicBezTo>
                  <a:cubicBezTo>
                    <a:pt x="220" y="117"/>
                    <a:pt x="229" y="133"/>
                    <a:pt x="234" y="148"/>
                  </a:cubicBezTo>
                  <a:cubicBezTo>
                    <a:pt x="235" y="153"/>
                    <a:pt x="236" y="162"/>
                    <a:pt x="236" y="172"/>
                  </a:cubicBezTo>
                  <a:cubicBezTo>
                    <a:pt x="236" y="185"/>
                    <a:pt x="234" y="199"/>
                    <a:pt x="231" y="210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64" name="Group 193"/>
            <p:cNvGrpSpPr/>
            <p:nvPr/>
          </p:nvGrpSpPr>
          <p:grpSpPr>
            <a:xfrm flipH="1">
              <a:off x="3391454" y="2366992"/>
              <a:ext cx="217769" cy="202366"/>
              <a:chOff x="3791090" y="2972422"/>
              <a:chExt cx="428485" cy="398177"/>
            </a:xfrm>
            <a:solidFill>
              <a:schemeClr val="accent4"/>
            </a:solidFill>
          </p:grpSpPr>
          <p:sp>
            <p:nvSpPr>
              <p:cNvPr id="86" name="Freeform 18"/>
              <p:cNvSpPr>
                <a:spLocks noEditPoints="1"/>
              </p:cNvSpPr>
              <p:nvPr/>
            </p:nvSpPr>
            <p:spPr bwMode="auto">
              <a:xfrm>
                <a:off x="3791090" y="2972422"/>
                <a:ext cx="428485" cy="398177"/>
              </a:xfrm>
              <a:custGeom>
                <a:avLst/>
                <a:gdLst>
                  <a:gd name="T0" fmla="*/ 240 w 479"/>
                  <a:gd name="T1" fmla="*/ 0 h 445"/>
                  <a:gd name="T2" fmla="*/ 0 w 479"/>
                  <a:gd name="T3" fmla="*/ 222 h 445"/>
                  <a:gd name="T4" fmla="*/ 240 w 479"/>
                  <a:gd name="T5" fmla="*/ 445 h 445"/>
                  <a:gd name="T6" fmla="*/ 479 w 479"/>
                  <a:gd name="T7" fmla="*/ 222 h 445"/>
                  <a:gd name="T8" fmla="*/ 240 w 479"/>
                  <a:gd name="T9" fmla="*/ 0 h 445"/>
                  <a:gd name="T10" fmla="*/ 240 w 479"/>
                  <a:gd name="T11" fmla="*/ 377 h 445"/>
                  <a:gd name="T12" fmla="*/ 70 w 479"/>
                  <a:gd name="T13" fmla="*/ 222 h 445"/>
                  <a:gd name="T14" fmla="*/ 240 w 479"/>
                  <a:gd name="T15" fmla="*/ 67 h 445"/>
                  <a:gd name="T16" fmla="*/ 410 w 479"/>
                  <a:gd name="T17" fmla="*/ 222 h 445"/>
                  <a:gd name="T18" fmla="*/ 240 w 479"/>
                  <a:gd name="T19" fmla="*/ 377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9" h="445">
                    <a:moveTo>
                      <a:pt x="240" y="0"/>
                    </a:moveTo>
                    <a:cubicBezTo>
                      <a:pt x="108" y="0"/>
                      <a:pt x="0" y="99"/>
                      <a:pt x="0" y="222"/>
                    </a:cubicBezTo>
                    <a:cubicBezTo>
                      <a:pt x="0" y="345"/>
                      <a:pt x="108" y="445"/>
                      <a:pt x="240" y="445"/>
                    </a:cubicBezTo>
                    <a:cubicBezTo>
                      <a:pt x="372" y="445"/>
                      <a:pt x="479" y="345"/>
                      <a:pt x="479" y="222"/>
                    </a:cubicBezTo>
                    <a:cubicBezTo>
                      <a:pt x="479" y="99"/>
                      <a:pt x="372" y="0"/>
                      <a:pt x="240" y="0"/>
                    </a:cubicBezTo>
                    <a:close/>
                    <a:moveTo>
                      <a:pt x="240" y="377"/>
                    </a:moveTo>
                    <a:cubicBezTo>
                      <a:pt x="146" y="377"/>
                      <a:pt x="70" y="308"/>
                      <a:pt x="70" y="222"/>
                    </a:cubicBezTo>
                    <a:cubicBezTo>
                      <a:pt x="70" y="137"/>
                      <a:pt x="146" y="67"/>
                      <a:pt x="240" y="67"/>
                    </a:cubicBezTo>
                    <a:cubicBezTo>
                      <a:pt x="333" y="67"/>
                      <a:pt x="410" y="137"/>
                      <a:pt x="410" y="222"/>
                    </a:cubicBezTo>
                    <a:cubicBezTo>
                      <a:pt x="410" y="308"/>
                      <a:pt x="333" y="377"/>
                      <a:pt x="240" y="377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7" name="Freeform 19"/>
              <p:cNvSpPr>
                <a:spLocks/>
              </p:cNvSpPr>
              <p:nvPr/>
            </p:nvSpPr>
            <p:spPr bwMode="auto">
              <a:xfrm>
                <a:off x="3872544" y="3062590"/>
                <a:ext cx="266714" cy="96608"/>
              </a:xfrm>
              <a:custGeom>
                <a:avLst/>
                <a:gdLst>
                  <a:gd name="T0" fmla="*/ 298 w 298"/>
                  <a:gd name="T1" fmla="*/ 77 h 108"/>
                  <a:gd name="T2" fmla="*/ 293 w 298"/>
                  <a:gd name="T3" fmla="*/ 71 h 108"/>
                  <a:gd name="T4" fmla="*/ 261 w 298"/>
                  <a:gd name="T5" fmla="*/ 92 h 108"/>
                  <a:gd name="T6" fmla="*/ 230 w 298"/>
                  <a:gd name="T7" fmla="*/ 58 h 108"/>
                  <a:gd name="T8" fmla="*/ 248 w 298"/>
                  <a:gd name="T9" fmla="*/ 24 h 108"/>
                  <a:gd name="T10" fmla="*/ 239 w 298"/>
                  <a:gd name="T11" fmla="*/ 21 h 108"/>
                  <a:gd name="T12" fmla="*/ 223 w 298"/>
                  <a:gd name="T13" fmla="*/ 52 h 108"/>
                  <a:gd name="T14" fmla="*/ 222 w 298"/>
                  <a:gd name="T15" fmla="*/ 53 h 108"/>
                  <a:gd name="T16" fmla="*/ 156 w 298"/>
                  <a:gd name="T17" fmla="*/ 36 h 108"/>
                  <a:gd name="T18" fmla="*/ 156 w 298"/>
                  <a:gd name="T19" fmla="*/ 0 h 108"/>
                  <a:gd name="T20" fmla="*/ 146 w 298"/>
                  <a:gd name="T21" fmla="*/ 0 h 108"/>
                  <a:gd name="T22" fmla="*/ 146 w 298"/>
                  <a:gd name="T23" fmla="*/ 36 h 108"/>
                  <a:gd name="T24" fmla="*/ 89 w 298"/>
                  <a:gd name="T25" fmla="*/ 49 h 108"/>
                  <a:gd name="T26" fmla="*/ 71 w 298"/>
                  <a:gd name="T27" fmla="*/ 15 h 108"/>
                  <a:gd name="T28" fmla="*/ 62 w 298"/>
                  <a:gd name="T29" fmla="*/ 18 h 108"/>
                  <a:gd name="T30" fmla="*/ 69 w 298"/>
                  <a:gd name="T31" fmla="*/ 31 h 108"/>
                  <a:gd name="T32" fmla="*/ 18 w 298"/>
                  <a:gd name="T33" fmla="*/ 79 h 108"/>
                  <a:gd name="T34" fmla="*/ 6 w 298"/>
                  <a:gd name="T35" fmla="*/ 71 h 108"/>
                  <a:gd name="T36" fmla="*/ 0 w 298"/>
                  <a:gd name="T37" fmla="*/ 77 h 108"/>
                  <a:gd name="T38" fmla="*/ 34 w 298"/>
                  <a:gd name="T39" fmla="*/ 100 h 108"/>
                  <a:gd name="T40" fmla="*/ 33 w 298"/>
                  <a:gd name="T41" fmla="*/ 103 h 108"/>
                  <a:gd name="T42" fmla="*/ 44 w 298"/>
                  <a:gd name="T43" fmla="*/ 108 h 108"/>
                  <a:gd name="T44" fmla="*/ 150 w 298"/>
                  <a:gd name="T45" fmla="*/ 47 h 108"/>
                  <a:gd name="T46" fmla="*/ 257 w 298"/>
                  <a:gd name="T47" fmla="*/ 108 h 108"/>
                  <a:gd name="T48" fmla="*/ 268 w 298"/>
                  <a:gd name="T49" fmla="*/ 103 h 108"/>
                  <a:gd name="T50" fmla="*/ 266 w 298"/>
                  <a:gd name="T51" fmla="*/ 99 h 108"/>
                  <a:gd name="T52" fmla="*/ 298 w 298"/>
                  <a:gd name="T53" fmla="*/ 77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98" h="108">
                    <a:moveTo>
                      <a:pt x="298" y="77"/>
                    </a:moveTo>
                    <a:cubicBezTo>
                      <a:pt x="293" y="71"/>
                      <a:pt x="293" y="71"/>
                      <a:pt x="293" y="71"/>
                    </a:cubicBezTo>
                    <a:cubicBezTo>
                      <a:pt x="261" y="92"/>
                      <a:pt x="261" y="92"/>
                      <a:pt x="261" y="92"/>
                    </a:cubicBezTo>
                    <a:cubicBezTo>
                      <a:pt x="252" y="77"/>
                      <a:pt x="242" y="66"/>
                      <a:pt x="230" y="58"/>
                    </a:cubicBezTo>
                    <a:cubicBezTo>
                      <a:pt x="248" y="24"/>
                      <a:pt x="248" y="24"/>
                      <a:pt x="248" y="24"/>
                    </a:cubicBezTo>
                    <a:cubicBezTo>
                      <a:pt x="239" y="21"/>
                      <a:pt x="239" y="21"/>
                      <a:pt x="239" y="21"/>
                    </a:cubicBezTo>
                    <a:cubicBezTo>
                      <a:pt x="223" y="52"/>
                      <a:pt x="223" y="52"/>
                      <a:pt x="223" y="52"/>
                    </a:cubicBezTo>
                    <a:cubicBezTo>
                      <a:pt x="222" y="53"/>
                      <a:pt x="222" y="53"/>
                      <a:pt x="222" y="53"/>
                    </a:cubicBezTo>
                    <a:cubicBezTo>
                      <a:pt x="204" y="42"/>
                      <a:pt x="183" y="37"/>
                      <a:pt x="156" y="36"/>
                    </a:cubicBezTo>
                    <a:cubicBezTo>
                      <a:pt x="156" y="0"/>
                      <a:pt x="156" y="0"/>
                      <a:pt x="156" y="0"/>
                    </a:cubicBezTo>
                    <a:cubicBezTo>
                      <a:pt x="146" y="0"/>
                      <a:pt x="146" y="0"/>
                      <a:pt x="146" y="0"/>
                    </a:cubicBezTo>
                    <a:cubicBezTo>
                      <a:pt x="146" y="36"/>
                      <a:pt x="146" y="36"/>
                      <a:pt x="146" y="36"/>
                    </a:cubicBezTo>
                    <a:cubicBezTo>
                      <a:pt x="125" y="37"/>
                      <a:pt x="106" y="41"/>
                      <a:pt x="89" y="49"/>
                    </a:cubicBezTo>
                    <a:cubicBezTo>
                      <a:pt x="71" y="15"/>
                      <a:pt x="71" y="15"/>
                      <a:pt x="71" y="15"/>
                    </a:cubicBezTo>
                    <a:cubicBezTo>
                      <a:pt x="62" y="18"/>
                      <a:pt x="62" y="18"/>
                      <a:pt x="62" y="18"/>
                    </a:cubicBezTo>
                    <a:cubicBezTo>
                      <a:pt x="69" y="31"/>
                      <a:pt x="69" y="31"/>
                      <a:pt x="69" y="31"/>
                    </a:cubicBezTo>
                    <a:cubicBezTo>
                      <a:pt x="44" y="43"/>
                      <a:pt x="28" y="61"/>
                      <a:pt x="18" y="79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4" y="101"/>
                      <a:pt x="33" y="102"/>
                      <a:pt x="33" y="103"/>
                    </a:cubicBezTo>
                    <a:cubicBezTo>
                      <a:pt x="44" y="108"/>
                      <a:pt x="44" y="108"/>
                      <a:pt x="44" y="108"/>
                    </a:cubicBezTo>
                    <a:cubicBezTo>
                      <a:pt x="51" y="94"/>
                      <a:pt x="79" y="47"/>
                      <a:pt x="150" y="47"/>
                    </a:cubicBezTo>
                    <a:cubicBezTo>
                      <a:pt x="215" y="47"/>
                      <a:pt x="240" y="77"/>
                      <a:pt x="257" y="108"/>
                    </a:cubicBezTo>
                    <a:cubicBezTo>
                      <a:pt x="268" y="103"/>
                      <a:pt x="268" y="103"/>
                      <a:pt x="268" y="103"/>
                    </a:cubicBezTo>
                    <a:cubicBezTo>
                      <a:pt x="267" y="102"/>
                      <a:pt x="266" y="100"/>
                      <a:pt x="266" y="99"/>
                    </a:cubicBezTo>
                    <a:lnTo>
                      <a:pt x="298" y="7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8" name="Freeform 20"/>
              <p:cNvSpPr>
                <a:spLocks/>
              </p:cNvSpPr>
              <p:nvPr/>
            </p:nvSpPr>
            <p:spPr bwMode="auto">
              <a:xfrm>
                <a:off x="3893002" y="3166396"/>
                <a:ext cx="27656" cy="38643"/>
              </a:xfrm>
              <a:custGeom>
                <a:avLst/>
                <a:gdLst>
                  <a:gd name="T0" fmla="*/ 66 w 73"/>
                  <a:gd name="T1" fmla="*/ 57 h 102"/>
                  <a:gd name="T2" fmla="*/ 21 w 73"/>
                  <a:gd name="T3" fmla="*/ 57 h 102"/>
                  <a:gd name="T4" fmla="*/ 21 w 73"/>
                  <a:gd name="T5" fmla="*/ 85 h 102"/>
                  <a:gd name="T6" fmla="*/ 73 w 73"/>
                  <a:gd name="T7" fmla="*/ 85 h 102"/>
                  <a:gd name="T8" fmla="*/ 73 w 73"/>
                  <a:gd name="T9" fmla="*/ 102 h 102"/>
                  <a:gd name="T10" fmla="*/ 0 w 73"/>
                  <a:gd name="T11" fmla="*/ 102 h 102"/>
                  <a:gd name="T12" fmla="*/ 0 w 73"/>
                  <a:gd name="T13" fmla="*/ 0 h 102"/>
                  <a:gd name="T14" fmla="*/ 69 w 73"/>
                  <a:gd name="T15" fmla="*/ 0 h 102"/>
                  <a:gd name="T16" fmla="*/ 69 w 73"/>
                  <a:gd name="T17" fmla="*/ 14 h 102"/>
                  <a:gd name="T18" fmla="*/ 21 w 73"/>
                  <a:gd name="T19" fmla="*/ 14 h 102"/>
                  <a:gd name="T20" fmla="*/ 21 w 73"/>
                  <a:gd name="T21" fmla="*/ 40 h 102"/>
                  <a:gd name="T22" fmla="*/ 66 w 73"/>
                  <a:gd name="T23" fmla="*/ 40 h 102"/>
                  <a:gd name="T24" fmla="*/ 66 w 73"/>
                  <a:gd name="T25" fmla="*/ 5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3" h="102">
                    <a:moveTo>
                      <a:pt x="66" y="57"/>
                    </a:moveTo>
                    <a:lnTo>
                      <a:pt x="21" y="57"/>
                    </a:lnTo>
                    <a:lnTo>
                      <a:pt x="21" y="85"/>
                    </a:lnTo>
                    <a:lnTo>
                      <a:pt x="73" y="85"/>
                    </a:lnTo>
                    <a:lnTo>
                      <a:pt x="73" y="102"/>
                    </a:lnTo>
                    <a:lnTo>
                      <a:pt x="0" y="102"/>
                    </a:lnTo>
                    <a:lnTo>
                      <a:pt x="0" y="0"/>
                    </a:lnTo>
                    <a:lnTo>
                      <a:pt x="69" y="0"/>
                    </a:lnTo>
                    <a:lnTo>
                      <a:pt x="69" y="14"/>
                    </a:lnTo>
                    <a:lnTo>
                      <a:pt x="21" y="14"/>
                    </a:lnTo>
                    <a:lnTo>
                      <a:pt x="21" y="40"/>
                    </a:lnTo>
                    <a:lnTo>
                      <a:pt x="66" y="40"/>
                    </a:lnTo>
                    <a:lnTo>
                      <a:pt x="66" y="5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9" name="Freeform 21"/>
              <p:cNvSpPr>
                <a:spLocks/>
              </p:cNvSpPr>
              <p:nvPr/>
            </p:nvSpPr>
            <p:spPr bwMode="auto">
              <a:xfrm>
                <a:off x="4100614" y="3168290"/>
                <a:ext cx="26899" cy="38643"/>
              </a:xfrm>
              <a:custGeom>
                <a:avLst/>
                <a:gdLst>
                  <a:gd name="T0" fmla="*/ 0 w 71"/>
                  <a:gd name="T1" fmla="*/ 0 h 102"/>
                  <a:gd name="T2" fmla="*/ 71 w 71"/>
                  <a:gd name="T3" fmla="*/ 0 h 102"/>
                  <a:gd name="T4" fmla="*/ 71 w 71"/>
                  <a:gd name="T5" fmla="*/ 17 h 102"/>
                  <a:gd name="T6" fmla="*/ 24 w 71"/>
                  <a:gd name="T7" fmla="*/ 17 h 102"/>
                  <a:gd name="T8" fmla="*/ 24 w 71"/>
                  <a:gd name="T9" fmla="*/ 43 h 102"/>
                  <a:gd name="T10" fmla="*/ 66 w 71"/>
                  <a:gd name="T11" fmla="*/ 43 h 102"/>
                  <a:gd name="T12" fmla="*/ 66 w 71"/>
                  <a:gd name="T13" fmla="*/ 59 h 102"/>
                  <a:gd name="T14" fmla="*/ 24 w 71"/>
                  <a:gd name="T15" fmla="*/ 59 h 102"/>
                  <a:gd name="T16" fmla="*/ 24 w 71"/>
                  <a:gd name="T17" fmla="*/ 102 h 102"/>
                  <a:gd name="T18" fmla="*/ 0 w 71"/>
                  <a:gd name="T19" fmla="*/ 102 h 102"/>
                  <a:gd name="T20" fmla="*/ 0 w 71"/>
                  <a:gd name="T21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1" h="102">
                    <a:moveTo>
                      <a:pt x="0" y="0"/>
                    </a:moveTo>
                    <a:lnTo>
                      <a:pt x="71" y="0"/>
                    </a:lnTo>
                    <a:lnTo>
                      <a:pt x="71" y="17"/>
                    </a:lnTo>
                    <a:lnTo>
                      <a:pt x="24" y="17"/>
                    </a:lnTo>
                    <a:lnTo>
                      <a:pt x="24" y="43"/>
                    </a:lnTo>
                    <a:lnTo>
                      <a:pt x="66" y="43"/>
                    </a:lnTo>
                    <a:lnTo>
                      <a:pt x="66" y="59"/>
                    </a:lnTo>
                    <a:lnTo>
                      <a:pt x="24" y="59"/>
                    </a:lnTo>
                    <a:lnTo>
                      <a:pt x="24" y="102"/>
                    </a:lnTo>
                    <a:lnTo>
                      <a:pt x="0" y="10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0" name="Freeform 22"/>
              <p:cNvSpPr>
                <a:spLocks/>
              </p:cNvSpPr>
              <p:nvPr/>
            </p:nvSpPr>
            <p:spPr bwMode="auto">
              <a:xfrm>
                <a:off x="3986958" y="3110325"/>
                <a:ext cx="132599" cy="131463"/>
              </a:xfrm>
              <a:custGeom>
                <a:avLst/>
                <a:gdLst>
                  <a:gd name="T0" fmla="*/ 148 w 148"/>
                  <a:gd name="T1" fmla="*/ 0 h 147"/>
                  <a:gd name="T2" fmla="*/ 148 w 148"/>
                  <a:gd name="T3" fmla="*/ 0 h 147"/>
                  <a:gd name="T4" fmla="*/ 148 w 148"/>
                  <a:gd name="T5" fmla="*/ 0 h 147"/>
                  <a:gd name="T6" fmla="*/ 116 w 148"/>
                  <a:gd name="T7" fmla="*/ 16 h 147"/>
                  <a:gd name="T8" fmla="*/ 22 w 148"/>
                  <a:gd name="T9" fmla="*/ 115 h 147"/>
                  <a:gd name="T10" fmla="*/ 6 w 148"/>
                  <a:gd name="T11" fmla="*/ 120 h 147"/>
                  <a:gd name="T12" fmla="*/ 8 w 148"/>
                  <a:gd name="T13" fmla="*/ 142 h 147"/>
                  <a:gd name="T14" fmla="*/ 30 w 148"/>
                  <a:gd name="T15" fmla="*/ 140 h 147"/>
                  <a:gd name="T16" fmla="*/ 31 w 148"/>
                  <a:gd name="T17" fmla="*/ 122 h 147"/>
                  <a:gd name="T18" fmla="*/ 129 w 148"/>
                  <a:gd name="T19" fmla="*/ 34 h 147"/>
                  <a:gd name="T20" fmla="*/ 148 w 148"/>
                  <a:gd name="T21" fmla="*/ 0 h 147"/>
                  <a:gd name="T22" fmla="*/ 148 w 148"/>
                  <a:gd name="T23" fmla="*/ 0 h 147"/>
                  <a:gd name="T24" fmla="*/ 148 w 148"/>
                  <a:gd name="T25" fmla="*/ 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" h="147">
                    <a:moveTo>
                      <a:pt x="148" y="0"/>
                    </a:moveTo>
                    <a:cubicBezTo>
                      <a:pt x="148" y="0"/>
                      <a:pt x="148" y="0"/>
                      <a:pt x="148" y="0"/>
                    </a:cubicBezTo>
                    <a:cubicBezTo>
                      <a:pt x="148" y="0"/>
                      <a:pt x="148" y="0"/>
                      <a:pt x="148" y="0"/>
                    </a:cubicBezTo>
                    <a:cubicBezTo>
                      <a:pt x="139" y="5"/>
                      <a:pt x="125" y="12"/>
                      <a:pt x="116" y="16"/>
                    </a:cubicBezTo>
                    <a:cubicBezTo>
                      <a:pt x="104" y="29"/>
                      <a:pt x="51" y="85"/>
                      <a:pt x="22" y="115"/>
                    </a:cubicBezTo>
                    <a:cubicBezTo>
                      <a:pt x="16" y="114"/>
                      <a:pt x="10" y="115"/>
                      <a:pt x="6" y="120"/>
                    </a:cubicBezTo>
                    <a:cubicBezTo>
                      <a:pt x="0" y="126"/>
                      <a:pt x="1" y="136"/>
                      <a:pt x="8" y="142"/>
                    </a:cubicBezTo>
                    <a:cubicBezTo>
                      <a:pt x="14" y="147"/>
                      <a:pt x="24" y="147"/>
                      <a:pt x="30" y="140"/>
                    </a:cubicBezTo>
                    <a:cubicBezTo>
                      <a:pt x="34" y="135"/>
                      <a:pt x="35" y="128"/>
                      <a:pt x="31" y="122"/>
                    </a:cubicBezTo>
                    <a:cubicBezTo>
                      <a:pt x="62" y="93"/>
                      <a:pt x="116" y="45"/>
                      <a:pt x="129" y="34"/>
                    </a:cubicBezTo>
                    <a:cubicBezTo>
                      <a:pt x="134" y="24"/>
                      <a:pt x="142" y="10"/>
                      <a:pt x="148" y="0"/>
                    </a:cubicBezTo>
                    <a:cubicBezTo>
                      <a:pt x="148" y="0"/>
                      <a:pt x="148" y="0"/>
                      <a:pt x="148" y="0"/>
                    </a:cubicBezTo>
                    <a:cubicBezTo>
                      <a:pt x="148" y="0"/>
                      <a:pt x="148" y="0"/>
                      <a:pt x="14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65" name="Group 199"/>
            <p:cNvGrpSpPr/>
            <p:nvPr/>
          </p:nvGrpSpPr>
          <p:grpSpPr>
            <a:xfrm flipH="1">
              <a:off x="2164166" y="0"/>
              <a:ext cx="481744" cy="506278"/>
              <a:chOff x="-4997450" y="4354513"/>
              <a:chExt cx="685800" cy="720725"/>
            </a:xfrm>
            <a:solidFill>
              <a:schemeClr val="accent4">
                <a:lumMod val="60000"/>
                <a:lumOff val="40000"/>
              </a:schemeClr>
            </a:solidFill>
          </p:grpSpPr>
          <p:sp>
            <p:nvSpPr>
              <p:cNvPr id="82" name="Freeform 30"/>
              <p:cNvSpPr>
                <a:spLocks noEditPoints="1"/>
              </p:cNvSpPr>
              <p:nvPr/>
            </p:nvSpPr>
            <p:spPr bwMode="auto">
              <a:xfrm>
                <a:off x="-4997450" y="4475163"/>
                <a:ext cx="685800" cy="231775"/>
              </a:xfrm>
              <a:custGeom>
                <a:avLst/>
                <a:gdLst>
                  <a:gd name="T0" fmla="*/ 126 w 183"/>
                  <a:gd name="T1" fmla="*/ 27 h 62"/>
                  <a:gd name="T2" fmla="*/ 95 w 183"/>
                  <a:gd name="T3" fmla="*/ 1 h 62"/>
                  <a:gd name="T4" fmla="*/ 92 w 183"/>
                  <a:gd name="T5" fmla="*/ 0 h 62"/>
                  <a:gd name="T6" fmla="*/ 91 w 183"/>
                  <a:gd name="T7" fmla="*/ 0 h 62"/>
                  <a:gd name="T8" fmla="*/ 91 w 183"/>
                  <a:gd name="T9" fmla="*/ 0 h 62"/>
                  <a:gd name="T10" fmla="*/ 88 w 183"/>
                  <a:gd name="T11" fmla="*/ 1 h 62"/>
                  <a:gd name="T12" fmla="*/ 57 w 183"/>
                  <a:gd name="T13" fmla="*/ 27 h 62"/>
                  <a:gd name="T14" fmla="*/ 0 w 183"/>
                  <a:gd name="T15" fmla="*/ 58 h 62"/>
                  <a:gd name="T16" fmla="*/ 0 w 183"/>
                  <a:gd name="T17" fmla="*/ 62 h 62"/>
                  <a:gd name="T18" fmla="*/ 183 w 183"/>
                  <a:gd name="T19" fmla="*/ 62 h 62"/>
                  <a:gd name="T20" fmla="*/ 183 w 183"/>
                  <a:gd name="T21" fmla="*/ 58 h 62"/>
                  <a:gd name="T22" fmla="*/ 126 w 183"/>
                  <a:gd name="T23" fmla="*/ 27 h 62"/>
                  <a:gd name="T24" fmla="*/ 9 w 183"/>
                  <a:gd name="T25" fmla="*/ 58 h 62"/>
                  <a:gd name="T26" fmla="*/ 91 w 183"/>
                  <a:gd name="T27" fmla="*/ 17 h 62"/>
                  <a:gd name="T28" fmla="*/ 91 w 183"/>
                  <a:gd name="T29" fmla="*/ 17 h 62"/>
                  <a:gd name="T30" fmla="*/ 92 w 183"/>
                  <a:gd name="T31" fmla="*/ 17 h 62"/>
                  <a:gd name="T32" fmla="*/ 174 w 183"/>
                  <a:gd name="T33" fmla="*/ 58 h 62"/>
                  <a:gd name="T34" fmla="*/ 9 w 183"/>
                  <a:gd name="T35" fmla="*/ 5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3" h="62">
                    <a:moveTo>
                      <a:pt x="126" y="27"/>
                    </a:moveTo>
                    <a:cubicBezTo>
                      <a:pt x="116" y="19"/>
                      <a:pt x="105" y="5"/>
                      <a:pt x="95" y="1"/>
                    </a:cubicBezTo>
                    <a:cubicBezTo>
                      <a:pt x="94" y="1"/>
                      <a:pt x="93" y="0"/>
                      <a:pt x="92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0" y="0"/>
                      <a:pt x="89" y="1"/>
                      <a:pt x="88" y="1"/>
                    </a:cubicBezTo>
                    <a:cubicBezTo>
                      <a:pt x="78" y="5"/>
                      <a:pt x="67" y="19"/>
                      <a:pt x="57" y="27"/>
                    </a:cubicBezTo>
                    <a:cubicBezTo>
                      <a:pt x="31" y="39"/>
                      <a:pt x="0" y="51"/>
                      <a:pt x="0" y="58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183" y="62"/>
                      <a:pt x="183" y="62"/>
                      <a:pt x="183" y="62"/>
                    </a:cubicBezTo>
                    <a:cubicBezTo>
                      <a:pt x="183" y="62"/>
                      <a:pt x="183" y="62"/>
                      <a:pt x="183" y="58"/>
                    </a:cubicBezTo>
                    <a:cubicBezTo>
                      <a:pt x="183" y="51"/>
                      <a:pt x="151" y="39"/>
                      <a:pt x="126" y="27"/>
                    </a:cubicBezTo>
                    <a:close/>
                    <a:moveTo>
                      <a:pt x="9" y="58"/>
                    </a:moveTo>
                    <a:cubicBezTo>
                      <a:pt x="91" y="17"/>
                      <a:pt x="91" y="17"/>
                      <a:pt x="91" y="17"/>
                    </a:cubicBezTo>
                    <a:cubicBezTo>
                      <a:pt x="91" y="17"/>
                      <a:pt x="91" y="17"/>
                      <a:pt x="91" y="17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174" y="58"/>
                      <a:pt x="174" y="58"/>
                      <a:pt x="174" y="58"/>
                    </a:cubicBezTo>
                    <a:lnTo>
                      <a:pt x="9" y="58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3" name="Oval 31"/>
              <p:cNvSpPr>
                <a:spLocks noChangeArrowheads="1"/>
              </p:cNvSpPr>
              <p:nvPr/>
            </p:nvSpPr>
            <p:spPr bwMode="auto">
              <a:xfrm>
                <a:off x="-4672013" y="4494213"/>
                <a:ext cx="30163" cy="30163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4" name="Freeform 32"/>
              <p:cNvSpPr>
                <a:spLocks/>
              </p:cNvSpPr>
              <p:nvPr/>
            </p:nvSpPr>
            <p:spPr bwMode="auto">
              <a:xfrm>
                <a:off x="-4705350" y="4354513"/>
                <a:ext cx="109538" cy="112713"/>
              </a:xfrm>
              <a:custGeom>
                <a:avLst/>
                <a:gdLst>
                  <a:gd name="T0" fmla="*/ 14 w 29"/>
                  <a:gd name="T1" fmla="*/ 30 h 30"/>
                  <a:gd name="T2" fmla="*/ 11 w 29"/>
                  <a:gd name="T3" fmla="*/ 30 h 30"/>
                  <a:gd name="T4" fmla="*/ 11 w 29"/>
                  <a:gd name="T5" fmla="*/ 18 h 30"/>
                  <a:gd name="T6" fmla="*/ 14 w 29"/>
                  <a:gd name="T7" fmla="*/ 18 h 30"/>
                  <a:gd name="T8" fmla="*/ 18 w 29"/>
                  <a:gd name="T9" fmla="*/ 17 h 30"/>
                  <a:gd name="T10" fmla="*/ 20 w 29"/>
                  <a:gd name="T11" fmla="*/ 12 h 30"/>
                  <a:gd name="T12" fmla="*/ 18 w 29"/>
                  <a:gd name="T13" fmla="*/ 8 h 30"/>
                  <a:gd name="T14" fmla="*/ 14 w 29"/>
                  <a:gd name="T15" fmla="*/ 7 h 30"/>
                  <a:gd name="T16" fmla="*/ 11 w 29"/>
                  <a:gd name="T17" fmla="*/ 8 h 30"/>
                  <a:gd name="T18" fmla="*/ 9 w 29"/>
                  <a:gd name="T19" fmla="*/ 12 h 30"/>
                  <a:gd name="T20" fmla="*/ 9 w 29"/>
                  <a:gd name="T21" fmla="*/ 13 h 30"/>
                  <a:gd name="T22" fmla="*/ 0 w 29"/>
                  <a:gd name="T23" fmla="*/ 13 h 30"/>
                  <a:gd name="T24" fmla="*/ 2 w 29"/>
                  <a:gd name="T25" fmla="*/ 7 h 30"/>
                  <a:gd name="T26" fmla="*/ 6 w 29"/>
                  <a:gd name="T27" fmla="*/ 2 h 30"/>
                  <a:gd name="T28" fmla="*/ 15 w 29"/>
                  <a:gd name="T29" fmla="*/ 0 h 30"/>
                  <a:gd name="T30" fmla="*/ 26 w 29"/>
                  <a:gd name="T31" fmla="*/ 4 h 30"/>
                  <a:gd name="T32" fmla="*/ 29 w 29"/>
                  <a:gd name="T33" fmla="*/ 13 h 30"/>
                  <a:gd name="T34" fmla="*/ 26 w 29"/>
                  <a:gd name="T35" fmla="*/ 21 h 30"/>
                  <a:gd name="T36" fmla="*/ 18 w 29"/>
                  <a:gd name="T37" fmla="*/ 24 h 30"/>
                  <a:gd name="T38" fmla="*/ 17 w 29"/>
                  <a:gd name="T39" fmla="*/ 24 h 30"/>
                  <a:gd name="T40" fmla="*/ 14 w 29"/>
                  <a:gd name="T41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9" h="30">
                    <a:moveTo>
                      <a:pt x="14" y="30"/>
                    </a:move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12" y="18"/>
                      <a:pt x="13" y="18"/>
                      <a:pt x="14" y="18"/>
                    </a:cubicBezTo>
                    <a:cubicBezTo>
                      <a:pt x="15" y="18"/>
                      <a:pt x="17" y="18"/>
                      <a:pt x="18" y="17"/>
                    </a:cubicBezTo>
                    <a:cubicBezTo>
                      <a:pt x="19" y="16"/>
                      <a:pt x="20" y="14"/>
                      <a:pt x="20" y="12"/>
                    </a:cubicBezTo>
                    <a:cubicBezTo>
                      <a:pt x="20" y="11"/>
                      <a:pt x="19" y="9"/>
                      <a:pt x="18" y="8"/>
                    </a:cubicBezTo>
                    <a:cubicBezTo>
                      <a:pt x="17" y="7"/>
                      <a:pt x="16" y="7"/>
                      <a:pt x="14" y="7"/>
                    </a:cubicBezTo>
                    <a:cubicBezTo>
                      <a:pt x="13" y="7"/>
                      <a:pt x="11" y="7"/>
                      <a:pt x="11" y="8"/>
                    </a:cubicBezTo>
                    <a:cubicBezTo>
                      <a:pt x="10" y="9"/>
                      <a:pt x="9" y="11"/>
                      <a:pt x="9" y="12"/>
                    </a:cubicBezTo>
                    <a:cubicBezTo>
                      <a:pt x="9" y="12"/>
                      <a:pt x="9" y="13"/>
                      <a:pt x="9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1"/>
                      <a:pt x="1" y="9"/>
                      <a:pt x="2" y="7"/>
                    </a:cubicBezTo>
                    <a:cubicBezTo>
                      <a:pt x="2" y="5"/>
                      <a:pt x="4" y="4"/>
                      <a:pt x="6" y="2"/>
                    </a:cubicBezTo>
                    <a:cubicBezTo>
                      <a:pt x="9" y="1"/>
                      <a:pt x="12" y="0"/>
                      <a:pt x="15" y="0"/>
                    </a:cubicBezTo>
                    <a:cubicBezTo>
                      <a:pt x="20" y="0"/>
                      <a:pt x="23" y="2"/>
                      <a:pt x="26" y="4"/>
                    </a:cubicBezTo>
                    <a:cubicBezTo>
                      <a:pt x="28" y="6"/>
                      <a:pt x="29" y="9"/>
                      <a:pt x="29" y="13"/>
                    </a:cubicBezTo>
                    <a:cubicBezTo>
                      <a:pt x="29" y="16"/>
                      <a:pt x="28" y="19"/>
                      <a:pt x="26" y="21"/>
                    </a:cubicBezTo>
                    <a:cubicBezTo>
                      <a:pt x="24" y="23"/>
                      <a:pt x="21" y="24"/>
                      <a:pt x="18" y="24"/>
                    </a:cubicBezTo>
                    <a:cubicBezTo>
                      <a:pt x="18" y="24"/>
                      <a:pt x="17" y="24"/>
                      <a:pt x="17" y="24"/>
                    </a:cubicBezTo>
                    <a:lnTo>
                      <a:pt x="14" y="3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5" name="Freeform 33"/>
              <p:cNvSpPr>
                <a:spLocks/>
              </p:cNvSpPr>
              <p:nvPr/>
            </p:nvSpPr>
            <p:spPr bwMode="auto">
              <a:xfrm>
                <a:off x="-4821238" y="4637088"/>
                <a:ext cx="330200" cy="438150"/>
              </a:xfrm>
              <a:custGeom>
                <a:avLst/>
                <a:gdLst>
                  <a:gd name="T0" fmla="*/ 88 w 88"/>
                  <a:gd name="T1" fmla="*/ 107 h 117"/>
                  <a:gd name="T2" fmla="*/ 78 w 88"/>
                  <a:gd name="T3" fmla="*/ 117 h 117"/>
                  <a:gd name="T4" fmla="*/ 10 w 88"/>
                  <a:gd name="T5" fmla="*/ 117 h 117"/>
                  <a:gd name="T6" fmla="*/ 0 w 88"/>
                  <a:gd name="T7" fmla="*/ 107 h 117"/>
                  <a:gd name="T8" fmla="*/ 0 w 88"/>
                  <a:gd name="T9" fmla="*/ 11 h 117"/>
                  <a:gd name="T10" fmla="*/ 10 w 88"/>
                  <a:gd name="T11" fmla="*/ 0 h 117"/>
                  <a:gd name="T12" fmla="*/ 78 w 88"/>
                  <a:gd name="T13" fmla="*/ 0 h 117"/>
                  <a:gd name="T14" fmla="*/ 88 w 88"/>
                  <a:gd name="T15" fmla="*/ 11 h 117"/>
                  <a:gd name="T16" fmla="*/ 88 w 88"/>
                  <a:gd name="T17" fmla="*/ 10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8" h="117">
                    <a:moveTo>
                      <a:pt x="88" y="107"/>
                    </a:moveTo>
                    <a:cubicBezTo>
                      <a:pt x="88" y="112"/>
                      <a:pt x="84" y="117"/>
                      <a:pt x="78" y="117"/>
                    </a:cubicBezTo>
                    <a:cubicBezTo>
                      <a:pt x="10" y="117"/>
                      <a:pt x="10" y="117"/>
                      <a:pt x="10" y="117"/>
                    </a:cubicBezTo>
                    <a:cubicBezTo>
                      <a:pt x="4" y="117"/>
                      <a:pt x="0" y="112"/>
                      <a:pt x="0" y="107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4" y="0"/>
                      <a:pt x="88" y="5"/>
                      <a:pt x="88" y="11"/>
                    </a:cubicBezTo>
                    <a:lnTo>
                      <a:pt x="88" y="10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66" name="Group 204"/>
            <p:cNvGrpSpPr/>
            <p:nvPr/>
          </p:nvGrpSpPr>
          <p:grpSpPr>
            <a:xfrm flipH="1">
              <a:off x="1149031" y="104997"/>
              <a:ext cx="444687" cy="248456"/>
              <a:chOff x="-3778250" y="3316288"/>
              <a:chExt cx="892175" cy="498475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78" name="Freeform 34"/>
              <p:cNvSpPr>
                <a:spLocks noEditPoints="1"/>
              </p:cNvSpPr>
              <p:nvPr/>
            </p:nvSpPr>
            <p:spPr bwMode="auto">
              <a:xfrm>
                <a:off x="-3554413" y="3319463"/>
                <a:ext cx="487363" cy="492125"/>
              </a:xfrm>
              <a:custGeom>
                <a:avLst/>
                <a:gdLst>
                  <a:gd name="T0" fmla="*/ 65 w 130"/>
                  <a:gd name="T1" fmla="*/ 0 h 131"/>
                  <a:gd name="T2" fmla="*/ 0 w 130"/>
                  <a:gd name="T3" fmla="*/ 66 h 131"/>
                  <a:gd name="T4" fmla="*/ 65 w 130"/>
                  <a:gd name="T5" fmla="*/ 131 h 131"/>
                  <a:gd name="T6" fmla="*/ 130 w 130"/>
                  <a:gd name="T7" fmla="*/ 66 h 131"/>
                  <a:gd name="T8" fmla="*/ 65 w 130"/>
                  <a:gd name="T9" fmla="*/ 0 h 131"/>
                  <a:gd name="T10" fmla="*/ 65 w 130"/>
                  <a:gd name="T11" fmla="*/ 117 h 131"/>
                  <a:gd name="T12" fmla="*/ 13 w 130"/>
                  <a:gd name="T13" fmla="*/ 66 h 131"/>
                  <a:gd name="T14" fmla="*/ 65 w 130"/>
                  <a:gd name="T15" fmla="*/ 14 h 131"/>
                  <a:gd name="T16" fmla="*/ 116 w 130"/>
                  <a:gd name="T17" fmla="*/ 66 h 131"/>
                  <a:gd name="T18" fmla="*/ 65 w 130"/>
                  <a:gd name="T19" fmla="*/ 11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1">
                    <a:moveTo>
                      <a:pt x="65" y="0"/>
                    </a:moveTo>
                    <a:cubicBezTo>
                      <a:pt x="29" y="0"/>
                      <a:pt x="0" y="30"/>
                      <a:pt x="0" y="66"/>
                    </a:cubicBezTo>
                    <a:cubicBezTo>
                      <a:pt x="0" y="101"/>
                      <a:pt x="29" y="131"/>
                      <a:pt x="65" y="131"/>
                    </a:cubicBezTo>
                    <a:cubicBezTo>
                      <a:pt x="101" y="131"/>
                      <a:pt x="130" y="101"/>
                      <a:pt x="130" y="66"/>
                    </a:cubicBezTo>
                    <a:cubicBezTo>
                      <a:pt x="130" y="30"/>
                      <a:pt x="101" y="0"/>
                      <a:pt x="65" y="0"/>
                    </a:cubicBezTo>
                    <a:close/>
                    <a:moveTo>
                      <a:pt x="65" y="117"/>
                    </a:moveTo>
                    <a:cubicBezTo>
                      <a:pt x="36" y="117"/>
                      <a:pt x="13" y="94"/>
                      <a:pt x="13" y="66"/>
                    </a:cubicBezTo>
                    <a:cubicBezTo>
                      <a:pt x="13" y="37"/>
                      <a:pt x="36" y="14"/>
                      <a:pt x="65" y="14"/>
                    </a:cubicBezTo>
                    <a:cubicBezTo>
                      <a:pt x="93" y="14"/>
                      <a:pt x="116" y="37"/>
                      <a:pt x="116" y="66"/>
                    </a:cubicBezTo>
                    <a:cubicBezTo>
                      <a:pt x="116" y="94"/>
                      <a:pt x="93" y="117"/>
                      <a:pt x="65" y="117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79" name="Oval 35"/>
              <p:cNvSpPr>
                <a:spLocks noChangeArrowheads="1"/>
              </p:cNvSpPr>
              <p:nvPr/>
            </p:nvSpPr>
            <p:spPr bwMode="auto">
              <a:xfrm>
                <a:off x="-3467100" y="3409950"/>
                <a:ext cx="311150" cy="311150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0" name="Freeform 36"/>
              <p:cNvSpPr>
                <a:spLocks/>
              </p:cNvSpPr>
              <p:nvPr/>
            </p:nvSpPr>
            <p:spPr bwMode="auto">
              <a:xfrm>
                <a:off x="-3778250" y="3316288"/>
                <a:ext cx="168275" cy="498475"/>
              </a:xfrm>
              <a:custGeom>
                <a:avLst/>
                <a:gdLst>
                  <a:gd name="T0" fmla="*/ 45 w 45"/>
                  <a:gd name="T1" fmla="*/ 33 h 133"/>
                  <a:gd name="T2" fmla="*/ 22 w 45"/>
                  <a:gd name="T3" fmla="*/ 0 h 133"/>
                  <a:gd name="T4" fmla="*/ 0 w 45"/>
                  <a:gd name="T5" fmla="*/ 33 h 133"/>
                  <a:gd name="T6" fmla="*/ 16 w 45"/>
                  <a:gd name="T7" fmla="*/ 57 h 133"/>
                  <a:gd name="T8" fmla="*/ 14 w 45"/>
                  <a:gd name="T9" fmla="*/ 133 h 133"/>
                  <a:gd name="T10" fmla="*/ 31 w 45"/>
                  <a:gd name="T11" fmla="*/ 133 h 133"/>
                  <a:gd name="T12" fmla="*/ 28 w 45"/>
                  <a:gd name="T13" fmla="*/ 57 h 133"/>
                  <a:gd name="T14" fmla="*/ 45 w 45"/>
                  <a:gd name="T15" fmla="*/ 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133">
                    <a:moveTo>
                      <a:pt x="45" y="33"/>
                    </a:moveTo>
                    <a:cubicBezTo>
                      <a:pt x="45" y="17"/>
                      <a:pt x="35" y="0"/>
                      <a:pt x="22" y="0"/>
                    </a:cubicBezTo>
                    <a:cubicBezTo>
                      <a:pt x="10" y="0"/>
                      <a:pt x="0" y="17"/>
                      <a:pt x="0" y="33"/>
                    </a:cubicBezTo>
                    <a:cubicBezTo>
                      <a:pt x="0" y="46"/>
                      <a:pt x="7" y="55"/>
                      <a:pt x="16" y="57"/>
                    </a:cubicBezTo>
                    <a:cubicBezTo>
                      <a:pt x="14" y="133"/>
                      <a:pt x="14" y="133"/>
                      <a:pt x="14" y="133"/>
                    </a:cubicBezTo>
                    <a:cubicBezTo>
                      <a:pt x="31" y="133"/>
                      <a:pt x="31" y="133"/>
                      <a:pt x="31" y="133"/>
                    </a:cubicBezTo>
                    <a:cubicBezTo>
                      <a:pt x="28" y="57"/>
                      <a:pt x="28" y="57"/>
                      <a:pt x="28" y="57"/>
                    </a:cubicBezTo>
                    <a:cubicBezTo>
                      <a:pt x="38" y="55"/>
                      <a:pt x="45" y="46"/>
                      <a:pt x="45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1" name="Freeform 37"/>
              <p:cNvSpPr>
                <a:spLocks/>
              </p:cNvSpPr>
              <p:nvPr/>
            </p:nvSpPr>
            <p:spPr bwMode="auto">
              <a:xfrm>
                <a:off x="-3036888" y="3319463"/>
                <a:ext cx="150813" cy="492125"/>
              </a:xfrm>
              <a:custGeom>
                <a:avLst/>
                <a:gdLst>
                  <a:gd name="T0" fmla="*/ 40 w 40"/>
                  <a:gd name="T1" fmla="*/ 39 h 131"/>
                  <a:gd name="T2" fmla="*/ 37 w 40"/>
                  <a:gd name="T3" fmla="*/ 15 h 131"/>
                  <a:gd name="T4" fmla="*/ 31 w 40"/>
                  <a:gd name="T5" fmla="*/ 1 h 131"/>
                  <a:gd name="T6" fmla="*/ 31 w 40"/>
                  <a:gd name="T7" fmla="*/ 31 h 131"/>
                  <a:gd name="T8" fmla="*/ 27 w 40"/>
                  <a:gd name="T9" fmla="*/ 31 h 131"/>
                  <a:gd name="T10" fmla="*/ 27 w 40"/>
                  <a:gd name="T11" fmla="*/ 0 h 131"/>
                  <a:gd name="T12" fmla="*/ 22 w 40"/>
                  <a:gd name="T13" fmla="*/ 0 h 131"/>
                  <a:gd name="T14" fmla="*/ 22 w 40"/>
                  <a:gd name="T15" fmla="*/ 31 h 131"/>
                  <a:gd name="T16" fmla="*/ 21 w 40"/>
                  <a:gd name="T17" fmla="*/ 31 h 131"/>
                  <a:gd name="T18" fmla="*/ 21 w 40"/>
                  <a:gd name="T19" fmla="*/ 31 h 131"/>
                  <a:gd name="T20" fmla="*/ 17 w 40"/>
                  <a:gd name="T21" fmla="*/ 31 h 131"/>
                  <a:gd name="T22" fmla="*/ 17 w 40"/>
                  <a:gd name="T23" fmla="*/ 0 h 131"/>
                  <a:gd name="T24" fmla="*/ 13 w 40"/>
                  <a:gd name="T25" fmla="*/ 0 h 131"/>
                  <a:gd name="T26" fmla="*/ 13 w 40"/>
                  <a:gd name="T27" fmla="*/ 31 h 131"/>
                  <a:gd name="T28" fmla="*/ 8 w 40"/>
                  <a:gd name="T29" fmla="*/ 31 h 131"/>
                  <a:gd name="T30" fmla="*/ 8 w 40"/>
                  <a:gd name="T31" fmla="*/ 1 h 131"/>
                  <a:gd name="T32" fmla="*/ 2 w 40"/>
                  <a:gd name="T33" fmla="*/ 15 h 131"/>
                  <a:gd name="T34" fmla="*/ 0 w 40"/>
                  <a:gd name="T35" fmla="*/ 39 h 131"/>
                  <a:gd name="T36" fmla="*/ 14 w 40"/>
                  <a:gd name="T37" fmla="*/ 56 h 131"/>
                  <a:gd name="T38" fmla="*/ 11 w 40"/>
                  <a:gd name="T39" fmla="*/ 131 h 131"/>
                  <a:gd name="T40" fmla="*/ 28 w 40"/>
                  <a:gd name="T41" fmla="*/ 131 h 131"/>
                  <a:gd name="T42" fmla="*/ 26 w 40"/>
                  <a:gd name="T43" fmla="*/ 56 h 131"/>
                  <a:gd name="T44" fmla="*/ 40 w 40"/>
                  <a:gd name="T45" fmla="*/ 39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0" h="131">
                    <a:moveTo>
                      <a:pt x="40" y="39"/>
                    </a:moveTo>
                    <a:cubicBezTo>
                      <a:pt x="37" y="15"/>
                      <a:pt x="37" y="15"/>
                      <a:pt x="37" y="15"/>
                    </a:cubicBezTo>
                    <a:cubicBezTo>
                      <a:pt x="37" y="10"/>
                      <a:pt x="35" y="4"/>
                      <a:pt x="31" y="1"/>
                    </a:cubicBezTo>
                    <a:cubicBezTo>
                      <a:pt x="31" y="31"/>
                      <a:pt x="31" y="31"/>
                      <a:pt x="31" y="31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5" y="0"/>
                      <a:pt x="24" y="0"/>
                      <a:pt x="22" y="0"/>
                    </a:cubicBezTo>
                    <a:cubicBezTo>
                      <a:pt x="22" y="31"/>
                      <a:pt x="22" y="31"/>
                      <a:pt x="22" y="31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6" y="0"/>
                      <a:pt x="15" y="0"/>
                      <a:pt x="13" y="0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5" y="4"/>
                      <a:pt x="2" y="10"/>
                      <a:pt x="2" y="15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7"/>
                      <a:pt x="5" y="54"/>
                      <a:pt x="14" y="56"/>
                    </a:cubicBezTo>
                    <a:cubicBezTo>
                      <a:pt x="11" y="131"/>
                      <a:pt x="11" y="131"/>
                      <a:pt x="11" y="131"/>
                    </a:cubicBezTo>
                    <a:cubicBezTo>
                      <a:pt x="28" y="131"/>
                      <a:pt x="28" y="131"/>
                      <a:pt x="28" y="131"/>
                    </a:cubicBezTo>
                    <a:cubicBezTo>
                      <a:pt x="26" y="56"/>
                      <a:pt x="26" y="56"/>
                      <a:pt x="26" y="56"/>
                    </a:cubicBezTo>
                    <a:cubicBezTo>
                      <a:pt x="34" y="54"/>
                      <a:pt x="40" y="47"/>
                      <a:pt x="40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67" name="Group 209"/>
            <p:cNvGrpSpPr/>
            <p:nvPr/>
          </p:nvGrpSpPr>
          <p:grpSpPr>
            <a:xfrm flipH="1">
              <a:off x="506185" y="1004619"/>
              <a:ext cx="334088" cy="310457"/>
              <a:chOff x="3791090" y="2972422"/>
              <a:chExt cx="428485" cy="398177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73" name="Freeform 18"/>
              <p:cNvSpPr>
                <a:spLocks noEditPoints="1"/>
              </p:cNvSpPr>
              <p:nvPr/>
            </p:nvSpPr>
            <p:spPr bwMode="auto">
              <a:xfrm>
                <a:off x="3791090" y="2972422"/>
                <a:ext cx="428485" cy="398177"/>
              </a:xfrm>
              <a:custGeom>
                <a:avLst/>
                <a:gdLst>
                  <a:gd name="T0" fmla="*/ 240 w 479"/>
                  <a:gd name="T1" fmla="*/ 0 h 445"/>
                  <a:gd name="T2" fmla="*/ 0 w 479"/>
                  <a:gd name="T3" fmla="*/ 222 h 445"/>
                  <a:gd name="T4" fmla="*/ 240 w 479"/>
                  <a:gd name="T5" fmla="*/ 445 h 445"/>
                  <a:gd name="T6" fmla="*/ 479 w 479"/>
                  <a:gd name="T7" fmla="*/ 222 h 445"/>
                  <a:gd name="T8" fmla="*/ 240 w 479"/>
                  <a:gd name="T9" fmla="*/ 0 h 445"/>
                  <a:gd name="T10" fmla="*/ 240 w 479"/>
                  <a:gd name="T11" fmla="*/ 377 h 445"/>
                  <a:gd name="T12" fmla="*/ 70 w 479"/>
                  <a:gd name="T13" fmla="*/ 222 h 445"/>
                  <a:gd name="T14" fmla="*/ 240 w 479"/>
                  <a:gd name="T15" fmla="*/ 67 h 445"/>
                  <a:gd name="T16" fmla="*/ 410 w 479"/>
                  <a:gd name="T17" fmla="*/ 222 h 445"/>
                  <a:gd name="T18" fmla="*/ 240 w 479"/>
                  <a:gd name="T19" fmla="*/ 377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9" h="445">
                    <a:moveTo>
                      <a:pt x="240" y="0"/>
                    </a:moveTo>
                    <a:cubicBezTo>
                      <a:pt x="108" y="0"/>
                      <a:pt x="0" y="99"/>
                      <a:pt x="0" y="222"/>
                    </a:cubicBezTo>
                    <a:cubicBezTo>
                      <a:pt x="0" y="345"/>
                      <a:pt x="108" y="445"/>
                      <a:pt x="240" y="445"/>
                    </a:cubicBezTo>
                    <a:cubicBezTo>
                      <a:pt x="372" y="445"/>
                      <a:pt x="479" y="345"/>
                      <a:pt x="479" y="222"/>
                    </a:cubicBezTo>
                    <a:cubicBezTo>
                      <a:pt x="479" y="99"/>
                      <a:pt x="372" y="0"/>
                      <a:pt x="240" y="0"/>
                    </a:cubicBezTo>
                    <a:close/>
                    <a:moveTo>
                      <a:pt x="240" y="377"/>
                    </a:moveTo>
                    <a:cubicBezTo>
                      <a:pt x="146" y="377"/>
                      <a:pt x="70" y="308"/>
                      <a:pt x="70" y="222"/>
                    </a:cubicBezTo>
                    <a:cubicBezTo>
                      <a:pt x="70" y="137"/>
                      <a:pt x="146" y="67"/>
                      <a:pt x="240" y="67"/>
                    </a:cubicBezTo>
                    <a:cubicBezTo>
                      <a:pt x="333" y="67"/>
                      <a:pt x="410" y="137"/>
                      <a:pt x="410" y="222"/>
                    </a:cubicBezTo>
                    <a:cubicBezTo>
                      <a:pt x="410" y="308"/>
                      <a:pt x="333" y="377"/>
                      <a:pt x="240" y="377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74" name="Freeform 19"/>
              <p:cNvSpPr>
                <a:spLocks/>
              </p:cNvSpPr>
              <p:nvPr/>
            </p:nvSpPr>
            <p:spPr bwMode="auto">
              <a:xfrm>
                <a:off x="3872544" y="3062590"/>
                <a:ext cx="266714" cy="96608"/>
              </a:xfrm>
              <a:custGeom>
                <a:avLst/>
                <a:gdLst>
                  <a:gd name="T0" fmla="*/ 298 w 298"/>
                  <a:gd name="T1" fmla="*/ 77 h 108"/>
                  <a:gd name="T2" fmla="*/ 293 w 298"/>
                  <a:gd name="T3" fmla="*/ 71 h 108"/>
                  <a:gd name="T4" fmla="*/ 261 w 298"/>
                  <a:gd name="T5" fmla="*/ 92 h 108"/>
                  <a:gd name="T6" fmla="*/ 230 w 298"/>
                  <a:gd name="T7" fmla="*/ 58 h 108"/>
                  <a:gd name="T8" fmla="*/ 248 w 298"/>
                  <a:gd name="T9" fmla="*/ 24 h 108"/>
                  <a:gd name="T10" fmla="*/ 239 w 298"/>
                  <a:gd name="T11" fmla="*/ 21 h 108"/>
                  <a:gd name="T12" fmla="*/ 223 w 298"/>
                  <a:gd name="T13" fmla="*/ 52 h 108"/>
                  <a:gd name="T14" fmla="*/ 222 w 298"/>
                  <a:gd name="T15" fmla="*/ 53 h 108"/>
                  <a:gd name="T16" fmla="*/ 156 w 298"/>
                  <a:gd name="T17" fmla="*/ 36 h 108"/>
                  <a:gd name="T18" fmla="*/ 156 w 298"/>
                  <a:gd name="T19" fmla="*/ 0 h 108"/>
                  <a:gd name="T20" fmla="*/ 146 w 298"/>
                  <a:gd name="T21" fmla="*/ 0 h 108"/>
                  <a:gd name="T22" fmla="*/ 146 w 298"/>
                  <a:gd name="T23" fmla="*/ 36 h 108"/>
                  <a:gd name="T24" fmla="*/ 89 w 298"/>
                  <a:gd name="T25" fmla="*/ 49 h 108"/>
                  <a:gd name="T26" fmla="*/ 71 w 298"/>
                  <a:gd name="T27" fmla="*/ 15 h 108"/>
                  <a:gd name="T28" fmla="*/ 62 w 298"/>
                  <a:gd name="T29" fmla="*/ 18 h 108"/>
                  <a:gd name="T30" fmla="*/ 69 w 298"/>
                  <a:gd name="T31" fmla="*/ 31 h 108"/>
                  <a:gd name="T32" fmla="*/ 18 w 298"/>
                  <a:gd name="T33" fmla="*/ 79 h 108"/>
                  <a:gd name="T34" fmla="*/ 6 w 298"/>
                  <a:gd name="T35" fmla="*/ 71 h 108"/>
                  <a:gd name="T36" fmla="*/ 0 w 298"/>
                  <a:gd name="T37" fmla="*/ 77 h 108"/>
                  <a:gd name="T38" fmla="*/ 34 w 298"/>
                  <a:gd name="T39" fmla="*/ 100 h 108"/>
                  <a:gd name="T40" fmla="*/ 33 w 298"/>
                  <a:gd name="T41" fmla="*/ 103 h 108"/>
                  <a:gd name="T42" fmla="*/ 44 w 298"/>
                  <a:gd name="T43" fmla="*/ 108 h 108"/>
                  <a:gd name="T44" fmla="*/ 150 w 298"/>
                  <a:gd name="T45" fmla="*/ 47 h 108"/>
                  <a:gd name="T46" fmla="*/ 257 w 298"/>
                  <a:gd name="T47" fmla="*/ 108 h 108"/>
                  <a:gd name="T48" fmla="*/ 268 w 298"/>
                  <a:gd name="T49" fmla="*/ 103 h 108"/>
                  <a:gd name="T50" fmla="*/ 266 w 298"/>
                  <a:gd name="T51" fmla="*/ 99 h 108"/>
                  <a:gd name="T52" fmla="*/ 298 w 298"/>
                  <a:gd name="T53" fmla="*/ 77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98" h="108">
                    <a:moveTo>
                      <a:pt x="298" y="77"/>
                    </a:moveTo>
                    <a:cubicBezTo>
                      <a:pt x="293" y="71"/>
                      <a:pt x="293" y="71"/>
                      <a:pt x="293" y="71"/>
                    </a:cubicBezTo>
                    <a:cubicBezTo>
                      <a:pt x="261" y="92"/>
                      <a:pt x="261" y="92"/>
                      <a:pt x="261" y="92"/>
                    </a:cubicBezTo>
                    <a:cubicBezTo>
                      <a:pt x="252" y="77"/>
                      <a:pt x="242" y="66"/>
                      <a:pt x="230" y="58"/>
                    </a:cubicBezTo>
                    <a:cubicBezTo>
                      <a:pt x="248" y="24"/>
                      <a:pt x="248" y="24"/>
                      <a:pt x="248" y="24"/>
                    </a:cubicBezTo>
                    <a:cubicBezTo>
                      <a:pt x="239" y="21"/>
                      <a:pt x="239" y="21"/>
                      <a:pt x="239" y="21"/>
                    </a:cubicBezTo>
                    <a:cubicBezTo>
                      <a:pt x="223" y="52"/>
                      <a:pt x="223" y="52"/>
                      <a:pt x="223" y="52"/>
                    </a:cubicBezTo>
                    <a:cubicBezTo>
                      <a:pt x="222" y="53"/>
                      <a:pt x="222" y="53"/>
                      <a:pt x="222" y="53"/>
                    </a:cubicBezTo>
                    <a:cubicBezTo>
                      <a:pt x="204" y="42"/>
                      <a:pt x="183" y="37"/>
                      <a:pt x="156" y="36"/>
                    </a:cubicBezTo>
                    <a:cubicBezTo>
                      <a:pt x="156" y="0"/>
                      <a:pt x="156" y="0"/>
                      <a:pt x="156" y="0"/>
                    </a:cubicBezTo>
                    <a:cubicBezTo>
                      <a:pt x="146" y="0"/>
                      <a:pt x="146" y="0"/>
                      <a:pt x="146" y="0"/>
                    </a:cubicBezTo>
                    <a:cubicBezTo>
                      <a:pt x="146" y="36"/>
                      <a:pt x="146" y="36"/>
                      <a:pt x="146" y="36"/>
                    </a:cubicBezTo>
                    <a:cubicBezTo>
                      <a:pt x="125" y="37"/>
                      <a:pt x="106" y="41"/>
                      <a:pt x="89" y="49"/>
                    </a:cubicBezTo>
                    <a:cubicBezTo>
                      <a:pt x="71" y="15"/>
                      <a:pt x="71" y="15"/>
                      <a:pt x="71" y="15"/>
                    </a:cubicBezTo>
                    <a:cubicBezTo>
                      <a:pt x="62" y="18"/>
                      <a:pt x="62" y="18"/>
                      <a:pt x="62" y="18"/>
                    </a:cubicBezTo>
                    <a:cubicBezTo>
                      <a:pt x="69" y="31"/>
                      <a:pt x="69" y="31"/>
                      <a:pt x="69" y="31"/>
                    </a:cubicBezTo>
                    <a:cubicBezTo>
                      <a:pt x="44" y="43"/>
                      <a:pt x="28" y="61"/>
                      <a:pt x="18" y="79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0" y="77"/>
                      <a:pt x="0" y="77"/>
                      <a:pt x="0" y="77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4" y="101"/>
                      <a:pt x="33" y="102"/>
                      <a:pt x="33" y="103"/>
                    </a:cubicBezTo>
                    <a:cubicBezTo>
                      <a:pt x="44" y="108"/>
                      <a:pt x="44" y="108"/>
                      <a:pt x="44" y="108"/>
                    </a:cubicBezTo>
                    <a:cubicBezTo>
                      <a:pt x="51" y="94"/>
                      <a:pt x="79" y="47"/>
                      <a:pt x="150" y="47"/>
                    </a:cubicBezTo>
                    <a:cubicBezTo>
                      <a:pt x="215" y="47"/>
                      <a:pt x="240" y="77"/>
                      <a:pt x="257" y="108"/>
                    </a:cubicBezTo>
                    <a:cubicBezTo>
                      <a:pt x="268" y="103"/>
                      <a:pt x="268" y="103"/>
                      <a:pt x="268" y="103"/>
                    </a:cubicBezTo>
                    <a:cubicBezTo>
                      <a:pt x="267" y="102"/>
                      <a:pt x="266" y="100"/>
                      <a:pt x="266" y="99"/>
                    </a:cubicBezTo>
                    <a:lnTo>
                      <a:pt x="298" y="7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75" name="Freeform 20"/>
              <p:cNvSpPr>
                <a:spLocks/>
              </p:cNvSpPr>
              <p:nvPr/>
            </p:nvSpPr>
            <p:spPr bwMode="auto">
              <a:xfrm>
                <a:off x="3893002" y="3166396"/>
                <a:ext cx="27656" cy="38643"/>
              </a:xfrm>
              <a:custGeom>
                <a:avLst/>
                <a:gdLst>
                  <a:gd name="T0" fmla="*/ 66 w 73"/>
                  <a:gd name="T1" fmla="*/ 57 h 102"/>
                  <a:gd name="T2" fmla="*/ 21 w 73"/>
                  <a:gd name="T3" fmla="*/ 57 h 102"/>
                  <a:gd name="T4" fmla="*/ 21 w 73"/>
                  <a:gd name="T5" fmla="*/ 85 h 102"/>
                  <a:gd name="T6" fmla="*/ 73 w 73"/>
                  <a:gd name="T7" fmla="*/ 85 h 102"/>
                  <a:gd name="T8" fmla="*/ 73 w 73"/>
                  <a:gd name="T9" fmla="*/ 102 h 102"/>
                  <a:gd name="T10" fmla="*/ 0 w 73"/>
                  <a:gd name="T11" fmla="*/ 102 h 102"/>
                  <a:gd name="T12" fmla="*/ 0 w 73"/>
                  <a:gd name="T13" fmla="*/ 0 h 102"/>
                  <a:gd name="T14" fmla="*/ 69 w 73"/>
                  <a:gd name="T15" fmla="*/ 0 h 102"/>
                  <a:gd name="T16" fmla="*/ 69 w 73"/>
                  <a:gd name="T17" fmla="*/ 14 h 102"/>
                  <a:gd name="T18" fmla="*/ 21 w 73"/>
                  <a:gd name="T19" fmla="*/ 14 h 102"/>
                  <a:gd name="T20" fmla="*/ 21 w 73"/>
                  <a:gd name="T21" fmla="*/ 40 h 102"/>
                  <a:gd name="T22" fmla="*/ 66 w 73"/>
                  <a:gd name="T23" fmla="*/ 40 h 102"/>
                  <a:gd name="T24" fmla="*/ 66 w 73"/>
                  <a:gd name="T25" fmla="*/ 5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3" h="102">
                    <a:moveTo>
                      <a:pt x="66" y="57"/>
                    </a:moveTo>
                    <a:lnTo>
                      <a:pt x="21" y="57"/>
                    </a:lnTo>
                    <a:lnTo>
                      <a:pt x="21" y="85"/>
                    </a:lnTo>
                    <a:lnTo>
                      <a:pt x="73" y="85"/>
                    </a:lnTo>
                    <a:lnTo>
                      <a:pt x="73" y="102"/>
                    </a:lnTo>
                    <a:lnTo>
                      <a:pt x="0" y="102"/>
                    </a:lnTo>
                    <a:lnTo>
                      <a:pt x="0" y="0"/>
                    </a:lnTo>
                    <a:lnTo>
                      <a:pt x="69" y="0"/>
                    </a:lnTo>
                    <a:lnTo>
                      <a:pt x="69" y="14"/>
                    </a:lnTo>
                    <a:lnTo>
                      <a:pt x="21" y="14"/>
                    </a:lnTo>
                    <a:lnTo>
                      <a:pt x="21" y="40"/>
                    </a:lnTo>
                    <a:lnTo>
                      <a:pt x="66" y="40"/>
                    </a:lnTo>
                    <a:lnTo>
                      <a:pt x="66" y="5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76" name="Freeform 21"/>
              <p:cNvSpPr>
                <a:spLocks/>
              </p:cNvSpPr>
              <p:nvPr/>
            </p:nvSpPr>
            <p:spPr bwMode="auto">
              <a:xfrm>
                <a:off x="4100614" y="3168290"/>
                <a:ext cx="26899" cy="38643"/>
              </a:xfrm>
              <a:custGeom>
                <a:avLst/>
                <a:gdLst>
                  <a:gd name="T0" fmla="*/ 0 w 71"/>
                  <a:gd name="T1" fmla="*/ 0 h 102"/>
                  <a:gd name="T2" fmla="*/ 71 w 71"/>
                  <a:gd name="T3" fmla="*/ 0 h 102"/>
                  <a:gd name="T4" fmla="*/ 71 w 71"/>
                  <a:gd name="T5" fmla="*/ 17 h 102"/>
                  <a:gd name="T6" fmla="*/ 24 w 71"/>
                  <a:gd name="T7" fmla="*/ 17 h 102"/>
                  <a:gd name="T8" fmla="*/ 24 w 71"/>
                  <a:gd name="T9" fmla="*/ 43 h 102"/>
                  <a:gd name="T10" fmla="*/ 66 w 71"/>
                  <a:gd name="T11" fmla="*/ 43 h 102"/>
                  <a:gd name="T12" fmla="*/ 66 w 71"/>
                  <a:gd name="T13" fmla="*/ 59 h 102"/>
                  <a:gd name="T14" fmla="*/ 24 w 71"/>
                  <a:gd name="T15" fmla="*/ 59 h 102"/>
                  <a:gd name="T16" fmla="*/ 24 w 71"/>
                  <a:gd name="T17" fmla="*/ 102 h 102"/>
                  <a:gd name="T18" fmla="*/ 0 w 71"/>
                  <a:gd name="T19" fmla="*/ 102 h 102"/>
                  <a:gd name="T20" fmla="*/ 0 w 71"/>
                  <a:gd name="T21" fmla="*/ 0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1" h="102">
                    <a:moveTo>
                      <a:pt x="0" y="0"/>
                    </a:moveTo>
                    <a:lnTo>
                      <a:pt x="71" y="0"/>
                    </a:lnTo>
                    <a:lnTo>
                      <a:pt x="71" y="17"/>
                    </a:lnTo>
                    <a:lnTo>
                      <a:pt x="24" y="17"/>
                    </a:lnTo>
                    <a:lnTo>
                      <a:pt x="24" y="43"/>
                    </a:lnTo>
                    <a:lnTo>
                      <a:pt x="66" y="43"/>
                    </a:lnTo>
                    <a:lnTo>
                      <a:pt x="66" y="59"/>
                    </a:lnTo>
                    <a:lnTo>
                      <a:pt x="24" y="59"/>
                    </a:lnTo>
                    <a:lnTo>
                      <a:pt x="24" y="102"/>
                    </a:lnTo>
                    <a:lnTo>
                      <a:pt x="0" y="10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77" name="Freeform 22"/>
              <p:cNvSpPr>
                <a:spLocks/>
              </p:cNvSpPr>
              <p:nvPr/>
            </p:nvSpPr>
            <p:spPr bwMode="auto">
              <a:xfrm>
                <a:off x="3986958" y="3110325"/>
                <a:ext cx="132599" cy="131463"/>
              </a:xfrm>
              <a:custGeom>
                <a:avLst/>
                <a:gdLst>
                  <a:gd name="T0" fmla="*/ 148 w 148"/>
                  <a:gd name="T1" fmla="*/ 0 h 147"/>
                  <a:gd name="T2" fmla="*/ 148 w 148"/>
                  <a:gd name="T3" fmla="*/ 0 h 147"/>
                  <a:gd name="T4" fmla="*/ 148 w 148"/>
                  <a:gd name="T5" fmla="*/ 0 h 147"/>
                  <a:gd name="T6" fmla="*/ 116 w 148"/>
                  <a:gd name="T7" fmla="*/ 16 h 147"/>
                  <a:gd name="T8" fmla="*/ 22 w 148"/>
                  <a:gd name="T9" fmla="*/ 115 h 147"/>
                  <a:gd name="T10" fmla="*/ 6 w 148"/>
                  <a:gd name="T11" fmla="*/ 120 h 147"/>
                  <a:gd name="T12" fmla="*/ 8 w 148"/>
                  <a:gd name="T13" fmla="*/ 142 h 147"/>
                  <a:gd name="T14" fmla="*/ 30 w 148"/>
                  <a:gd name="T15" fmla="*/ 140 h 147"/>
                  <a:gd name="T16" fmla="*/ 31 w 148"/>
                  <a:gd name="T17" fmla="*/ 122 h 147"/>
                  <a:gd name="T18" fmla="*/ 129 w 148"/>
                  <a:gd name="T19" fmla="*/ 34 h 147"/>
                  <a:gd name="T20" fmla="*/ 148 w 148"/>
                  <a:gd name="T21" fmla="*/ 0 h 147"/>
                  <a:gd name="T22" fmla="*/ 148 w 148"/>
                  <a:gd name="T23" fmla="*/ 0 h 147"/>
                  <a:gd name="T24" fmla="*/ 148 w 148"/>
                  <a:gd name="T25" fmla="*/ 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" h="147">
                    <a:moveTo>
                      <a:pt x="148" y="0"/>
                    </a:moveTo>
                    <a:cubicBezTo>
                      <a:pt x="148" y="0"/>
                      <a:pt x="148" y="0"/>
                      <a:pt x="148" y="0"/>
                    </a:cubicBezTo>
                    <a:cubicBezTo>
                      <a:pt x="148" y="0"/>
                      <a:pt x="148" y="0"/>
                      <a:pt x="148" y="0"/>
                    </a:cubicBezTo>
                    <a:cubicBezTo>
                      <a:pt x="139" y="5"/>
                      <a:pt x="125" y="12"/>
                      <a:pt x="116" y="16"/>
                    </a:cubicBezTo>
                    <a:cubicBezTo>
                      <a:pt x="104" y="29"/>
                      <a:pt x="51" y="85"/>
                      <a:pt x="22" y="115"/>
                    </a:cubicBezTo>
                    <a:cubicBezTo>
                      <a:pt x="16" y="114"/>
                      <a:pt x="10" y="115"/>
                      <a:pt x="6" y="120"/>
                    </a:cubicBezTo>
                    <a:cubicBezTo>
                      <a:pt x="0" y="126"/>
                      <a:pt x="1" y="136"/>
                      <a:pt x="8" y="142"/>
                    </a:cubicBezTo>
                    <a:cubicBezTo>
                      <a:pt x="14" y="147"/>
                      <a:pt x="24" y="147"/>
                      <a:pt x="30" y="140"/>
                    </a:cubicBezTo>
                    <a:cubicBezTo>
                      <a:pt x="34" y="135"/>
                      <a:pt x="35" y="128"/>
                      <a:pt x="31" y="122"/>
                    </a:cubicBezTo>
                    <a:cubicBezTo>
                      <a:pt x="62" y="93"/>
                      <a:pt x="116" y="45"/>
                      <a:pt x="129" y="34"/>
                    </a:cubicBezTo>
                    <a:cubicBezTo>
                      <a:pt x="134" y="24"/>
                      <a:pt x="142" y="10"/>
                      <a:pt x="148" y="0"/>
                    </a:cubicBezTo>
                    <a:cubicBezTo>
                      <a:pt x="148" y="0"/>
                      <a:pt x="148" y="0"/>
                      <a:pt x="148" y="0"/>
                    </a:cubicBezTo>
                    <a:cubicBezTo>
                      <a:pt x="148" y="0"/>
                      <a:pt x="148" y="0"/>
                      <a:pt x="14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pSp>
          <p:nvGrpSpPr>
            <p:cNvPr id="68" name="Group 215"/>
            <p:cNvGrpSpPr/>
            <p:nvPr/>
          </p:nvGrpSpPr>
          <p:grpSpPr>
            <a:xfrm>
              <a:off x="2005615" y="480431"/>
              <a:ext cx="312548" cy="199184"/>
              <a:chOff x="-5124450" y="3267075"/>
              <a:chExt cx="936625" cy="596901"/>
            </a:xfrm>
            <a:solidFill>
              <a:schemeClr val="accent4">
                <a:lumMod val="20000"/>
                <a:lumOff val="80000"/>
              </a:schemeClr>
            </a:solidFill>
          </p:grpSpPr>
          <p:sp>
            <p:nvSpPr>
              <p:cNvPr id="70" name="Oval 27"/>
              <p:cNvSpPr>
                <a:spLocks noChangeArrowheads="1"/>
              </p:cNvSpPr>
              <p:nvPr/>
            </p:nvSpPr>
            <p:spPr bwMode="auto">
              <a:xfrm>
                <a:off x="-4978400" y="3671888"/>
                <a:ext cx="187325" cy="192088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71" name="Oval 28"/>
              <p:cNvSpPr>
                <a:spLocks noChangeArrowheads="1"/>
              </p:cNvSpPr>
              <p:nvPr/>
            </p:nvSpPr>
            <p:spPr bwMode="auto">
              <a:xfrm>
                <a:off x="-4494213" y="3671888"/>
                <a:ext cx="187325" cy="192088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72" name="Freeform 29"/>
              <p:cNvSpPr>
                <a:spLocks noEditPoints="1"/>
              </p:cNvSpPr>
              <p:nvPr/>
            </p:nvSpPr>
            <p:spPr bwMode="auto">
              <a:xfrm>
                <a:off x="-5124450" y="3267075"/>
                <a:ext cx="936625" cy="533400"/>
              </a:xfrm>
              <a:custGeom>
                <a:avLst/>
                <a:gdLst>
                  <a:gd name="T0" fmla="*/ 203 w 250"/>
                  <a:gd name="T1" fmla="*/ 69 h 142"/>
                  <a:gd name="T2" fmla="*/ 203 w 250"/>
                  <a:gd name="T3" fmla="*/ 66 h 142"/>
                  <a:gd name="T4" fmla="*/ 130 w 250"/>
                  <a:gd name="T5" fmla="*/ 0 h 142"/>
                  <a:gd name="T6" fmla="*/ 96 w 250"/>
                  <a:gd name="T7" fmla="*/ 0 h 142"/>
                  <a:gd name="T8" fmla="*/ 34 w 250"/>
                  <a:gd name="T9" fmla="*/ 39 h 142"/>
                  <a:gd name="T10" fmla="*/ 32 w 250"/>
                  <a:gd name="T11" fmla="*/ 53 h 142"/>
                  <a:gd name="T12" fmla="*/ 0 w 250"/>
                  <a:gd name="T13" fmla="*/ 105 h 142"/>
                  <a:gd name="T14" fmla="*/ 0 w 250"/>
                  <a:gd name="T15" fmla="*/ 105 h 142"/>
                  <a:gd name="T16" fmla="*/ 33 w 250"/>
                  <a:gd name="T17" fmla="*/ 140 h 142"/>
                  <a:gd name="T18" fmla="*/ 32 w 250"/>
                  <a:gd name="T19" fmla="*/ 133 h 142"/>
                  <a:gd name="T20" fmla="*/ 64 w 250"/>
                  <a:gd name="T21" fmla="*/ 100 h 142"/>
                  <a:gd name="T22" fmla="*/ 96 w 250"/>
                  <a:gd name="T23" fmla="*/ 133 h 142"/>
                  <a:gd name="T24" fmla="*/ 95 w 250"/>
                  <a:gd name="T25" fmla="*/ 142 h 142"/>
                  <a:gd name="T26" fmla="*/ 162 w 250"/>
                  <a:gd name="T27" fmla="*/ 142 h 142"/>
                  <a:gd name="T28" fmla="*/ 160 w 250"/>
                  <a:gd name="T29" fmla="*/ 133 h 142"/>
                  <a:gd name="T30" fmla="*/ 193 w 250"/>
                  <a:gd name="T31" fmla="*/ 100 h 142"/>
                  <a:gd name="T32" fmla="*/ 225 w 250"/>
                  <a:gd name="T33" fmla="*/ 133 h 142"/>
                  <a:gd name="T34" fmla="*/ 224 w 250"/>
                  <a:gd name="T35" fmla="*/ 137 h 142"/>
                  <a:gd name="T36" fmla="*/ 250 w 250"/>
                  <a:gd name="T37" fmla="*/ 105 h 142"/>
                  <a:gd name="T38" fmla="*/ 250 w 250"/>
                  <a:gd name="T39" fmla="*/ 105 h 142"/>
                  <a:gd name="T40" fmla="*/ 203 w 250"/>
                  <a:gd name="T41" fmla="*/ 69 h 142"/>
                  <a:gd name="T42" fmla="*/ 182 w 250"/>
                  <a:gd name="T43" fmla="*/ 68 h 142"/>
                  <a:gd name="T44" fmla="*/ 69 w 250"/>
                  <a:gd name="T45" fmla="*/ 68 h 142"/>
                  <a:gd name="T46" fmla="*/ 69 w 250"/>
                  <a:gd name="T47" fmla="*/ 48 h 142"/>
                  <a:gd name="T48" fmla="*/ 106 w 250"/>
                  <a:gd name="T49" fmla="*/ 11 h 142"/>
                  <a:gd name="T50" fmla="*/ 129 w 250"/>
                  <a:gd name="T51" fmla="*/ 11 h 142"/>
                  <a:gd name="T52" fmla="*/ 182 w 250"/>
                  <a:gd name="T53" fmla="*/ 58 h 142"/>
                  <a:gd name="T54" fmla="*/ 182 w 250"/>
                  <a:gd name="T55" fmla="*/ 68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50" h="142">
                    <a:moveTo>
                      <a:pt x="203" y="69"/>
                    </a:moveTo>
                    <a:cubicBezTo>
                      <a:pt x="203" y="66"/>
                      <a:pt x="203" y="66"/>
                      <a:pt x="203" y="66"/>
                    </a:cubicBezTo>
                    <a:cubicBezTo>
                      <a:pt x="203" y="37"/>
                      <a:pt x="158" y="0"/>
                      <a:pt x="130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67" y="0"/>
                      <a:pt x="34" y="11"/>
                      <a:pt x="34" y="39"/>
                    </a:cubicBezTo>
                    <a:cubicBezTo>
                      <a:pt x="32" y="53"/>
                      <a:pt x="32" y="53"/>
                      <a:pt x="32" y="53"/>
                    </a:cubicBezTo>
                    <a:cubicBezTo>
                      <a:pt x="6" y="54"/>
                      <a:pt x="0" y="85"/>
                      <a:pt x="0" y="105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0" y="121"/>
                      <a:pt x="14" y="135"/>
                      <a:pt x="33" y="140"/>
                    </a:cubicBezTo>
                    <a:cubicBezTo>
                      <a:pt x="32" y="137"/>
                      <a:pt x="32" y="135"/>
                      <a:pt x="32" y="133"/>
                    </a:cubicBezTo>
                    <a:cubicBezTo>
                      <a:pt x="32" y="115"/>
                      <a:pt x="46" y="100"/>
                      <a:pt x="64" y="100"/>
                    </a:cubicBezTo>
                    <a:cubicBezTo>
                      <a:pt x="82" y="100"/>
                      <a:pt x="96" y="115"/>
                      <a:pt x="96" y="133"/>
                    </a:cubicBezTo>
                    <a:cubicBezTo>
                      <a:pt x="96" y="136"/>
                      <a:pt x="96" y="139"/>
                      <a:pt x="95" y="142"/>
                    </a:cubicBezTo>
                    <a:cubicBezTo>
                      <a:pt x="162" y="142"/>
                      <a:pt x="162" y="142"/>
                      <a:pt x="162" y="142"/>
                    </a:cubicBezTo>
                    <a:cubicBezTo>
                      <a:pt x="161" y="139"/>
                      <a:pt x="160" y="136"/>
                      <a:pt x="160" y="133"/>
                    </a:cubicBezTo>
                    <a:cubicBezTo>
                      <a:pt x="160" y="115"/>
                      <a:pt x="175" y="100"/>
                      <a:pt x="193" y="100"/>
                    </a:cubicBezTo>
                    <a:cubicBezTo>
                      <a:pt x="210" y="100"/>
                      <a:pt x="225" y="115"/>
                      <a:pt x="225" y="133"/>
                    </a:cubicBezTo>
                    <a:cubicBezTo>
                      <a:pt x="225" y="134"/>
                      <a:pt x="225" y="136"/>
                      <a:pt x="224" y="137"/>
                    </a:cubicBezTo>
                    <a:cubicBezTo>
                      <a:pt x="240" y="131"/>
                      <a:pt x="250" y="119"/>
                      <a:pt x="250" y="105"/>
                    </a:cubicBezTo>
                    <a:cubicBezTo>
                      <a:pt x="250" y="105"/>
                      <a:pt x="250" y="105"/>
                      <a:pt x="250" y="105"/>
                    </a:cubicBezTo>
                    <a:cubicBezTo>
                      <a:pt x="250" y="85"/>
                      <a:pt x="229" y="69"/>
                      <a:pt x="203" y="69"/>
                    </a:cubicBezTo>
                    <a:close/>
                    <a:moveTo>
                      <a:pt x="182" y="68"/>
                    </a:moveTo>
                    <a:cubicBezTo>
                      <a:pt x="69" y="68"/>
                      <a:pt x="69" y="68"/>
                      <a:pt x="69" y="68"/>
                    </a:cubicBezTo>
                    <a:cubicBezTo>
                      <a:pt x="69" y="48"/>
                      <a:pt x="69" y="48"/>
                      <a:pt x="69" y="48"/>
                    </a:cubicBezTo>
                    <a:cubicBezTo>
                      <a:pt x="69" y="28"/>
                      <a:pt x="86" y="11"/>
                      <a:pt x="106" y="11"/>
                    </a:cubicBezTo>
                    <a:cubicBezTo>
                      <a:pt x="129" y="11"/>
                      <a:pt x="129" y="11"/>
                      <a:pt x="129" y="11"/>
                    </a:cubicBezTo>
                    <a:cubicBezTo>
                      <a:pt x="149" y="11"/>
                      <a:pt x="182" y="37"/>
                      <a:pt x="182" y="58"/>
                    </a:cubicBezTo>
                    <a:lnTo>
                      <a:pt x="182" y="68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69" name="Freeform 35"/>
            <p:cNvSpPr>
              <a:spLocks noEditPoints="1"/>
            </p:cNvSpPr>
            <p:nvPr/>
          </p:nvSpPr>
          <p:spPr bwMode="auto">
            <a:xfrm>
              <a:off x="-1307677" y="3353124"/>
              <a:ext cx="522221" cy="422316"/>
            </a:xfrm>
            <a:custGeom>
              <a:avLst/>
              <a:gdLst>
                <a:gd name="T0" fmla="*/ 92 w 430"/>
                <a:gd name="T1" fmla="*/ 49 h 348"/>
                <a:gd name="T2" fmla="*/ 71 w 430"/>
                <a:gd name="T3" fmla="*/ 31 h 348"/>
                <a:gd name="T4" fmla="*/ 32 w 430"/>
                <a:gd name="T5" fmla="*/ 11 h 348"/>
                <a:gd name="T6" fmla="*/ 24 w 430"/>
                <a:gd name="T7" fmla="*/ 31 h 348"/>
                <a:gd name="T8" fmla="*/ 134 w 430"/>
                <a:gd name="T9" fmla="*/ 240 h 348"/>
                <a:gd name="T10" fmla="*/ 155 w 430"/>
                <a:gd name="T11" fmla="*/ 289 h 348"/>
                <a:gd name="T12" fmla="*/ 141 w 430"/>
                <a:gd name="T13" fmla="*/ 314 h 348"/>
                <a:gd name="T14" fmla="*/ 140 w 430"/>
                <a:gd name="T15" fmla="*/ 320 h 348"/>
                <a:gd name="T16" fmla="*/ 195 w 430"/>
                <a:gd name="T17" fmla="*/ 317 h 348"/>
                <a:gd name="T18" fmla="*/ 181 w 430"/>
                <a:gd name="T19" fmla="*/ 295 h 348"/>
                <a:gd name="T20" fmla="*/ 340 w 430"/>
                <a:gd name="T21" fmla="*/ 291 h 348"/>
                <a:gd name="T22" fmla="*/ 381 w 430"/>
                <a:gd name="T23" fmla="*/ 320 h 348"/>
                <a:gd name="T24" fmla="*/ 387 w 430"/>
                <a:gd name="T25" fmla="*/ 289 h 348"/>
                <a:gd name="T26" fmla="*/ 393 w 430"/>
                <a:gd name="T27" fmla="*/ 274 h 348"/>
                <a:gd name="T28" fmla="*/ 390 w 430"/>
                <a:gd name="T29" fmla="*/ 273 h 348"/>
                <a:gd name="T30" fmla="*/ 135 w 430"/>
                <a:gd name="T31" fmla="*/ 272 h 348"/>
                <a:gd name="T32" fmla="*/ 154 w 430"/>
                <a:gd name="T33" fmla="*/ 234 h 348"/>
                <a:gd name="T34" fmla="*/ 180 w 430"/>
                <a:gd name="T35" fmla="*/ 238 h 348"/>
                <a:gd name="T36" fmla="*/ 405 w 430"/>
                <a:gd name="T37" fmla="*/ 218 h 348"/>
                <a:gd name="T38" fmla="*/ 430 w 430"/>
                <a:gd name="T39" fmla="*/ 81 h 348"/>
                <a:gd name="T40" fmla="*/ 140 w 430"/>
                <a:gd name="T41" fmla="*/ 79 h 348"/>
                <a:gd name="T42" fmla="*/ 118 w 430"/>
                <a:gd name="T43" fmla="*/ 101 h 348"/>
                <a:gd name="T44" fmla="*/ 134 w 430"/>
                <a:gd name="T45" fmla="*/ 113 h 348"/>
                <a:gd name="T46" fmla="*/ 351 w 430"/>
                <a:gd name="T47" fmla="*/ 125 h 348"/>
                <a:gd name="T48" fmla="*/ 311 w 430"/>
                <a:gd name="T49" fmla="*/ 90 h 348"/>
                <a:gd name="T50" fmla="*/ 302 w 430"/>
                <a:gd name="T51" fmla="*/ 99 h 348"/>
                <a:gd name="T52" fmla="*/ 211 w 430"/>
                <a:gd name="T53" fmla="*/ 111 h 348"/>
                <a:gd name="T54" fmla="*/ 185 w 430"/>
                <a:gd name="T55" fmla="*/ 85 h 348"/>
                <a:gd name="T56" fmla="*/ 171 w 430"/>
                <a:gd name="T57" fmla="*/ 99 h 348"/>
                <a:gd name="T58" fmla="*/ 166 w 430"/>
                <a:gd name="T59" fmla="*/ 207 h 348"/>
                <a:gd name="T60" fmla="*/ 171 w 430"/>
                <a:gd name="T61" fmla="*/ 202 h 348"/>
                <a:gd name="T62" fmla="*/ 160 w 430"/>
                <a:gd name="T63" fmla="*/ 139 h 348"/>
                <a:gd name="T64" fmla="*/ 185 w 430"/>
                <a:gd name="T65" fmla="*/ 216 h 348"/>
                <a:gd name="T66" fmla="*/ 174 w 430"/>
                <a:gd name="T67" fmla="*/ 176 h 348"/>
                <a:gd name="T68" fmla="*/ 185 w 430"/>
                <a:gd name="T69" fmla="*/ 136 h 348"/>
                <a:gd name="T70" fmla="*/ 185 w 430"/>
                <a:gd name="T71" fmla="*/ 136 h 348"/>
                <a:gd name="T72" fmla="*/ 222 w 430"/>
                <a:gd name="T73" fmla="*/ 202 h 348"/>
                <a:gd name="T74" fmla="*/ 211 w 430"/>
                <a:gd name="T75" fmla="*/ 139 h 348"/>
                <a:gd name="T76" fmla="*/ 225 w 430"/>
                <a:gd name="T77" fmla="*/ 176 h 348"/>
                <a:gd name="T78" fmla="*/ 236 w 430"/>
                <a:gd name="T79" fmla="*/ 136 h 348"/>
                <a:gd name="T80" fmla="*/ 236 w 430"/>
                <a:gd name="T81" fmla="*/ 136 h 348"/>
                <a:gd name="T82" fmla="*/ 251 w 430"/>
                <a:gd name="T83" fmla="*/ 99 h 348"/>
                <a:gd name="T84" fmla="*/ 251 w 430"/>
                <a:gd name="T85" fmla="*/ 202 h 348"/>
                <a:gd name="T86" fmla="*/ 262 w 430"/>
                <a:gd name="T87" fmla="*/ 162 h 348"/>
                <a:gd name="T88" fmla="*/ 262 w 430"/>
                <a:gd name="T89" fmla="*/ 162 h 348"/>
                <a:gd name="T90" fmla="*/ 299 w 430"/>
                <a:gd name="T91" fmla="*/ 176 h 348"/>
                <a:gd name="T92" fmla="*/ 288 w 430"/>
                <a:gd name="T93" fmla="*/ 113 h 348"/>
                <a:gd name="T94" fmla="*/ 311 w 430"/>
                <a:gd name="T95" fmla="*/ 211 h 348"/>
                <a:gd name="T96" fmla="*/ 316 w 430"/>
                <a:gd name="T97" fmla="*/ 211 h 348"/>
                <a:gd name="T98" fmla="*/ 325 w 430"/>
                <a:gd name="T99" fmla="*/ 150 h 348"/>
                <a:gd name="T100" fmla="*/ 339 w 430"/>
                <a:gd name="T101" fmla="*/ 164 h 348"/>
                <a:gd name="T102" fmla="*/ 360 w 430"/>
                <a:gd name="T103" fmla="*/ 209 h 348"/>
                <a:gd name="T104" fmla="*/ 370 w 430"/>
                <a:gd name="T105" fmla="*/ 208 h 348"/>
                <a:gd name="T106" fmla="*/ 376 w 430"/>
                <a:gd name="T107" fmla="*/ 150 h 348"/>
                <a:gd name="T108" fmla="*/ 359 w 430"/>
                <a:gd name="T109" fmla="*/ 93 h 348"/>
                <a:gd name="T110" fmla="*/ 396 w 430"/>
                <a:gd name="T111" fmla="*/ 182 h 348"/>
                <a:gd name="T112" fmla="*/ 398 w 430"/>
                <a:gd name="T113" fmla="*/ 172 h 348"/>
                <a:gd name="T114" fmla="*/ 390 w 430"/>
                <a:gd name="T115" fmla="*/ 113 h 348"/>
                <a:gd name="T116" fmla="*/ 404 w 430"/>
                <a:gd name="T117" fmla="*/ 99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30" h="348">
                  <a:moveTo>
                    <a:pt x="430" y="81"/>
                  </a:moveTo>
                  <a:cubicBezTo>
                    <a:pt x="430" y="78"/>
                    <a:pt x="430" y="76"/>
                    <a:pt x="428" y="74"/>
                  </a:cubicBezTo>
                  <a:cubicBezTo>
                    <a:pt x="427" y="72"/>
                    <a:pt x="424" y="71"/>
                    <a:pt x="422" y="71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89" y="48"/>
                    <a:pt x="86" y="50"/>
                    <a:pt x="84" y="52"/>
                  </a:cubicBezTo>
                  <a:cubicBezTo>
                    <a:pt x="83" y="54"/>
                    <a:pt x="82" y="57"/>
                    <a:pt x="83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71" y="31"/>
                    <a:pt x="71" y="31"/>
                    <a:pt x="71" y="31"/>
                  </a:cubicBezTo>
                  <a:cubicBezTo>
                    <a:pt x="71" y="29"/>
                    <a:pt x="69" y="27"/>
                    <a:pt x="67" y="26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0" y="4"/>
                    <a:pt x="24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2"/>
                    <a:pt x="17" y="32"/>
                  </a:cubicBezTo>
                  <a:cubicBezTo>
                    <a:pt x="19" y="32"/>
                    <a:pt x="22" y="32"/>
                    <a:pt x="24" y="3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134" y="240"/>
                    <a:pt x="134" y="240"/>
                    <a:pt x="134" y="240"/>
                  </a:cubicBezTo>
                  <a:cubicBezTo>
                    <a:pt x="113" y="276"/>
                    <a:pt x="113" y="276"/>
                    <a:pt x="113" y="276"/>
                  </a:cubicBezTo>
                  <a:cubicBezTo>
                    <a:pt x="111" y="279"/>
                    <a:pt x="111" y="282"/>
                    <a:pt x="113" y="284"/>
                  </a:cubicBezTo>
                  <a:cubicBezTo>
                    <a:pt x="114" y="287"/>
                    <a:pt x="117" y="289"/>
                    <a:pt x="120" y="289"/>
                  </a:cubicBezTo>
                  <a:cubicBezTo>
                    <a:pt x="155" y="289"/>
                    <a:pt x="155" y="289"/>
                    <a:pt x="155" y="289"/>
                  </a:cubicBezTo>
                  <a:cubicBezTo>
                    <a:pt x="155" y="291"/>
                    <a:pt x="155" y="291"/>
                    <a:pt x="155" y="291"/>
                  </a:cubicBezTo>
                  <a:cubicBezTo>
                    <a:pt x="155" y="295"/>
                    <a:pt x="155" y="295"/>
                    <a:pt x="155" y="295"/>
                  </a:cubicBezTo>
                  <a:cubicBezTo>
                    <a:pt x="148" y="299"/>
                    <a:pt x="143" y="306"/>
                    <a:pt x="141" y="314"/>
                  </a:cubicBezTo>
                  <a:cubicBezTo>
                    <a:pt x="141" y="314"/>
                    <a:pt x="141" y="314"/>
                    <a:pt x="141" y="314"/>
                  </a:cubicBezTo>
                  <a:cubicBezTo>
                    <a:pt x="141" y="314"/>
                    <a:pt x="141" y="314"/>
                    <a:pt x="141" y="314"/>
                  </a:cubicBezTo>
                  <a:cubicBezTo>
                    <a:pt x="141" y="315"/>
                    <a:pt x="140" y="316"/>
                    <a:pt x="140" y="316"/>
                  </a:cubicBezTo>
                  <a:cubicBezTo>
                    <a:pt x="140" y="317"/>
                    <a:pt x="140" y="317"/>
                    <a:pt x="140" y="317"/>
                  </a:cubicBezTo>
                  <a:cubicBezTo>
                    <a:pt x="140" y="318"/>
                    <a:pt x="140" y="319"/>
                    <a:pt x="140" y="320"/>
                  </a:cubicBezTo>
                  <a:cubicBezTo>
                    <a:pt x="140" y="335"/>
                    <a:pt x="153" y="348"/>
                    <a:pt x="168" y="348"/>
                  </a:cubicBezTo>
                  <a:cubicBezTo>
                    <a:pt x="183" y="348"/>
                    <a:pt x="195" y="335"/>
                    <a:pt x="195" y="320"/>
                  </a:cubicBezTo>
                  <a:cubicBezTo>
                    <a:pt x="195" y="319"/>
                    <a:pt x="195" y="318"/>
                    <a:pt x="195" y="317"/>
                  </a:cubicBezTo>
                  <a:cubicBezTo>
                    <a:pt x="195" y="317"/>
                    <a:pt x="195" y="317"/>
                    <a:pt x="195" y="317"/>
                  </a:cubicBezTo>
                  <a:cubicBezTo>
                    <a:pt x="195" y="316"/>
                    <a:pt x="195" y="315"/>
                    <a:pt x="195" y="314"/>
                  </a:cubicBezTo>
                  <a:cubicBezTo>
                    <a:pt x="195" y="314"/>
                    <a:pt x="195" y="314"/>
                    <a:pt x="195" y="314"/>
                  </a:cubicBezTo>
                  <a:cubicBezTo>
                    <a:pt x="195" y="314"/>
                    <a:pt x="195" y="314"/>
                    <a:pt x="195" y="314"/>
                  </a:cubicBezTo>
                  <a:cubicBezTo>
                    <a:pt x="193" y="306"/>
                    <a:pt x="188" y="299"/>
                    <a:pt x="181" y="295"/>
                  </a:cubicBezTo>
                  <a:cubicBezTo>
                    <a:pt x="181" y="291"/>
                    <a:pt x="181" y="291"/>
                    <a:pt x="181" y="291"/>
                  </a:cubicBezTo>
                  <a:cubicBezTo>
                    <a:pt x="181" y="289"/>
                    <a:pt x="181" y="289"/>
                    <a:pt x="181" y="289"/>
                  </a:cubicBezTo>
                  <a:cubicBezTo>
                    <a:pt x="340" y="289"/>
                    <a:pt x="340" y="289"/>
                    <a:pt x="340" y="289"/>
                  </a:cubicBezTo>
                  <a:cubicBezTo>
                    <a:pt x="340" y="291"/>
                    <a:pt x="340" y="291"/>
                    <a:pt x="340" y="291"/>
                  </a:cubicBezTo>
                  <a:cubicBezTo>
                    <a:pt x="340" y="295"/>
                    <a:pt x="340" y="295"/>
                    <a:pt x="340" y="295"/>
                  </a:cubicBezTo>
                  <a:cubicBezTo>
                    <a:pt x="331" y="300"/>
                    <a:pt x="325" y="309"/>
                    <a:pt x="325" y="320"/>
                  </a:cubicBezTo>
                  <a:cubicBezTo>
                    <a:pt x="325" y="335"/>
                    <a:pt x="338" y="348"/>
                    <a:pt x="353" y="348"/>
                  </a:cubicBezTo>
                  <a:cubicBezTo>
                    <a:pt x="368" y="348"/>
                    <a:pt x="381" y="335"/>
                    <a:pt x="381" y="320"/>
                  </a:cubicBezTo>
                  <a:cubicBezTo>
                    <a:pt x="381" y="309"/>
                    <a:pt x="375" y="300"/>
                    <a:pt x="366" y="295"/>
                  </a:cubicBezTo>
                  <a:cubicBezTo>
                    <a:pt x="366" y="291"/>
                    <a:pt x="366" y="291"/>
                    <a:pt x="366" y="291"/>
                  </a:cubicBezTo>
                  <a:cubicBezTo>
                    <a:pt x="366" y="289"/>
                    <a:pt x="366" y="289"/>
                    <a:pt x="366" y="289"/>
                  </a:cubicBezTo>
                  <a:cubicBezTo>
                    <a:pt x="387" y="289"/>
                    <a:pt x="387" y="289"/>
                    <a:pt x="387" y="289"/>
                  </a:cubicBezTo>
                  <a:cubicBezTo>
                    <a:pt x="391" y="289"/>
                    <a:pt x="395" y="285"/>
                    <a:pt x="395" y="280"/>
                  </a:cubicBezTo>
                  <a:cubicBezTo>
                    <a:pt x="395" y="278"/>
                    <a:pt x="394" y="276"/>
                    <a:pt x="393" y="275"/>
                  </a:cubicBezTo>
                  <a:cubicBezTo>
                    <a:pt x="393" y="275"/>
                    <a:pt x="393" y="275"/>
                    <a:pt x="393" y="275"/>
                  </a:cubicBezTo>
                  <a:cubicBezTo>
                    <a:pt x="393" y="274"/>
                    <a:pt x="393" y="274"/>
                    <a:pt x="393" y="274"/>
                  </a:cubicBezTo>
                  <a:cubicBezTo>
                    <a:pt x="392" y="274"/>
                    <a:pt x="392" y="274"/>
                    <a:pt x="392" y="274"/>
                  </a:cubicBezTo>
                  <a:cubicBezTo>
                    <a:pt x="392" y="274"/>
                    <a:pt x="392" y="273"/>
                    <a:pt x="391" y="273"/>
                  </a:cubicBezTo>
                  <a:cubicBezTo>
                    <a:pt x="391" y="273"/>
                    <a:pt x="391" y="273"/>
                    <a:pt x="390" y="273"/>
                  </a:cubicBezTo>
                  <a:cubicBezTo>
                    <a:pt x="390" y="273"/>
                    <a:pt x="390" y="273"/>
                    <a:pt x="390" y="273"/>
                  </a:cubicBezTo>
                  <a:cubicBezTo>
                    <a:pt x="390" y="272"/>
                    <a:pt x="389" y="272"/>
                    <a:pt x="389" y="272"/>
                  </a:cubicBezTo>
                  <a:cubicBezTo>
                    <a:pt x="389" y="272"/>
                    <a:pt x="389" y="272"/>
                    <a:pt x="388" y="272"/>
                  </a:cubicBezTo>
                  <a:cubicBezTo>
                    <a:pt x="388" y="272"/>
                    <a:pt x="387" y="272"/>
                    <a:pt x="387" y="272"/>
                  </a:cubicBezTo>
                  <a:cubicBezTo>
                    <a:pt x="135" y="272"/>
                    <a:pt x="135" y="272"/>
                    <a:pt x="135" y="272"/>
                  </a:cubicBezTo>
                  <a:cubicBezTo>
                    <a:pt x="153" y="242"/>
                    <a:pt x="153" y="242"/>
                    <a:pt x="153" y="242"/>
                  </a:cubicBezTo>
                  <a:cubicBezTo>
                    <a:pt x="153" y="242"/>
                    <a:pt x="153" y="242"/>
                    <a:pt x="153" y="242"/>
                  </a:cubicBezTo>
                  <a:cubicBezTo>
                    <a:pt x="153" y="242"/>
                    <a:pt x="153" y="242"/>
                    <a:pt x="153" y="242"/>
                  </a:cubicBezTo>
                  <a:cubicBezTo>
                    <a:pt x="154" y="240"/>
                    <a:pt x="155" y="237"/>
                    <a:pt x="154" y="234"/>
                  </a:cubicBezTo>
                  <a:cubicBezTo>
                    <a:pt x="148" y="220"/>
                    <a:pt x="148" y="220"/>
                    <a:pt x="148" y="220"/>
                  </a:cubicBezTo>
                  <a:cubicBezTo>
                    <a:pt x="148" y="220"/>
                    <a:pt x="148" y="220"/>
                    <a:pt x="148" y="220"/>
                  </a:cubicBezTo>
                  <a:cubicBezTo>
                    <a:pt x="175" y="237"/>
                    <a:pt x="175" y="237"/>
                    <a:pt x="175" y="237"/>
                  </a:cubicBezTo>
                  <a:cubicBezTo>
                    <a:pt x="177" y="238"/>
                    <a:pt x="178" y="238"/>
                    <a:pt x="180" y="238"/>
                  </a:cubicBezTo>
                  <a:cubicBezTo>
                    <a:pt x="180" y="238"/>
                    <a:pt x="180" y="238"/>
                    <a:pt x="180" y="238"/>
                  </a:cubicBezTo>
                  <a:cubicBezTo>
                    <a:pt x="382" y="229"/>
                    <a:pt x="382" y="229"/>
                    <a:pt x="382" y="229"/>
                  </a:cubicBezTo>
                  <a:cubicBezTo>
                    <a:pt x="383" y="229"/>
                    <a:pt x="384" y="229"/>
                    <a:pt x="385" y="228"/>
                  </a:cubicBezTo>
                  <a:cubicBezTo>
                    <a:pt x="405" y="218"/>
                    <a:pt x="405" y="218"/>
                    <a:pt x="405" y="218"/>
                  </a:cubicBezTo>
                  <a:cubicBezTo>
                    <a:pt x="407" y="217"/>
                    <a:pt x="409" y="215"/>
                    <a:pt x="409" y="212"/>
                  </a:cubicBezTo>
                  <a:cubicBezTo>
                    <a:pt x="430" y="85"/>
                    <a:pt x="430" y="85"/>
                    <a:pt x="430" y="85"/>
                  </a:cubicBezTo>
                  <a:cubicBezTo>
                    <a:pt x="430" y="84"/>
                    <a:pt x="430" y="83"/>
                    <a:pt x="430" y="82"/>
                  </a:cubicBezTo>
                  <a:lnTo>
                    <a:pt x="430" y="81"/>
                  </a:lnTo>
                  <a:close/>
                  <a:moveTo>
                    <a:pt x="140" y="79"/>
                  </a:moveTo>
                  <a:cubicBezTo>
                    <a:pt x="134" y="85"/>
                    <a:pt x="134" y="85"/>
                    <a:pt x="134" y="85"/>
                  </a:cubicBezTo>
                  <a:cubicBezTo>
                    <a:pt x="127" y="78"/>
                    <a:pt x="127" y="78"/>
                    <a:pt x="127" y="78"/>
                  </a:cubicBezTo>
                  <a:lnTo>
                    <a:pt x="140" y="79"/>
                  </a:lnTo>
                  <a:close/>
                  <a:moveTo>
                    <a:pt x="118" y="101"/>
                  </a:moveTo>
                  <a:cubicBezTo>
                    <a:pt x="116" y="95"/>
                    <a:pt x="116" y="95"/>
                    <a:pt x="116" y="95"/>
                  </a:cubicBezTo>
                  <a:cubicBezTo>
                    <a:pt x="120" y="99"/>
                    <a:pt x="120" y="99"/>
                    <a:pt x="120" y="99"/>
                  </a:cubicBezTo>
                  <a:lnTo>
                    <a:pt x="118" y="101"/>
                  </a:lnTo>
                  <a:close/>
                  <a:moveTo>
                    <a:pt x="134" y="136"/>
                  </a:moveTo>
                  <a:cubicBezTo>
                    <a:pt x="131" y="134"/>
                    <a:pt x="131" y="134"/>
                    <a:pt x="131" y="134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34" y="113"/>
                    <a:pt x="134" y="113"/>
                    <a:pt x="134" y="113"/>
                  </a:cubicBezTo>
                  <a:cubicBezTo>
                    <a:pt x="145" y="125"/>
                    <a:pt x="145" y="125"/>
                    <a:pt x="145" y="125"/>
                  </a:cubicBezTo>
                  <a:lnTo>
                    <a:pt x="134" y="136"/>
                  </a:lnTo>
                  <a:close/>
                  <a:moveTo>
                    <a:pt x="339" y="113"/>
                  </a:moveTo>
                  <a:cubicBezTo>
                    <a:pt x="351" y="125"/>
                    <a:pt x="351" y="125"/>
                    <a:pt x="351" y="125"/>
                  </a:cubicBezTo>
                  <a:cubicBezTo>
                    <a:pt x="339" y="136"/>
                    <a:pt x="339" y="136"/>
                    <a:pt x="339" y="136"/>
                  </a:cubicBezTo>
                  <a:cubicBezTo>
                    <a:pt x="327" y="125"/>
                    <a:pt x="327" y="125"/>
                    <a:pt x="327" y="125"/>
                  </a:cubicBezTo>
                  <a:lnTo>
                    <a:pt x="339" y="113"/>
                  </a:lnTo>
                  <a:close/>
                  <a:moveTo>
                    <a:pt x="311" y="90"/>
                  </a:moveTo>
                  <a:cubicBezTo>
                    <a:pt x="316" y="90"/>
                    <a:pt x="316" y="90"/>
                    <a:pt x="316" y="90"/>
                  </a:cubicBezTo>
                  <a:cubicBezTo>
                    <a:pt x="325" y="99"/>
                    <a:pt x="325" y="99"/>
                    <a:pt x="325" y="99"/>
                  </a:cubicBezTo>
                  <a:cubicBezTo>
                    <a:pt x="313" y="111"/>
                    <a:pt x="313" y="111"/>
                    <a:pt x="313" y="111"/>
                  </a:cubicBezTo>
                  <a:cubicBezTo>
                    <a:pt x="302" y="99"/>
                    <a:pt x="302" y="99"/>
                    <a:pt x="302" y="99"/>
                  </a:cubicBezTo>
                  <a:lnTo>
                    <a:pt x="311" y="90"/>
                  </a:lnTo>
                  <a:close/>
                  <a:moveTo>
                    <a:pt x="211" y="87"/>
                  </a:moveTo>
                  <a:cubicBezTo>
                    <a:pt x="222" y="99"/>
                    <a:pt x="222" y="99"/>
                    <a:pt x="222" y="99"/>
                  </a:cubicBezTo>
                  <a:cubicBezTo>
                    <a:pt x="211" y="111"/>
                    <a:pt x="211" y="111"/>
                    <a:pt x="211" y="111"/>
                  </a:cubicBezTo>
                  <a:cubicBezTo>
                    <a:pt x="199" y="99"/>
                    <a:pt x="199" y="99"/>
                    <a:pt x="199" y="99"/>
                  </a:cubicBezTo>
                  <a:lnTo>
                    <a:pt x="211" y="87"/>
                  </a:lnTo>
                  <a:close/>
                  <a:moveTo>
                    <a:pt x="188" y="82"/>
                  </a:moveTo>
                  <a:cubicBezTo>
                    <a:pt x="185" y="85"/>
                    <a:pt x="185" y="85"/>
                    <a:pt x="185" y="85"/>
                  </a:cubicBezTo>
                  <a:cubicBezTo>
                    <a:pt x="182" y="81"/>
                    <a:pt x="182" y="81"/>
                    <a:pt x="182" y="81"/>
                  </a:cubicBezTo>
                  <a:lnTo>
                    <a:pt x="188" y="82"/>
                  </a:lnTo>
                  <a:close/>
                  <a:moveTo>
                    <a:pt x="160" y="87"/>
                  </a:moveTo>
                  <a:cubicBezTo>
                    <a:pt x="171" y="99"/>
                    <a:pt x="171" y="99"/>
                    <a:pt x="171" y="99"/>
                  </a:cubicBezTo>
                  <a:cubicBezTo>
                    <a:pt x="160" y="111"/>
                    <a:pt x="160" y="111"/>
                    <a:pt x="160" y="111"/>
                  </a:cubicBezTo>
                  <a:cubicBezTo>
                    <a:pt x="148" y="99"/>
                    <a:pt x="148" y="99"/>
                    <a:pt x="148" y="99"/>
                  </a:cubicBezTo>
                  <a:lnTo>
                    <a:pt x="160" y="87"/>
                  </a:lnTo>
                  <a:close/>
                  <a:moveTo>
                    <a:pt x="166" y="207"/>
                  </a:moveTo>
                  <a:cubicBezTo>
                    <a:pt x="159" y="203"/>
                    <a:pt x="159" y="203"/>
                    <a:pt x="159" y="203"/>
                  </a:cubicBezTo>
                  <a:cubicBezTo>
                    <a:pt x="156" y="194"/>
                    <a:pt x="156" y="194"/>
                    <a:pt x="156" y="194"/>
                  </a:cubicBezTo>
                  <a:cubicBezTo>
                    <a:pt x="160" y="190"/>
                    <a:pt x="160" y="190"/>
                    <a:pt x="160" y="190"/>
                  </a:cubicBezTo>
                  <a:cubicBezTo>
                    <a:pt x="171" y="202"/>
                    <a:pt x="171" y="202"/>
                    <a:pt x="171" y="202"/>
                  </a:cubicBezTo>
                  <a:lnTo>
                    <a:pt x="166" y="207"/>
                  </a:lnTo>
                  <a:close/>
                  <a:moveTo>
                    <a:pt x="160" y="162"/>
                  </a:moveTo>
                  <a:cubicBezTo>
                    <a:pt x="148" y="150"/>
                    <a:pt x="148" y="150"/>
                    <a:pt x="148" y="150"/>
                  </a:cubicBezTo>
                  <a:cubicBezTo>
                    <a:pt x="160" y="139"/>
                    <a:pt x="160" y="139"/>
                    <a:pt x="160" y="139"/>
                  </a:cubicBezTo>
                  <a:cubicBezTo>
                    <a:pt x="171" y="150"/>
                    <a:pt x="171" y="150"/>
                    <a:pt x="171" y="150"/>
                  </a:cubicBezTo>
                  <a:lnTo>
                    <a:pt x="160" y="162"/>
                  </a:lnTo>
                  <a:close/>
                  <a:moveTo>
                    <a:pt x="185" y="216"/>
                  </a:moveTo>
                  <a:cubicBezTo>
                    <a:pt x="185" y="216"/>
                    <a:pt x="185" y="216"/>
                    <a:pt x="185" y="216"/>
                  </a:cubicBezTo>
                  <a:cubicBezTo>
                    <a:pt x="186" y="216"/>
                    <a:pt x="186" y="216"/>
                    <a:pt x="186" y="216"/>
                  </a:cubicBezTo>
                  <a:lnTo>
                    <a:pt x="185" y="216"/>
                  </a:lnTo>
                  <a:close/>
                  <a:moveTo>
                    <a:pt x="185" y="188"/>
                  </a:moveTo>
                  <a:cubicBezTo>
                    <a:pt x="174" y="176"/>
                    <a:pt x="174" y="176"/>
                    <a:pt x="174" y="176"/>
                  </a:cubicBezTo>
                  <a:cubicBezTo>
                    <a:pt x="185" y="164"/>
                    <a:pt x="185" y="164"/>
                    <a:pt x="185" y="164"/>
                  </a:cubicBezTo>
                  <a:cubicBezTo>
                    <a:pt x="197" y="176"/>
                    <a:pt x="197" y="176"/>
                    <a:pt x="197" y="176"/>
                  </a:cubicBezTo>
                  <a:lnTo>
                    <a:pt x="185" y="188"/>
                  </a:lnTo>
                  <a:close/>
                  <a:moveTo>
                    <a:pt x="185" y="136"/>
                  </a:moveTo>
                  <a:cubicBezTo>
                    <a:pt x="174" y="125"/>
                    <a:pt x="174" y="125"/>
                    <a:pt x="174" y="125"/>
                  </a:cubicBezTo>
                  <a:cubicBezTo>
                    <a:pt x="185" y="113"/>
                    <a:pt x="185" y="113"/>
                    <a:pt x="185" y="113"/>
                  </a:cubicBezTo>
                  <a:cubicBezTo>
                    <a:pt x="197" y="125"/>
                    <a:pt x="197" y="125"/>
                    <a:pt x="197" y="125"/>
                  </a:cubicBezTo>
                  <a:lnTo>
                    <a:pt x="185" y="136"/>
                  </a:lnTo>
                  <a:close/>
                  <a:moveTo>
                    <a:pt x="211" y="213"/>
                  </a:moveTo>
                  <a:cubicBezTo>
                    <a:pt x="199" y="202"/>
                    <a:pt x="199" y="202"/>
                    <a:pt x="199" y="202"/>
                  </a:cubicBezTo>
                  <a:cubicBezTo>
                    <a:pt x="211" y="190"/>
                    <a:pt x="211" y="190"/>
                    <a:pt x="211" y="190"/>
                  </a:cubicBezTo>
                  <a:cubicBezTo>
                    <a:pt x="222" y="202"/>
                    <a:pt x="222" y="202"/>
                    <a:pt x="222" y="202"/>
                  </a:cubicBezTo>
                  <a:lnTo>
                    <a:pt x="211" y="213"/>
                  </a:lnTo>
                  <a:close/>
                  <a:moveTo>
                    <a:pt x="211" y="162"/>
                  </a:moveTo>
                  <a:cubicBezTo>
                    <a:pt x="199" y="150"/>
                    <a:pt x="199" y="150"/>
                    <a:pt x="199" y="150"/>
                  </a:cubicBezTo>
                  <a:cubicBezTo>
                    <a:pt x="211" y="139"/>
                    <a:pt x="211" y="139"/>
                    <a:pt x="211" y="139"/>
                  </a:cubicBezTo>
                  <a:cubicBezTo>
                    <a:pt x="222" y="150"/>
                    <a:pt x="222" y="150"/>
                    <a:pt x="222" y="150"/>
                  </a:cubicBezTo>
                  <a:lnTo>
                    <a:pt x="211" y="162"/>
                  </a:lnTo>
                  <a:close/>
                  <a:moveTo>
                    <a:pt x="236" y="188"/>
                  </a:moveTo>
                  <a:cubicBezTo>
                    <a:pt x="225" y="176"/>
                    <a:pt x="225" y="176"/>
                    <a:pt x="225" y="176"/>
                  </a:cubicBezTo>
                  <a:cubicBezTo>
                    <a:pt x="236" y="164"/>
                    <a:pt x="236" y="164"/>
                    <a:pt x="236" y="164"/>
                  </a:cubicBezTo>
                  <a:cubicBezTo>
                    <a:pt x="248" y="176"/>
                    <a:pt x="248" y="176"/>
                    <a:pt x="248" y="176"/>
                  </a:cubicBezTo>
                  <a:lnTo>
                    <a:pt x="236" y="188"/>
                  </a:lnTo>
                  <a:close/>
                  <a:moveTo>
                    <a:pt x="236" y="136"/>
                  </a:moveTo>
                  <a:cubicBezTo>
                    <a:pt x="225" y="125"/>
                    <a:pt x="225" y="125"/>
                    <a:pt x="225" y="125"/>
                  </a:cubicBezTo>
                  <a:cubicBezTo>
                    <a:pt x="236" y="113"/>
                    <a:pt x="236" y="113"/>
                    <a:pt x="236" y="113"/>
                  </a:cubicBezTo>
                  <a:cubicBezTo>
                    <a:pt x="248" y="125"/>
                    <a:pt x="248" y="125"/>
                    <a:pt x="248" y="125"/>
                  </a:cubicBezTo>
                  <a:lnTo>
                    <a:pt x="236" y="136"/>
                  </a:lnTo>
                  <a:close/>
                  <a:moveTo>
                    <a:pt x="262" y="87"/>
                  </a:moveTo>
                  <a:cubicBezTo>
                    <a:pt x="274" y="99"/>
                    <a:pt x="274" y="99"/>
                    <a:pt x="274" y="99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51" y="99"/>
                    <a:pt x="251" y="99"/>
                    <a:pt x="251" y="99"/>
                  </a:cubicBezTo>
                  <a:lnTo>
                    <a:pt x="262" y="87"/>
                  </a:lnTo>
                  <a:close/>
                  <a:moveTo>
                    <a:pt x="263" y="213"/>
                  </a:moveTo>
                  <a:cubicBezTo>
                    <a:pt x="262" y="213"/>
                    <a:pt x="262" y="213"/>
                    <a:pt x="262" y="213"/>
                  </a:cubicBezTo>
                  <a:cubicBezTo>
                    <a:pt x="251" y="202"/>
                    <a:pt x="251" y="202"/>
                    <a:pt x="251" y="202"/>
                  </a:cubicBezTo>
                  <a:cubicBezTo>
                    <a:pt x="262" y="190"/>
                    <a:pt x="262" y="190"/>
                    <a:pt x="262" y="190"/>
                  </a:cubicBezTo>
                  <a:cubicBezTo>
                    <a:pt x="274" y="202"/>
                    <a:pt x="274" y="202"/>
                    <a:pt x="274" y="202"/>
                  </a:cubicBezTo>
                  <a:lnTo>
                    <a:pt x="263" y="213"/>
                  </a:lnTo>
                  <a:close/>
                  <a:moveTo>
                    <a:pt x="262" y="162"/>
                  </a:moveTo>
                  <a:cubicBezTo>
                    <a:pt x="251" y="150"/>
                    <a:pt x="251" y="150"/>
                    <a:pt x="251" y="150"/>
                  </a:cubicBezTo>
                  <a:cubicBezTo>
                    <a:pt x="262" y="139"/>
                    <a:pt x="262" y="139"/>
                    <a:pt x="262" y="139"/>
                  </a:cubicBezTo>
                  <a:cubicBezTo>
                    <a:pt x="274" y="150"/>
                    <a:pt x="274" y="150"/>
                    <a:pt x="274" y="150"/>
                  </a:cubicBezTo>
                  <a:lnTo>
                    <a:pt x="262" y="162"/>
                  </a:lnTo>
                  <a:close/>
                  <a:moveTo>
                    <a:pt x="288" y="188"/>
                  </a:moveTo>
                  <a:cubicBezTo>
                    <a:pt x="276" y="176"/>
                    <a:pt x="276" y="176"/>
                    <a:pt x="276" y="176"/>
                  </a:cubicBezTo>
                  <a:cubicBezTo>
                    <a:pt x="288" y="164"/>
                    <a:pt x="288" y="164"/>
                    <a:pt x="288" y="164"/>
                  </a:cubicBezTo>
                  <a:cubicBezTo>
                    <a:pt x="299" y="176"/>
                    <a:pt x="299" y="176"/>
                    <a:pt x="299" y="176"/>
                  </a:cubicBezTo>
                  <a:lnTo>
                    <a:pt x="288" y="188"/>
                  </a:lnTo>
                  <a:close/>
                  <a:moveTo>
                    <a:pt x="288" y="136"/>
                  </a:moveTo>
                  <a:cubicBezTo>
                    <a:pt x="276" y="125"/>
                    <a:pt x="276" y="125"/>
                    <a:pt x="276" y="125"/>
                  </a:cubicBezTo>
                  <a:cubicBezTo>
                    <a:pt x="288" y="113"/>
                    <a:pt x="288" y="113"/>
                    <a:pt x="288" y="113"/>
                  </a:cubicBezTo>
                  <a:cubicBezTo>
                    <a:pt x="299" y="125"/>
                    <a:pt x="299" y="125"/>
                    <a:pt x="299" y="125"/>
                  </a:cubicBezTo>
                  <a:lnTo>
                    <a:pt x="288" y="136"/>
                  </a:lnTo>
                  <a:close/>
                  <a:moveTo>
                    <a:pt x="316" y="211"/>
                  </a:moveTo>
                  <a:cubicBezTo>
                    <a:pt x="311" y="211"/>
                    <a:pt x="311" y="211"/>
                    <a:pt x="311" y="211"/>
                  </a:cubicBezTo>
                  <a:cubicBezTo>
                    <a:pt x="302" y="202"/>
                    <a:pt x="302" y="202"/>
                    <a:pt x="302" y="202"/>
                  </a:cubicBezTo>
                  <a:cubicBezTo>
                    <a:pt x="313" y="190"/>
                    <a:pt x="313" y="190"/>
                    <a:pt x="313" y="190"/>
                  </a:cubicBezTo>
                  <a:cubicBezTo>
                    <a:pt x="325" y="202"/>
                    <a:pt x="325" y="202"/>
                    <a:pt x="325" y="202"/>
                  </a:cubicBezTo>
                  <a:lnTo>
                    <a:pt x="316" y="211"/>
                  </a:lnTo>
                  <a:close/>
                  <a:moveTo>
                    <a:pt x="313" y="162"/>
                  </a:moveTo>
                  <a:cubicBezTo>
                    <a:pt x="302" y="150"/>
                    <a:pt x="302" y="150"/>
                    <a:pt x="302" y="150"/>
                  </a:cubicBezTo>
                  <a:cubicBezTo>
                    <a:pt x="313" y="139"/>
                    <a:pt x="313" y="139"/>
                    <a:pt x="313" y="139"/>
                  </a:cubicBezTo>
                  <a:cubicBezTo>
                    <a:pt x="325" y="150"/>
                    <a:pt x="325" y="150"/>
                    <a:pt x="325" y="150"/>
                  </a:cubicBezTo>
                  <a:lnTo>
                    <a:pt x="313" y="162"/>
                  </a:lnTo>
                  <a:close/>
                  <a:moveTo>
                    <a:pt x="339" y="188"/>
                  </a:moveTo>
                  <a:cubicBezTo>
                    <a:pt x="327" y="176"/>
                    <a:pt x="327" y="176"/>
                    <a:pt x="327" y="176"/>
                  </a:cubicBezTo>
                  <a:cubicBezTo>
                    <a:pt x="339" y="164"/>
                    <a:pt x="339" y="164"/>
                    <a:pt x="339" y="164"/>
                  </a:cubicBezTo>
                  <a:cubicBezTo>
                    <a:pt x="351" y="176"/>
                    <a:pt x="351" y="176"/>
                    <a:pt x="351" y="176"/>
                  </a:cubicBezTo>
                  <a:lnTo>
                    <a:pt x="339" y="188"/>
                  </a:lnTo>
                  <a:close/>
                  <a:moveTo>
                    <a:pt x="370" y="208"/>
                  </a:moveTo>
                  <a:cubicBezTo>
                    <a:pt x="360" y="209"/>
                    <a:pt x="360" y="209"/>
                    <a:pt x="360" y="209"/>
                  </a:cubicBezTo>
                  <a:cubicBezTo>
                    <a:pt x="353" y="202"/>
                    <a:pt x="353" y="202"/>
                    <a:pt x="353" y="202"/>
                  </a:cubicBezTo>
                  <a:cubicBezTo>
                    <a:pt x="365" y="190"/>
                    <a:pt x="365" y="190"/>
                    <a:pt x="365" y="190"/>
                  </a:cubicBezTo>
                  <a:cubicBezTo>
                    <a:pt x="376" y="202"/>
                    <a:pt x="376" y="202"/>
                    <a:pt x="376" y="202"/>
                  </a:cubicBezTo>
                  <a:lnTo>
                    <a:pt x="370" y="208"/>
                  </a:lnTo>
                  <a:close/>
                  <a:moveTo>
                    <a:pt x="365" y="162"/>
                  </a:moveTo>
                  <a:cubicBezTo>
                    <a:pt x="353" y="150"/>
                    <a:pt x="353" y="150"/>
                    <a:pt x="353" y="150"/>
                  </a:cubicBezTo>
                  <a:cubicBezTo>
                    <a:pt x="365" y="139"/>
                    <a:pt x="365" y="139"/>
                    <a:pt x="365" y="139"/>
                  </a:cubicBezTo>
                  <a:cubicBezTo>
                    <a:pt x="376" y="150"/>
                    <a:pt x="376" y="150"/>
                    <a:pt x="376" y="150"/>
                  </a:cubicBezTo>
                  <a:lnTo>
                    <a:pt x="365" y="162"/>
                  </a:lnTo>
                  <a:close/>
                  <a:moveTo>
                    <a:pt x="365" y="111"/>
                  </a:moveTo>
                  <a:cubicBezTo>
                    <a:pt x="353" y="99"/>
                    <a:pt x="353" y="99"/>
                    <a:pt x="353" y="99"/>
                  </a:cubicBezTo>
                  <a:cubicBezTo>
                    <a:pt x="359" y="93"/>
                    <a:pt x="359" y="93"/>
                    <a:pt x="359" y="93"/>
                  </a:cubicBezTo>
                  <a:cubicBezTo>
                    <a:pt x="371" y="94"/>
                    <a:pt x="371" y="94"/>
                    <a:pt x="371" y="94"/>
                  </a:cubicBezTo>
                  <a:cubicBezTo>
                    <a:pt x="376" y="99"/>
                    <a:pt x="376" y="99"/>
                    <a:pt x="376" y="99"/>
                  </a:cubicBezTo>
                  <a:lnTo>
                    <a:pt x="365" y="111"/>
                  </a:lnTo>
                  <a:close/>
                  <a:moveTo>
                    <a:pt x="396" y="182"/>
                  </a:moveTo>
                  <a:cubicBezTo>
                    <a:pt x="390" y="188"/>
                    <a:pt x="390" y="188"/>
                    <a:pt x="390" y="188"/>
                  </a:cubicBezTo>
                  <a:cubicBezTo>
                    <a:pt x="379" y="176"/>
                    <a:pt x="379" y="176"/>
                    <a:pt x="379" y="176"/>
                  </a:cubicBezTo>
                  <a:cubicBezTo>
                    <a:pt x="390" y="164"/>
                    <a:pt x="390" y="164"/>
                    <a:pt x="390" y="164"/>
                  </a:cubicBezTo>
                  <a:cubicBezTo>
                    <a:pt x="398" y="172"/>
                    <a:pt x="398" y="172"/>
                    <a:pt x="398" y="172"/>
                  </a:cubicBezTo>
                  <a:lnTo>
                    <a:pt x="396" y="182"/>
                  </a:lnTo>
                  <a:close/>
                  <a:moveTo>
                    <a:pt x="390" y="136"/>
                  </a:moveTo>
                  <a:cubicBezTo>
                    <a:pt x="379" y="125"/>
                    <a:pt x="379" y="125"/>
                    <a:pt x="379" y="125"/>
                  </a:cubicBezTo>
                  <a:cubicBezTo>
                    <a:pt x="390" y="113"/>
                    <a:pt x="390" y="113"/>
                    <a:pt x="390" y="113"/>
                  </a:cubicBezTo>
                  <a:cubicBezTo>
                    <a:pt x="402" y="125"/>
                    <a:pt x="402" y="125"/>
                    <a:pt x="402" y="125"/>
                  </a:cubicBezTo>
                  <a:lnTo>
                    <a:pt x="390" y="136"/>
                  </a:lnTo>
                  <a:close/>
                  <a:moveTo>
                    <a:pt x="409" y="103"/>
                  </a:moveTo>
                  <a:cubicBezTo>
                    <a:pt x="404" y="99"/>
                    <a:pt x="404" y="99"/>
                    <a:pt x="404" y="99"/>
                  </a:cubicBezTo>
                  <a:cubicBezTo>
                    <a:pt x="407" y="96"/>
                    <a:pt x="407" y="96"/>
                    <a:pt x="407" y="96"/>
                  </a:cubicBezTo>
                  <a:cubicBezTo>
                    <a:pt x="410" y="97"/>
                    <a:pt x="410" y="97"/>
                    <a:pt x="410" y="97"/>
                  </a:cubicBezTo>
                  <a:lnTo>
                    <a:pt x="409" y="103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56" name="TextBox 155"/>
          <p:cNvSpPr txBox="1"/>
          <p:nvPr/>
        </p:nvSpPr>
        <p:spPr>
          <a:xfrm>
            <a:off x="5259388" y="514350"/>
            <a:ext cx="3108325" cy="1670050"/>
          </a:xfrm>
          <a:prstGeom prst="rect">
            <a:avLst/>
          </a:prstGeom>
          <a:noFill/>
          <a:ln>
            <a:noFill/>
          </a:ln>
        </p:spPr>
        <p:txBody>
          <a:bodyPr wrap="none" anchor="ctr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hu-HU" sz="11500" b="1" smtClean="0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rPr>
              <a:t>86%</a:t>
            </a:r>
            <a:endParaRPr lang="hu-HU" sz="11500" b="1">
              <a:solidFill>
                <a:schemeClr val="accent4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3910" name="TextBox 156"/>
          <p:cNvSpPr txBox="1">
            <a:spLocks noChangeArrowheads="1"/>
          </p:cNvSpPr>
          <p:nvPr/>
        </p:nvSpPr>
        <p:spPr bwMode="auto">
          <a:xfrm>
            <a:off x="5260975" y="1982788"/>
            <a:ext cx="4362450" cy="1298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37160">
            <a:noAutofit/>
          </a:bodyPr>
          <a:lstStyle/>
          <a:p>
            <a:pPr>
              <a:lnSpc>
                <a:spcPct val="90000"/>
              </a:lnSpc>
            </a:pPr>
            <a:r>
              <a:rPr lang="hu-HU" sz="2200">
                <a:ea typeface="Arial Unicode MS" pitchFamily="34" charset="-128"/>
                <a:cs typeface="Arial Unicode MS" pitchFamily="34" charset="-128"/>
                <a:sym typeface="Lucida Grande"/>
              </a:rPr>
              <a:t>az </a:t>
            </a:r>
            <a:r>
              <a:rPr lang="hu-HU" sz="2200" smtClean="0">
                <a:ea typeface="Arial Unicode MS" pitchFamily="34" charset="-128"/>
                <a:cs typeface="Arial Unicode MS" pitchFamily="34" charset="-128"/>
                <a:sym typeface="Lucida Grande"/>
              </a:rPr>
              <a:t>okostelefon-használók </a:t>
            </a:r>
            <a:br>
              <a:rPr lang="hu-HU" sz="2200" smtClean="0">
                <a:ea typeface="Arial Unicode MS" pitchFamily="34" charset="-128"/>
                <a:cs typeface="Arial Unicode MS" pitchFamily="34" charset="-128"/>
                <a:sym typeface="Lucida Grande"/>
              </a:rPr>
            </a:br>
            <a:r>
              <a:rPr lang="hu-HU" sz="2200" smtClean="0">
                <a:ea typeface="Arial Unicode MS" pitchFamily="34" charset="-128"/>
                <a:cs typeface="Arial Unicode MS" pitchFamily="34" charset="-128"/>
                <a:sym typeface="Lucida Grande"/>
              </a:rPr>
              <a:t>közül ennyien </a:t>
            </a:r>
            <a:r>
              <a:rPr lang="hu-HU" sz="2200" b="1" smtClean="0">
                <a:ea typeface="Arial Unicode MS" pitchFamily="34" charset="-128"/>
                <a:cs typeface="Arial Unicode MS" pitchFamily="34" charset="-128"/>
                <a:sym typeface="Lucida Grande"/>
              </a:rPr>
              <a:t>veszik </a:t>
            </a:r>
            <a:r>
              <a:rPr lang="hu-HU" sz="2200" b="1">
                <a:ea typeface="Arial Unicode MS" pitchFamily="34" charset="-128"/>
                <a:cs typeface="Arial Unicode MS" pitchFamily="34" charset="-128"/>
                <a:sym typeface="Lucida Grande"/>
              </a:rPr>
              <a:t>észre </a:t>
            </a:r>
            <a:r>
              <a:rPr lang="hu-HU" sz="2200" b="1" smtClean="0">
                <a:ea typeface="Arial Unicode MS" pitchFamily="34" charset="-128"/>
                <a:cs typeface="Arial Unicode MS" pitchFamily="34" charset="-128"/>
                <a:sym typeface="Lucida Grande"/>
              </a:rPr>
              <a:t/>
            </a:r>
            <a:br>
              <a:rPr lang="hu-HU" sz="2200" b="1" smtClean="0">
                <a:ea typeface="Arial Unicode MS" pitchFamily="34" charset="-128"/>
                <a:cs typeface="Arial Unicode MS" pitchFamily="34" charset="-128"/>
                <a:sym typeface="Lucida Grande"/>
              </a:rPr>
            </a:br>
            <a:r>
              <a:rPr lang="hu-HU" sz="2200" b="1" smtClean="0">
                <a:ea typeface="Arial Unicode MS" pitchFamily="34" charset="-128"/>
                <a:cs typeface="Arial Unicode MS" pitchFamily="34" charset="-128"/>
                <a:sym typeface="Lucida Grande"/>
              </a:rPr>
              <a:t>a </a:t>
            </a:r>
            <a:r>
              <a:rPr lang="hu-HU" sz="2200" b="1">
                <a:ea typeface="Arial Unicode MS" pitchFamily="34" charset="-128"/>
                <a:cs typeface="Arial Unicode MS" pitchFamily="34" charset="-128"/>
                <a:sym typeface="Lucida Grande"/>
              </a:rPr>
              <a:t>mobilhirdetéseket</a:t>
            </a:r>
          </a:p>
        </p:txBody>
      </p:sp>
      <p:sp>
        <p:nvSpPr>
          <p:cNvPr id="160" name="TextBox 7"/>
          <p:cNvSpPr txBox="1">
            <a:spLocks noChangeArrowheads="1"/>
          </p:cNvSpPr>
          <p:nvPr/>
        </p:nvSpPr>
        <p:spPr bwMode="auto">
          <a:xfrm>
            <a:off x="1559878" y="6333839"/>
            <a:ext cx="4814887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5000"/>
              </a:lnSpc>
              <a:tabLst>
                <a:tab pos="573088" algn="l"/>
              </a:tabLst>
              <a:defRPr/>
            </a:pPr>
            <a:r>
              <a:rPr lang="hu-HU" sz="800" smtClea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Alapja:	Okostelefon-használók, akik az internetet általánosságban használják 	okostelefonjukon, n=1000 </a:t>
            </a:r>
          </a:p>
          <a:p>
            <a:pPr>
              <a:lnSpc>
                <a:spcPct val="90000"/>
              </a:lnSpc>
              <a:tabLst>
                <a:tab pos="573088" algn="l"/>
              </a:tabLst>
              <a:defRPr/>
            </a:pPr>
            <a:r>
              <a:rPr lang="hu-HU" sz="800" smtClean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41. kérdés:	Milyen gyakran veszi észre a hirdetéseket, miközben böngészőt vagy valamilyen 	alkalmazást használ okostelefonján? (Ha ez egyáltalán előfordul)</a:t>
            </a:r>
            <a:endParaRPr lang="hu-HU" sz="800">
              <a:solidFill>
                <a:schemeClr val="bg1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9" name="Rectangle 158"/>
          <p:cNvSpPr/>
          <p:nvPr/>
        </p:nvSpPr>
        <p:spPr bwMode="auto">
          <a:xfrm>
            <a:off x="7165298" y="6265889"/>
            <a:ext cx="1484027" cy="57712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1" name="Text Box 54"/>
          <p:cNvSpPr txBox="1">
            <a:spLocks noChangeArrowheads="1"/>
          </p:cNvSpPr>
          <p:nvPr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no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hu-HU" sz="800" baseline="0" noProof="0" dirty="0" smtClean="0">
                <a:solidFill>
                  <a:srgbClr val="7D7D7D"/>
                </a:solidFill>
                <a:ea typeface="Arial Unicode MS" pitchFamily="34" charset="-128"/>
                <a:cs typeface="Arial Unicode MS" pitchFamily="34" charset="-128"/>
              </a:rPr>
              <a:t>A Google bizalmas és saját tulajdonú információi</a:t>
            </a:r>
            <a:endParaRPr lang="hu-HU" sz="800" baseline="0" noProof="0" dirty="0">
              <a:solidFill>
                <a:srgbClr val="7D7D7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95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347788"/>
            <a:ext cx="9144000" cy="496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315"/>
          <p:cNvGrpSpPr/>
          <p:nvPr/>
        </p:nvGrpSpPr>
        <p:grpSpPr>
          <a:xfrm>
            <a:off x="1478411" y="2931115"/>
            <a:ext cx="707120" cy="478835"/>
            <a:chOff x="1999603" y="2461194"/>
            <a:chExt cx="702016" cy="475379"/>
          </a:xfrm>
          <a:noFill/>
        </p:grpSpPr>
        <p:sp>
          <p:nvSpPr>
            <p:cNvPr id="101" name="Rounded Rectangle 100"/>
            <p:cNvSpPr/>
            <p:nvPr/>
          </p:nvSpPr>
          <p:spPr bwMode="auto">
            <a:xfrm>
              <a:off x="1999603" y="2461194"/>
              <a:ext cx="702016" cy="475379"/>
            </a:xfrm>
            <a:prstGeom prst="roundRect">
              <a:avLst>
                <a:gd name="adj" fmla="val 3638"/>
              </a:avLst>
            </a:prstGeom>
            <a:solidFill>
              <a:schemeClr val="tx2"/>
            </a:solidFill>
            <a:ln>
              <a:solidFill>
                <a:schemeClr val="tx2"/>
              </a:solidFill>
            </a:ln>
            <a:extLst/>
          </p:spPr>
          <p:txBody>
            <a:bodyPr>
              <a:noAutofit/>
            </a:bodyPr>
            <a:lstStyle/>
            <a:p>
              <a:pPr>
                <a:defRPr/>
              </a:pPr>
              <a:endParaRPr lang="hu-HU" cap="all"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3" name="Group 313"/>
            <p:cNvGrpSpPr/>
            <p:nvPr/>
          </p:nvGrpSpPr>
          <p:grpSpPr>
            <a:xfrm>
              <a:off x="2063964" y="2498964"/>
              <a:ext cx="573298" cy="360527"/>
              <a:chOff x="2046272" y="2494243"/>
              <a:chExt cx="608683" cy="382780"/>
            </a:xfrm>
            <a:grpFill/>
          </p:grpSpPr>
          <p:sp>
            <p:nvSpPr>
              <p:cNvPr id="103" name="Rounded Rectangle 102"/>
              <p:cNvSpPr/>
              <p:nvPr/>
            </p:nvSpPr>
            <p:spPr bwMode="auto">
              <a:xfrm>
                <a:off x="2494630" y="2494245"/>
                <a:ext cx="160325" cy="382778"/>
              </a:xfrm>
              <a:prstGeom prst="roundRect">
                <a:avLst>
                  <a:gd name="adj" fmla="val 3638"/>
                </a:avLst>
              </a:prstGeom>
              <a:solidFill>
                <a:schemeClr val="accent1">
                  <a:lumMod val="75000"/>
                </a:schemeClr>
              </a:solidFill>
              <a:ln w="4445">
                <a:solidFill>
                  <a:schemeClr val="bg1"/>
                </a:solidFill>
              </a:ln>
              <a:ex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 cap="all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04" name="Rounded Rectangle 103"/>
              <p:cNvSpPr/>
              <p:nvPr/>
            </p:nvSpPr>
            <p:spPr bwMode="auto">
              <a:xfrm>
                <a:off x="2046272" y="2494243"/>
                <a:ext cx="407752" cy="201167"/>
              </a:xfrm>
              <a:prstGeom prst="roundRect">
                <a:avLst>
                  <a:gd name="adj" fmla="val 3638"/>
                </a:avLst>
              </a:prstGeom>
              <a:noFill/>
              <a:ln w="4445">
                <a:solidFill>
                  <a:schemeClr val="bg1"/>
                </a:solidFill>
              </a:ln>
              <a:extLst/>
            </p:spPr>
            <p:txBody>
              <a:bodyPr>
                <a:noAutofit/>
              </a:bodyPr>
              <a:lstStyle/>
              <a:p>
                <a:pPr>
                  <a:defRPr/>
                </a:pPr>
                <a:endParaRPr lang="hu-HU" cap="all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grpSp>
            <p:nvGrpSpPr>
              <p:cNvPr id="4" name="Group 312"/>
              <p:cNvGrpSpPr/>
              <p:nvPr/>
            </p:nvGrpSpPr>
            <p:grpSpPr>
              <a:xfrm>
                <a:off x="2046272" y="2738058"/>
                <a:ext cx="402336" cy="136492"/>
                <a:chOff x="2038487" y="2738058"/>
                <a:chExt cx="417346" cy="136492"/>
              </a:xfrm>
              <a:grpFill/>
            </p:grpSpPr>
            <p:cxnSp>
              <p:nvCxnSpPr>
                <p:cNvPr id="106" name="Straight Connector 105"/>
                <p:cNvCxnSpPr/>
                <p:nvPr/>
              </p:nvCxnSpPr>
              <p:spPr bwMode="auto">
                <a:xfrm>
                  <a:off x="2038487" y="2738058"/>
                  <a:ext cx="417346" cy="0"/>
                </a:xfrm>
                <a:prstGeom prst="line">
                  <a:avLst/>
                </a:prstGeom>
                <a:grpFill/>
                <a:ln w="4445">
                  <a:solidFill>
                    <a:schemeClr val="bg1"/>
                  </a:solidFill>
                </a:ln>
                <a:extLst/>
              </p:spPr>
            </p:cxnSp>
            <p:cxnSp>
              <p:nvCxnSpPr>
                <p:cNvPr id="108" name="Straight Connector 107"/>
                <p:cNvCxnSpPr/>
                <p:nvPr/>
              </p:nvCxnSpPr>
              <p:spPr bwMode="auto">
                <a:xfrm>
                  <a:off x="2038487" y="2783555"/>
                  <a:ext cx="417346" cy="0"/>
                </a:xfrm>
                <a:prstGeom prst="line">
                  <a:avLst/>
                </a:prstGeom>
                <a:grpFill/>
                <a:ln w="4445">
                  <a:solidFill>
                    <a:schemeClr val="bg1"/>
                  </a:solidFill>
                </a:ln>
                <a:extLst/>
              </p:spPr>
            </p:cxnSp>
            <p:cxnSp>
              <p:nvCxnSpPr>
                <p:cNvPr id="109" name="Straight Connector 108"/>
                <p:cNvCxnSpPr/>
                <p:nvPr/>
              </p:nvCxnSpPr>
              <p:spPr bwMode="auto">
                <a:xfrm>
                  <a:off x="2038487" y="2829053"/>
                  <a:ext cx="417346" cy="0"/>
                </a:xfrm>
                <a:prstGeom prst="line">
                  <a:avLst/>
                </a:prstGeom>
                <a:grpFill/>
                <a:ln w="4445">
                  <a:solidFill>
                    <a:schemeClr val="bg1"/>
                  </a:solidFill>
                </a:ln>
                <a:extLst/>
              </p:spPr>
            </p:cxnSp>
            <p:cxnSp>
              <p:nvCxnSpPr>
                <p:cNvPr id="110" name="Straight Connector 109"/>
                <p:cNvCxnSpPr/>
                <p:nvPr/>
              </p:nvCxnSpPr>
              <p:spPr bwMode="auto">
                <a:xfrm>
                  <a:off x="2038487" y="2874550"/>
                  <a:ext cx="417346" cy="0"/>
                </a:xfrm>
                <a:prstGeom prst="line">
                  <a:avLst/>
                </a:prstGeom>
                <a:grpFill/>
                <a:ln w="4445">
                  <a:solidFill>
                    <a:schemeClr val="bg1"/>
                  </a:solidFill>
                </a:ln>
                <a:extLst/>
              </p:spPr>
            </p:cxnSp>
          </p:grpSp>
        </p:grpSp>
      </p:grpSp>
      <p:grpSp>
        <p:nvGrpSpPr>
          <p:cNvPr id="5" name="Group 13"/>
          <p:cNvGrpSpPr/>
          <p:nvPr/>
        </p:nvGrpSpPr>
        <p:grpSpPr>
          <a:xfrm flipH="1">
            <a:off x="219074" y="1532214"/>
            <a:ext cx="554218" cy="857670"/>
            <a:chOff x="715963" y="-2541588"/>
            <a:chExt cx="7715250" cy="11939588"/>
          </a:xfrm>
          <a:solidFill>
            <a:schemeClr val="accent1">
              <a:lumMod val="75000"/>
            </a:schemeClr>
          </a:solidFill>
          <a:effectLst/>
        </p:grpSpPr>
        <p:sp>
          <p:nvSpPr>
            <p:cNvPr id="15" name="Freeform 15"/>
            <p:cNvSpPr>
              <a:spLocks noEditPoints="1"/>
            </p:cNvSpPr>
            <p:nvPr/>
          </p:nvSpPr>
          <p:spPr bwMode="auto">
            <a:xfrm>
              <a:off x="715963" y="-2541588"/>
              <a:ext cx="7715250" cy="11939588"/>
            </a:xfrm>
            <a:custGeom>
              <a:avLst/>
              <a:gdLst/>
              <a:ahLst/>
              <a:cxnLst>
                <a:cxn ang="0">
                  <a:pos x="1254" y="0"/>
                </a:cxn>
                <a:cxn ang="0">
                  <a:pos x="803" y="0"/>
                </a:cxn>
                <a:cxn ang="0">
                  <a:pos x="0" y="538"/>
                </a:cxn>
                <a:cxn ang="0">
                  <a:pos x="0" y="2524"/>
                </a:cxn>
                <a:cxn ang="0">
                  <a:pos x="803" y="3184"/>
                </a:cxn>
                <a:cxn ang="0">
                  <a:pos x="1254" y="3184"/>
                </a:cxn>
                <a:cxn ang="0">
                  <a:pos x="2057" y="2524"/>
                </a:cxn>
                <a:cxn ang="0">
                  <a:pos x="2057" y="538"/>
                </a:cxn>
                <a:cxn ang="0">
                  <a:pos x="1254" y="0"/>
                </a:cxn>
                <a:cxn ang="0">
                  <a:pos x="561" y="2925"/>
                </a:cxn>
                <a:cxn ang="0">
                  <a:pos x="531" y="2960"/>
                </a:cxn>
                <a:cxn ang="0">
                  <a:pos x="493" y="2925"/>
                </a:cxn>
                <a:cxn ang="0">
                  <a:pos x="493" y="2661"/>
                </a:cxn>
                <a:cxn ang="0">
                  <a:pos x="531" y="2625"/>
                </a:cxn>
                <a:cxn ang="0">
                  <a:pos x="561" y="2661"/>
                </a:cxn>
                <a:cxn ang="0">
                  <a:pos x="561" y="2925"/>
                </a:cxn>
                <a:cxn ang="0">
                  <a:pos x="1270" y="2850"/>
                </a:cxn>
                <a:cxn ang="0">
                  <a:pos x="1155" y="2972"/>
                </a:cxn>
                <a:cxn ang="0">
                  <a:pos x="904" y="2972"/>
                </a:cxn>
                <a:cxn ang="0">
                  <a:pos x="789" y="2850"/>
                </a:cxn>
                <a:cxn ang="0">
                  <a:pos x="789" y="2728"/>
                </a:cxn>
                <a:cxn ang="0">
                  <a:pos x="904" y="2613"/>
                </a:cxn>
                <a:cxn ang="0">
                  <a:pos x="1155" y="2613"/>
                </a:cxn>
                <a:cxn ang="0">
                  <a:pos x="1270" y="2728"/>
                </a:cxn>
                <a:cxn ang="0">
                  <a:pos x="1270" y="2850"/>
                </a:cxn>
                <a:cxn ang="0">
                  <a:pos x="1564" y="2925"/>
                </a:cxn>
                <a:cxn ang="0">
                  <a:pos x="1529" y="2960"/>
                </a:cxn>
                <a:cxn ang="0">
                  <a:pos x="1500" y="2925"/>
                </a:cxn>
                <a:cxn ang="0">
                  <a:pos x="1500" y="2661"/>
                </a:cxn>
                <a:cxn ang="0">
                  <a:pos x="1529" y="2625"/>
                </a:cxn>
                <a:cxn ang="0">
                  <a:pos x="1564" y="2661"/>
                </a:cxn>
                <a:cxn ang="0">
                  <a:pos x="1564" y="2925"/>
                </a:cxn>
                <a:cxn ang="0">
                  <a:pos x="1833" y="2397"/>
                </a:cxn>
                <a:cxn ang="0">
                  <a:pos x="1725" y="2505"/>
                </a:cxn>
                <a:cxn ang="0">
                  <a:pos x="328" y="2505"/>
                </a:cxn>
                <a:cxn ang="0">
                  <a:pos x="220" y="2397"/>
                </a:cxn>
                <a:cxn ang="0">
                  <a:pos x="220" y="367"/>
                </a:cxn>
                <a:cxn ang="0">
                  <a:pos x="328" y="259"/>
                </a:cxn>
                <a:cxn ang="0">
                  <a:pos x="1725" y="259"/>
                </a:cxn>
                <a:cxn ang="0">
                  <a:pos x="1833" y="367"/>
                </a:cxn>
                <a:cxn ang="0">
                  <a:pos x="1833" y="2397"/>
                </a:cxn>
              </a:cxnLst>
              <a:rect l="0" t="0" r="r" b="b"/>
              <a:pathLst>
                <a:path w="2057" h="3184">
                  <a:moveTo>
                    <a:pt x="1254" y="0"/>
                  </a:moveTo>
                  <a:cubicBezTo>
                    <a:pt x="1254" y="0"/>
                    <a:pt x="1254" y="0"/>
                    <a:pt x="803" y="0"/>
                  </a:cubicBezTo>
                  <a:cubicBezTo>
                    <a:pt x="358" y="0"/>
                    <a:pt x="0" y="93"/>
                    <a:pt x="0" y="538"/>
                  </a:cubicBezTo>
                  <a:cubicBezTo>
                    <a:pt x="0" y="538"/>
                    <a:pt x="0" y="538"/>
                    <a:pt x="0" y="2524"/>
                  </a:cubicBezTo>
                  <a:cubicBezTo>
                    <a:pt x="0" y="2969"/>
                    <a:pt x="358" y="3184"/>
                    <a:pt x="803" y="3184"/>
                  </a:cubicBezTo>
                  <a:cubicBezTo>
                    <a:pt x="803" y="3184"/>
                    <a:pt x="803" y="3184"/>
                    <a:pt x="1254" y="3184"/>
                  </a:cubicBezTo>
                  <a:cubicBezTo>
                    <a:pt x="1699" y="3184"/>
                    <a:pt x="2057" y="2969"/>
                    <a:pt x="2057" y="2524"/>
                  </a:cubicBezTo>
                  <a:cubicBezTo>
                    <a:pt x="2057" y="538"/>
                    <a:pt x="2057" y="538"/>
                    <a:pt x="2057" y="538"/>
                  </a:cubicBezTo>
                  <a:cubicBezTo>
                    <a:pt x="2057" y="93"/>
                    <a:pt x="1699" y="0"/>
                    <a:pt x="1254" y="0"/>
                  </a:cubicBezTo>
                  <a:close/>
                  <a:moveTo>
                    <a:pt x="561" y="2925"/>
                  </a:moveTo>
                  <a:cubicBezTo>
                    <a:pt x="561" y="2939"/>
                    <a:pt x="546" y="2960"/>
                    <a:pt x="531" y="2960"/>
                  </a:cubicBezTo>
                  <a:cubicBezTo>
                    <a:pt x="508" y="2960"/>
                    <a:pt x="493" y="2939"/>
                    <a:pt x="493" y="2925"/>
                  </a:cubicBezTo>
                  <a:cubicBezTo>
                    <a:pt x="493" y="2661"/>
                    <a:pt x="493" y="2661"/>
                    <a:pt x="493" y="2661"/>
                  </a:cubicBezTo>
                  <a:cubicBezTo>
                    <a:pt x="493" y="2639"/>
                    <a:pt x="508" y="2625"/>
                    <a:pt x="531" y="2625"/>
                  </a:cubicBezTo>
                  <a:cubicBezTo>
                    <a:pt x="546" y="2625"/>
                    <a:pt x="561" y="2639"/>
                    <a:pt x="561" y="2661"/>
                  </a:cubicBezTo>
                  <a:lnTo>
                    <a:pt x="561" y="2925"/>
                  </a:lnTo>
                  <a:close/>
                  <a:moveTo>
                    <a:pt x="1270" y="2850"/>
                  </a:moveTo>
                  <a:cubicBezTo>
                    <a:pt x="1270" y="2922"/>
                    <a:pt x="1219" y="2972"/>
                    <a:pt x="1155" y="2972"/>
                  </a:cubicBezTo>
                  <a:cubicBezTo>
                    <a:pt x="1155" y="2972"/>
                    <a:pt x="1155" y="2972"/>
                    <a:pt x="904" y="2972"/>
                  </a:cubicBezTo>
                  <a:cubicBezTo>
                    <a:pt x="840" y="2972"/>
                    <a:pt x="789" y="2922"/>
                    <a:pt x="789" y="2850"/>
                  </a:cubicBezTo>
                  <a:cubicBezTo>
                    <a:pt x="789" y="2850"/>
                    <a:pt x="789" y="2850"/>
                    <a:pt x="789" y="2728"/>
                  </a:cubicBezTo>
                  <a:cubicBezTo>
                    <a:pt x="789" y="2663"/>
                    <a:pt x="840" y="2613"/>
                    <a:pt x="904" y="2613"/>
                  </a:cubicBezTo>
                  <a:cubicBezTo>
                    <a:pt x="904" y="2613"/>
                    <a:pt x="904" y="2613"/>
                    <a:pt x="1155" y="2613"/>
                  </a:cubicBezTo>
                  <a:cubicBezTo>
                    <a:pt x="1219" y="2613"/>
                    <a:pt x="1270" y="2663"/>
                    <a:pt x="1270" y="2728"/>
                  </a:cubicBezTo>
                  <a:cubicBezTo>
                    <a:pt x="1270" y="2728"/>
                    <a:pt x="1270" y="2728"/>
                    <a:pt x="1270" y="2850"/>
                  </a:cubicBezTo>
                  <a:close/>
                  <a:moveTo>
                    <a:pt x="1564" y="2925"/>
                  </a:moveTo>
                  <a:cubicBezTo>
                    <a:pt x="1564" y="2939"/>
                    <a:pt x="1550" y="2960"/>
                    <a:pt x="1529" y="2960"/>
                  </a:cubicBezTo>
                  <a:cubicBezTo>
                    <a:pt x="1514" y="2960"/>
                    <a:pt x="1500" y="2939"/>
                    <a:pt x="1500" y="2925"/>
                  </a:cubicBezTo>
                  <a:cubicBezTo>
                    <a:pt x="1500" y="2661"/>
                    <a:pt x="1500" y="2661"/>
                    <a:pt x="1500" y="2661"/>
                  </a:cubicBezTo>
                  <a:cubicBezTo>
                    <a:pt x="1500" y="2639"/>
                    <a:pt x="1514" y="2625"/>
                    <a:pt x="1529" y="2625"/>
                  </a:cubicBezTo>
                  <a:cubicBezTo>
                    <a:pt x="1550" y="2625"/>
                    <a:pt x="1564" y="2639"/>
                    <a:pt x="1564" y="2661"/>
                  </a:cubicBezTo>
                  <a:lnTo>
                    <a:pt x="1564" y="2925"/>
                  </a:lnTo>
                  <a:close/>
                  <a:moveTo>
                    <a:pt x="1833" y="2397"/>
                  </a:moveTo>
                  <a:cubicBezTo>
                    <a:pt x="1833" y="2455"/>
                    <a:pt x="1783" y="2505"/>
                    <a:pt x="1725" y="2505"/>
                  </a:cubicBezTo>
                  <a:cubicBezTo>
                    <a:pt x="328" y="2505"/>
                    <a:pt x="328" y="2505"/>
                    <a:pt x="328" y="2505"/>
                  </a:cubicBezTo>
                  <a:cubicBezTo>
                    <a:pt x="270" y="2505"/>
                    <a:pt x="220" y="2455"/>
                    <a:pt x="220" y="2397"/>
                  </a:cubicBezTo>
                  <a:cubicBezTo>
                    <a:pt x="220" y="367"/>
                    <a:pt x="220" y="367"/>
                    <a:pt x="220" y="367"/>
                  </a:cubicBezTo>
                  <a:cubicBezTo>
                    <a:pt x="220" y="303"/>
                    <a:pt x="270" y="259"/>
                    <a:pt x="328" y="259"/>
                  </a:cubicBezTo>
                  <a:cubicBezTo>
                    <a:pt x="1725" y="259"/>
                    <a:pt x="1725" y="259"/>
                    <a:pt x="1725" y="259"/>
                  </a:cubicBezTo>
                  <a:cubicBezTo>
                    <a:pt x="1783" y="259"/>
                    <a:pt x="1833" y="303"/>
                    <a:pt x="1833" y="367"/>
                  </a:cubicBezTo>
                  <a:lnTo>
                    <a:pt x="1833" y="23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 cap="all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3836988" y="7391400"/>
              <a:ext cx="1481138" cy="1076325"/>
            </a:xfrm>
            <a:custGeom>
              <a:avLst/>
              <a:gdLst/>
              <a:ahLst/>
              <a:cxnLst>
                <a:cxn ang="0">
                  <a:pos x="294" y="0"/>
                </a:cxn>
                <a:cxn ang="0">
                  <a:pos x="101" y="0"/>
                </a:cxn>
                <a:cxn ang="0">
                  <a:pos x="0" y="93"/>
                </a:cxn>
                <a:cxn ang="0">
                  <a:pos x="0" y="194"/>
                </a:cxn>
                <a:cxn ang="0">
                  <a:pos x="101" y="287"/>
                </a:cxn>
                <a:cxn ang="0">
                  <a:pos x="294" y="287"/>
                </a:cxn>
                <a:cxn ang="0">
                  <a:pos x="395" y="194"/>
                </a:cxn>
                <a:cxn ang="0">
                  <a:pos x="395" y="93"/>
                </a:cxn>
                <a:cxn ang="0">
                  <a:pos x="294" y="0"/>
                </a:cxn>
              </a:cxnLst>
              <a:rect l="0" t="0" r="r" b="b"/>
              <a:pathLst>
                <a:path w="395" h="287">
                  <a:moveTo>
                    <a:pt x="294" y="0"/>
                  </a:moveTo>
                  <a:cubicBezTo>
                    <a:pt x="294" y="0"/>
                    <a:pt x="294" y="0"/>
                    <a:pt x="101" y="0"/>
                  </a:cubicBezTo>
                  <a:cubicBezTo>
                    <a:pt x="43" y="0"/>
                    <a:pt x="0" y="43"/>
                    <a:pt x="0" y="93"/>
                  </a:cubicBezTo>
                  <a:cubicBezTo>
                    <a:pt x="0" y="93"/>
                    <a:pt x="0" y="93"/>
                    <a:pt x="0" y="194"/>
                  </a:cubicBezTo>
                  <a:cubicBezTo>
                    <a:pt x="0" y="244"/>
                    <a:pt x="43" y="287"/>
                    <a:pt x="101" y="287"/>
                  </a:cubicBezTo>
                  <a:cubicBezTo>
                    <a:pt x="101" y="287"/>
                    <a:pt x="101" y="287"/>
                    <a:pt x="294" y="287"/>
                  </a:cubicBezTo>
                  <a:cubicBezTo>
                    <a:pt x="352" y="287"/>
                    <a:pt x="395" y="244"/>
                    <a:pt x="395" y="194"/>
                  </a:cubicBezTo>
                  <a:cubicBezTo>
                    <a:pt x="395" y="93"/>
                    <a:pt x="395" y="93"/>
                    <a:pt x="395" y="93"/>
                  </a:cubicBezTo>
                  <a:cubicBezTo>
                    <a:pt x="395" y="43"/>
                    <a:pt x="352" y="0"/>
                    <a:pt x="294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 cap="all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25956" name="Rectangle 7"/>
          <p:cNvSpPr>
            <a:spLocks noGrp="1" noChangeArrowheads="1"/>
          </p:cNvSpPr>
          <p:nvPr>
            <p:ph type="title"/>
          </p:nvPr>
        </p:nvSpPr>
        <p:spPr>
          <a:xfrm>
            <a:off x="457200" y="201168"/>
            <a:ext cx="8583304" cy="476250"/>
          </a:xfrm>
        </p:spPr>
        <p:txBody>
          <a:bodyPr rIns="0">
            <a:noAutofit/>
          </a:bodyPr>
          <a:lstStyle/>
          <a:p>
            <a:r>
              <a:rPr lang="hu-HU" cap="all" spc="-20" smtClean="0"/>
              <a:t>A </a:t>
            </a:r>
            <a:r>
              <a:rPr lang="hu-HU" spc="-20" smtClean="0"/>
              <a:t>mobilhirdetések hatással vannak ránk</a:t>
            </a:r>
          </a:p>
        </p:txBody>
      </p:sp>
      <p:sp>
        <p:nvSpPr>
          <p:cNvPr id="125957" name="Slide Number Placeholder 2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653E9F27-2164-4891-A727-101900F78EF7}" type="slidenum">
              <a:rPr lang="hu-HU" cap="all"/>
              <a:pPr/>
              <a:t>24</a:t>
            </a:fld>
            <a:endParaRPr lang="hu-HU" cap="all"/>
          </a:p>
        </p:txBody>
      </p:sp>
      <p:sp>
        <p:nvSpPr>
          <p:cNvPr id="125958" name="TextBox 7"/>
          <p:cNvSpPr txBox="1">
            <a:spLocks noChangeArrowheads="1"/>
          </p:cNvSpPr>
          <p:nvPr/>
        </p:nvSpPr>
        <p:spPr bwMode="auto">
          <a:xfrm>
            <a:off x="488950" y="6400800"/>
            <a:ext cx="65182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5000"/>
              </a:lnSpc>
              <a:tabLst>
                <a:tab pos="573088" algn="l"/>
              </a:tabLst>
            </a:pP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Alapja:	Okostelefon-használók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, akik az internetet általánosságban használják</a:t>
            </a: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, és 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akik legalább </a:t>
            </a: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	néha 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észrevesznek hirdetéseket, n=863</a:t>
            </a:r>
          </a:p>
          <a:p>
            <a:pPr defTabSz="647700">
              <a:lnSpc>
                <a:spcPct val="95000"/>
              </a:lnSpc>
              <a:tabLst>
                <a:tab pos="573088" algn="l"/>
              </a:tabLst>
            </a:pP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42. kérdés</a:t>
            </a: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:	Okostelefonja 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használata közben hol vett már észre hirdetéseket? 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908050" y="2090738"/>
            <a:ext cx="1125538" cy="365125"/>
          </a:xfrm>
          <a:prstGeom prst="rect">
            <a:avLst/>
          </a:prstGeom>
          <a:noFill/>
          <a:ln>
            <a:noFill/>
          </a:ln>
        </p:spPr>
        <p:txBody>
          <a:bodyPr lIns="0" rIns="0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hu-HU" sz="1050" smtClean="0">
                <a:ea typeface="Arial Unicode MS" pitchFamily="34" charset="-128"/>
                <a:cs typeface="Arial Unicode MS" pitchFamily="34" charset="-128"/>
              </a:rPr>
              <a:t>Alkalmazás használata közben</a:t>
            </a:r>
            <a:endParaRPr lang="hu-HU" sz="105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812800" y="1604963"/>
            <a:ext cx="1098550" cy="585787"/>
          </a:xfrm>
          <a:prstGeom prst="rect">
            <a:avLst/>
          </a:prstGeom>
          <a:noFill/>
          <a:ln>
            <a:noFill/>
          </a:ln>
        </p:spPr>
        <p:txBody>
          <a:bodyPr wrap="none" anchor="ctr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hu-HU" sz="3600" cap="all" smtClean="0">
                <a:solidFill>
                  <a:schemeClr val="accent1">
                    <a:lumMod val="75000"/>
                  </a:schemeClr>
                </a:solidFill>
                <a:ea typeface="Arial Unicode MS" pitchFamily="34" charset="-128"/>
                <a:cs typeface="Arial Unicode MS" pitchFamily="34" charset="-128"/>
              </a:rPr>
              <a:t>44%</a:t>
            </a:r>
            <a:endParaRPr lang="hu-HU" sz="3600" cap="all">
              <a:solidFill>
                <a:schemeClr val="accent1">
                  <a:lumMod val="75000"/>
                </a:schemeClr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25962" name="Group 95"/>
          <p:cNvGrpSpPr>
            <a:grpSpLocks/>
          </p:cNvGrpSpPr>
          <p:nvPr/>
        </p:nvGrpSpPr>
        <p:grpSpPr bwMode="auto">
          <a:xfrm>
            <a:off x="14288" y="2768600"/>
            <a:ext cx="1220787" cy="844550"/>
            <a:chOff x="13709" y="2768959"/>
            <a:chExt cx="1220957" cy="843661"/>
          </a:xfrm>
        </p:grpSpPr>
        <p:sp>
          <p:nvSpPr>
            <p:cNvPr id="58" name="TextBox 57"/>
            <p:cNvSpPr txBox="1"/>
            <p:nvPr/>
          </p:nvSpPr>
          <p:spPr>
            <a:xfrm>
              <a:off x="13709" y="3247879"/>
              <a:ext cx="1101878" cy="364741"/>
            </a:xfrm>
            <a:prstGeom prst="rect">
              <a:avLst/>
            </a:prstGeom>
            <a:noFill/>
            <a:ln>
              <a:noFill/>
            </a:ln>
          </p:spPr>
          <p:txBody>
            <a:bodyPr lIns="0" rIns="0">
              <a:noAutofit/>
            </a:bodyPr>
            <a:lstStyle/>
            <a:p>
              <a:pPr algn="r">
                <a:lnSpc>
                  <a:spcPct val="90000"/>
                </a:lnSpc>
              </a:pPr>
              <a:r>
                <a:rPr lang="hu-HU" sz="1000" smtClean="0">
                  <a:ea typeface="Arial Unicode MS" pitchFamily="34" charset="-128"/>
                  <a:cs typeface="Arial Unicode MS" pitchFamily="34" charset="-128"/>
                </a:rPr>
                <a:t>Webhelyen </a:t>
              </a:r>
              <a:br>
                <a:rPr lang="hu-HU" sz="1000" smtClean="0">
                  <a:ea typeface="Arial Unicode MS" pitchFamily="34" charset="-128"/>
                  <a:cs typeface="Arial Unicode MS" pitchFamily="34" charset="-128"/>
                </a:rPr>
              </a:br>
              <a:r>
                <a:rPr lang="hu-HU" sz="1000" smtClean="0">
                  <a:ea typeface="Arial Unicode MS" pitchFamily="34" charset="-128"/>
                  <a:cs typeface="Arial Unicode MS" pitchFamily="34" charset="-128"/>
                </a:rPr>
                <a:t>töltött </a:t>
              </a:r>
              <a:br>
                <a:rPr lang="hu-HU" sz="1000" smtClean="0">
                  <a:ea typeface="Arial Unicode MS" pitchFamily="34" charset="-128"/>
                  <a:cs typeface="Arial Unicode MS" pitchFamily="34" charset="-128"/>
                </a:rPr>
              </a:br>
              <a:r>
                <a:rPr lang="hu-HU" sz="1000" smtClean="0">
                  <a:ea typeface="Arial Unicode MS" pitchFamily="34" charset="-128"/>
                  <a:cs typeface="Arial Unicode MS" pitchFamily="34" charset="-128"/>
                </a:rPr>
                <a:t>idő alatt</a:t>
              </a:r>
              <a:endParaRPr lang="hu-HU" sz="100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135963" y="2768959"/>
              <a:ext cx="1098703" cy="585171"/>
            </a:xfrm>
            <a:prstGeom prst="rect">
              <a:avLst/>
            </a:prstGeom>
            <a:noFill/>
            <a:ln>
              <a:noFill/>
            </a:ln>
          </p:spPr>
          <p:txBody>
            <a:bodyPr wrap="none" anchor="ctr">
              <a:noAutofit/>
            </a:bodyPr>
            <a:lstStyle/>
            <a:p>
              <a:pPr algn="r">
                <a:lnSpc>
                  <a:spcPct val="90000"/>
                </a:lnSpc>
                <a:defRPr/>
              </a:pPr>
              <a:r>
                <a:rPr lang="hu-HU" sz="3600" cap="all" smtClean="0">
                  <a:solidFill>
                    <a:schemeClr val="accent1">
                      <a:lumMod val="75000"/>
                    </a:schemeClr>
                  </a:solidFill>
                  <a:ea typeface="Arial Unicode MS" pitchFamily="34" charset="-128"/>
                  <a:cs typeface="Arial Unicode MS" pitchFamily="34" charset="-128"/>
                </a:rPr>
                <a:t>53%</a:t>
              </a:r>
              <a:endParaRPr lang="hu-HU" sz="3600" cap="all">
                <a:solidFill>
                  <a:schemeClr val="accent1">
                    <a:lumMod val="75000"/>
                  </a:schemeClr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25963" name="Group 94"/>
          <p:cNvGrpSpPr>
            <a:grpSpLocks/>
          </p:cNvGrpSpPr>
          <p:nvPr/>
        </p:nvGrpSpPr>
        <p:grpSpPr bwMode="auto">
          <a:xfrm>
            <a:off x="174625" y="3916363"/>
            <a:ext cx="2295525" cy="855662"/>
            <a:chOff x="175113" y="3916513"/>
            <a:chExt cx="2294622" cy="855366"/>
          </a:xfrm>
        </p:grpSpPr>
        <p:grpSp>
          <p:nvGrpSpPr>
            <p:cNvPr id="125977" name="Group 92"/>
            <p:cNvGrpSpPr>
              <a:grpSpLocks/>
            </p:cNvGrpSpPr>
            <p:nvPr/>
          </p:nvGrpSpPr>
          <p:grpSpPr bwMode="auto">
            <a:xfrm>
              <a:off x="1289462" y="3916513"/>
              <a:ext cx="1180273" cy="855366"/>
              <a:chOff x="1289462" y="3916513"/>
              <a:chExt cx="1180273" cy="855366"/>
            </a:xfrm>
          </p:grpSpPr>
          <p:sp>
            <p:nvSpPr>
              <p:cNvPr id="60" name="TextBox 59"/>
              <p:cNvSpPr txBox="1"/>
              <p:nvPr/>
            </p:nvSpPr>
            <p:spPr>
              <a:xfrm>
                <a:off x="1401768" y="4406880"/>
                <a:ext cx="1067967" cy="364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0" rIns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hu-HU" sz="1000" smtClean="0">
                    <a:ea typeface="Arial Unicode MS" pitchFamily="34" charset="-128"/>
                    <a:cs typeface="Arial Unicode MS" pitchFamily="34" charset="-128"/>
                  </a:rPr>
                  <a:t>Keresőmotor </a:t>
                </a:r>
                <a:br>
                  <a:rPr lang="hu-HU" sz="1000" smtClean="0">
                    <a:ea typeface="Arial Unicode MS" pitchFamily="34" charset="-128"/>
                    <a:cs typeface="Arial Unicode MS" pitchFamily="34" charset="-128"/>
                  </a:rPr>
                </a:br>
                <a:r>
                  <a:rPr lang="hu-HU" sz="1000" smtClean="0">
                    <a:ea typeface="Arial Unicode MS" pitchFamily="34" charset="-128"/>
                    <a:cs typeface="Arial Unicode MS" pitchFamily="34" charset="-128"/>
                  </a:rPr>
                  <a:t>használata közben</a:t>
                </a:r>
                <a:endParaRPr lang="hu-HU" sz="1000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5984" name="TextBox 60"/>
              <p:cNvSpPr txBox="1">
                <a:spLocks noChangeArrowheads="1"/>
              </p:cNvSpPr>
              <p:nvPr/>
            </p:nvSpPr>
            <p:spPr bwMode="auto">
              <a:xfrm>
                <a:off x="1289462" y="3916513"/>
                <a:ext cx="1097781" cy="5855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anchor="ctr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hu-HU" sz="3600" cap="all">
                    <a:solidFill>
                      <a:schemeClr val="accent1"/>
                    </a:solidFill>
                    <a:ea typeface="Arial Unicode MS" pitchFamily="34" charset="-128"/>
                    <a:cs typeface="Arial Unicode MS" pitchFamily="34" charset="-128"/>
                  </a:rPr>
                  <a:t>21%</a:t>
                </a:r>
              </a:p>
            </p:txBody>
          </p:sp>
        </p:grpSp>
        <p:grpSp>
          <p:nvGrpSpPr>
            <p:cNvPr id="125978" name="Group 80"/>
            <p:cNvGrpSpPr>
              <a:grpSpLocks/>
            </p:cNvGrpSpPr>
            <p:nvPr/>
          </p:nvGrpSpPr>
          <p:grpSpPr bwMode="auto">
            <a:xfrm>
              <a:off x="175113" y="4152900"/>
              <a:ext cx="1029527" cy="361950"/>
              <a:chOff x="114300" y="3992880"/>
              <a:chExt cx="1211580" cy="425954"/>
            </a:xfrm>
          </p:grpSpPr>
          <p:grpSp>
            <p:nvGrpSpPr>
              <p:cNvPr id="125979" name="Group 79"/>
              <p:cNvGrpSpPr>
                <a:grpSpLocks/>
              </p:cNvGrpSpPr>
              <p:nvPr/>
            </p:nvGrpSpPr>
            <p:grpSpPr bwMode="auto">
              <a:xfrm>
                <a:off x="114300" y="3992880"/>
                <a:ext cx="1211580" cy="425954"/>
                <a:chOff x="114300" y="3992880"/>
                <a:chExt cx="1211580" cy="425954"/>
              </a:xfrm>
            </p:grpSpPr>
            <p:sp>
              <p:nvSpPr>
                <p:cNvPr id="125981" name="Rectangle 68"/>
                <p:cNvSpPr>
                  <a:spLocks noChangeArrowheads="1"/>
                </p:cNvSpPr>
                <p:nvPr/>
              </p:nvSpPr>
              <p:spPr bwMode="auto">
                <a:xfrm>
                  <a:off x="114300" y="3992880"/>
                  <a:ext cx="1211580" cy="425954"/>
                </a:xfrm>
                <a:prstGeom prst="rect">
                  <a:avLst/>
                </a:prstGeom>
                <a:solidFill>
                  <a:schemeClr val="tx2"/>
                </a:solidFill>
                <a:ln w="25400" algn="ctr">
                  <a:noFill/>
                  <a:round/>
                  <a:headEnd/>
                  <a:tailEnd/>
                </a:ln>
              </p:spPr>
              <p:txBody>
                <a:bodyPr>
                  <a:noAutofit/>
                </a:bodyPr>
                <a:lstStyle/>
                <a:p>
                  <a:pPr algn="ctr"/>
                  <a:endParaRPr lang="hu-HU" cap="all"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71" name="Rectangle 70"/>
                <p:cNvSpPr/>
                <p:nvPr/>
              </p:nvSpPr>
              <p:spPr bwMode="auto">
                <a:xfrm>
                  <a:off x="168458" y="4039650"/>
                  <a:ext cx="752596" cy="332428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254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>
                  <a:noAutofit/>
                </a:bodyPr>
                <a:lstStyle/>
                <a:p>
                  <a:pPr algn="ctr">
                    <a:defRPr/>
                  </a:pPr>
                  <a:endParaRPr lang="hu-HU" cap="all"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sp>
            <p:nvSpPr>
              <p:cNvPr id="125980" name="Freeform 78"/>
              <p:cNvSpPr>
                <a:spLocks noEditPoints="1"/>
              </p:cNvSpPr>
              <p:nvPr/>
            </p:nvSpPr>
            <p:spPr bwMode="auto">
              <a:xfrm>
                <a:off x="984316" y="4081401"/>
                <a:ext cx="265070" cy="263815"/>
              </a:xfrm>
              <a:custGeom>
                <a:avLst/>
                <a:gdLst>
                  <a:gd name="T0" fmla="*/ 88 w 89"/>
                  <a:gd name="T1" fmla="*/ 84 h 89"/>
                  <a:gd name="T2" fmla="*/ 84 w 89"/>
                  <a:gd name="T3" fmla="*/ 88 h 89"/>
                  <a:gd name="T4" fmla="*/ 80 w 89"/>
                  <a:gd name="T5" fmla="*/ 88 h 89"/>
                  <a:gd name="T6" fmla="*/ 56 w 89"/>
                  <a:gd name="T7" fmla="*/ 64 h 89"/>
                  <a:gd name="T8" fmla="*/ 56 w 89"/>
                  <a:gd name="T9" fmla="*/ 60 h 89"/>
                  <a:gd name="T10" fmla="*/ 60 w 89"/>
                  <a:gd name="T11" fmla="*/ 56 h 89"/>
                  <a:gd name="T12" fmla="*/ 64 w 89"/>
                  <a:gd name="T13" fmla="*/ 56 h 89"/>
                  <a:gd name="T14" fmla="*/ 88 w 89"/>
                  <a:gd name="T15" fmla="*/ 80 h 89"/>
                  <a:gd name="T16" fmla="*/ 88 w 89"/>
                  <a:gd name="T17" fmla="*/ 84 h 89"/>
                  <a:gd name="T18" fmla="*/ 64 w 89"/>
                  <a:gd name="T19" fmla="*/ 32 h 89"/>
                  <a:gd name="T20" fmla="*/ 32 w 89"/>
                  <a:gd name="T21" fmla="*/ 64 h 89"/>
                  <a:gd name="T22" fmla="*/ 0 w 89"/>
                  <a:gd name="T23" fmla="*/ 32 h 89"/>
                  <a:gd name="T24" fmla="*/ 32 w 89"/>
                  <a:gd name="T25" fmla="*/ 0 h 89"/>
                  <a:gd name="T26" fmla="*/ 64 w 89"/>
                  <a:gd name="T27" fmla="*/ 32 h 89"/>
                  <a:gd name="T28" fmla="*/ 56 w 89"/>
                  <a:gd name="T29" fmla="*/ 32 h 89"/>
                  <a:gd name="T30" fmla="*/ 32 w 89"/>
                  <a:gd name="T31" fmla="*/ 8 h 89"/>
                  <a:gd name="T32" fmla="*/ 8 w 89"/>
                  <a:gd name="T33" fmla="*/ 32 h 89"/>
                  <a:gd name="T34" fmla="*/ 32 w 89"/>
                  <a:gd name="T35" fmla="*/ 56 h 89"/>
                  <a:gd name="T36" fmla="*/ 56 w 89"/>
                  <a:gd name="T37" fmla="*/ 32 h 8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9"/>
                  <a:gd name="T58" fmla="*/ 0 h 89"/>
                  <a:gd name="T59" fmla="*/ 89 w 89"/>
                  <a:gd name="T60" fmla="*/ 89 h 89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9" h="89">
                    <a:moveTo>
                      <a:pt x="88" y="84"/>
                    </a:moveTo>
                    <a:cubicBezTo>
                      <a:pt x="84" y="88"/>
                      <a:pt x="84" y="88"/>
                      <a:pt x="84" y="88"/>
                    </a:cubicBezTo>
                    <a:cubicBezTo>
                      <a:pt x="83" y="89"/>
                      <a:pt x="81" y="89"/>
                      <a:pt x="80" y="88"/>
                    </a:cubicBezTo>
                    <a:cubicBezTo>
                      <a:pt x="56" y="64"/>
                      <a:pt x="56" y="64"/>
                      <a:pt x="56" y="64"/>
                    </a:cubicBezTo>
                    <a:cubicBezTo>
                      <a:pt x="55" y="63"/>
                      <a:pt x="55" y="61"/>
                      <a:pt x="56" y="60"/>
                    </a:cubicBezTo>
                    <a:cubicBezTo>
                      <a:pt x="60" y="56"/>
                      <a:pt x="60" y="56"/>
                      <a:pt x="60" y="56"/>
                    </a:cubicBezTo>
                    <a:cubicBezTo>
                      <a:pt x="61" y="55"/>
                      <a:pt x="63" y="55"/>
                      <a:pt x="64" y="56"/>
                    </a:cubicBezTo>
                    <a:cubicBezTo>
                      <a:pt x="88" y="80"/>
                      <a:pt x="88" y="80"/>
                      <a:pt x="88" y="80"/>
                    </a:cubicBezTo>
                    <a:cubicBezTo>
                      <a:pt x="89" y="81"/>
                      <a:pt x="89" y="83"/>
                      <a:pt x="88" y="84"/>
                    </a:cubicBezTo>
                    <a:close/>
                    <a:moveTo>
                      <a:pt x="64" y="32"/>
                    </a:moveTo>
                    <a:cubicBezTo>
                      <a:pt x="64" y="50"/>
                      <a:pt x="50" y="64"/>
                      <a:pt x="32" y="64"/>
                    </a:cubicBezTo>
                    <a:cubicBezTo>
                      <a:pt x="14" y="64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50" y="0"/>
                      <a:pt x="64" y="14"/>
                      <a:pt x="64" y="32"/>
                    </a:cubicBezTo>
                    <a:close/>
                    <a:moveTo>
                      <a:pt x="56" y="32"/>
                    </a:moveTo>
                    <a:cubicBezTo>
                      <a:pt x="56" y="19"/>
                      <a:pt x="45" y="8"/>
                      <a:pt x="32" y="8"/>
                    </a:cubicBezTo>
                    <a:cubicBezTo>
                      <a:pt x="19" y="8"/>
                      <a:pt x="8" y="19"/>
                      <a:pt x="8" y="32"/>
                    </a:cubicBezTo>
                    <a:cubicBezTo>
                      <a:pt x="8" y="45"/>
                      <a:pt x="19" y="56"/>
                      <a:pt x="32" y="56"/>
                    </a:cubicBezTo>
                    <a:cubicBezTo>
                      <a:pt x="45" y="56"/>
                      <a:pt x="56" y="45"/>
                      <a:pt x="56" y="3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hu-HU" cap="all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</p:grpSp>
      <p:grpSp>
        <p:nvGrpSpPr>
          <p:cNvPr id="125964" name="Group 91"/>
          <p:cNvGrpSpPr>
            <a:grpSpLocks/>
          </p:cNvGrpSpPr>
          <p:nvPr/>
        </p:nvGrpSpPr>
        <p:grpSpPr bwMode="auto">
          <a:xfrm>
            <a:off x="0" y="5068888"/>
            <a:ext cx="1235075" cy="855662"/>
            <a:chOff x="0" y="5116663"/>
            <a:chExt cx="1234666" cy="855467"/>
          </a:xfrm>
        </p:grpSpPr>
        <p:sp>
          <p:nvSpPr>
            <p:cNvPr id="62" name="TextBox 61"/>
            <p:cNvSpPr txBox="1"/>
            <p:nvPr/>
          </p:nvSpPr>
          <p:spPr>
            <a:xfrm>
              <a:off x="0" y="5607088"/>
              <a:ext cx="1115643" cy="365042"/>
            </a:xfrm>
            <a:prstGeom prst="rect">
              <a:avLst/>
            </a:prstGeom>
            <a:noFill/>
            <a:ln>
              <a:noFill/>
            </a:ln>
          </p:spPr>
          <p:txBody>
            <a:bodyPr lIns="0" rIns="0" anchor="ctr">
              <a:noAutofit/>
            </a:bodyPr>
            <a:lstStyle/>
            <a:p>
              <a:pPr algn="r">
                <a:lnSpc>
                  <a:spcPct val="90000"/>
                </a:lnSpc>
              </a:pPr>
              <a:r>
                <a:rPr lang="hu-HU" sz="1000" smtClean="0">
                  <a:ea typeface="Arial Unicode MS" pitchFamily="34" charset="-128"/>
                  <a:cs typeface="Arial Unicode MS" pitchFamily="34" charset="-128"/>
                </a:rPr>
                <a:t>Videó </a:t>
              </a:r>
              <a:br>
                <a:rPr lang="hu-HU" sz="1000" smtClean="0">
                  <a:ea typeface="Arial Unicode MS" pitchFamily="34" charset="-128"/>
                  <a:cs typeface="Arial Unicode MS" pitchFamily="34" charset="-128"/>
                </a:rPr>
              </a:br>
              <a:r>
                <a:rPr lang="hu-HU" sz="1000" smtClean="0">
                  <a:ea typeface="Arial Unicode MS" pitchFamily="34" charset="-128"/>
                  <a:cs typeface="Arial Unicode MS" pitchFamily="34" charset="-128"/>
                </a:rPr>
                <a:t>megtekintése </a:t>
              </a:r>
              <a:br>
                <a:rPr lang="hu-HU" sz="1000" smtClean="0">
                  <a:ea typeface="Arial Unicode MS" pitchFamily="34" charset="-128"/>
                  <a:cs typeface="Arial Unicode MS" pitchFamily="34" charset="-128"/>
                </a:rPr>
              </a:br>
              <a:r>
                <a:rPr lang="hu-HU" sz="1000" smtClean="0">
                  <a:ea typeface="Arial Unicode MS" pitchFamily="34" charset="-128"/>
                  <a:cs typeface="Arial Unicode MS" pitchFamily="34" charset="-128"/>
                </a:rPr>
                <a:t>közben</a:t>
              </a:r>
              <a:endParaRPr lang="hu-HU" sz="100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5976" name="TextBox 62"/>
            <p:cNvSpPr txBox="1">
              <a:spLocks noChangeArrowheads="1"/>
            </p:cNvSpPr>
            <p:nvPr/>
          </p:nvSpPr>
          <p:spPr bwMode="auto">
            <a:xfrm>
              <a:off x="136480" y="5116663"/>
              <a:ext cx="1098186" cy="5856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pPr algn="r">
                <a:lnSpc>
                  <a:spcPct val="90000"/>
                </a:lnSpc>
              </a:pPr>
              <a:r>
                <a:rPr lang="hu-HU" sz="3600" cap="all">
                  <a:solidFill>
                    <a:schemeClr val="accent1"/>
                  </a:solidFill>
                  <a:ea typeface="Arial Unicode MS" pitchFamily="34" charset="-128"/>
                  <a:cs typeface="Arial Unicode MS" pitchFamily="34" charset="-128"/>
                </a:rPr>
                <a:t>30%</a:t>
              </a:r>
            </a:p>
          </p:txBody>
        </p:sp>
      </p:grpSp>
      <p:sp>
        <p:nvSpPr>
          <p:cNvPr id="125965" name="Freeform 77"/>
          <p:cNvSpPr>
            <a:spLocks/>
          </p:cNvSpPr>
          <p:nvPr/>
        </p:nvSpPr>
        <p:spPr bwMode="auto">
          <a:xfrm rot="885207">
            <a:off x="2030413" y="3222625"/>
            <a:ext cx="142875" cy="147638"/>
          </a:xfrm>
          <a:custGeom>
            <a:avLst/>
            <a:gdLst>
              <a:gd name="T0" fmla="*/ 0 w 263"/>
              <a:gd name="T1" fmla="*/ 0 h 272"/>
              <a:gd name="T2" fmla="*/ 85 w 263"/>
              <a:gd name="T3" fmla="*/ 231 h 272"/>
              <a:gd name="T4" fmla="*/ 112 w 263"/>
              <a:gd name="T5" fmla="*/ 153 h 272"/>
              <a:gd name="T6" fmla="*/ 231 w 263"/>
              <a:gd name="T7" fmla="*/ 272 h 272"/>
              <a:gd name="T8" fmla="*/ 263 w 263"/>
              <a:gd name="T9" fmla="*/ 236 h 272"/>
              <a:gd name="T10" fmla="*/ 150 w 263"/>
              <a:gd name="T11" fmla="*/ 113 h 272"/>
              <a:gd name="T12" fmla="*/ 222 w 263"/>
              <a:gd name="T13" fmla="*/ 93 h 272"/>
              <a:gd name="T14" fmla="*/ 0 w 263"/>
              <a:gd name="T15" fmla="*/ 0 h 27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63"/>
              <a:gd name="T25" fmla="*/ 0 h 272"/>
              <a:gd name="T26" fmla="*/ 263 w 263"/>
              <a:gd name="T27" fmla="*/ 272 h 27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63" h="272">
                <a:moveTo>
                  <a:pt x="0" y="0"/>
                </a:moveTo>
                <a:lnTo>
                  <a:pt x="85" y="231"/>
                </a:lnTo>
                <a:lnTo>
                  <a:pt x="112" y="153"/>
                </a:lnTo>
                <a:lnTo>
                  <a:pt x="231" y="272"/>
                </a:lnTo>
                <a:lnTo>
                  <a:pt x="263" y="236"/>
                </a:lnTo>
                <a:lnTo>
                  <a:pt x="150" y="113"/>
                </a:lnTo>
                <a:lnTo>
                  <a:pt x="222" y="9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 cap="all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25966" name="Group 54"/>
          <p:cNvGrpSpPr>
            <a:grpSpLocks/>
          </p:cNvGrpSpPr>
          <p:nvPr/>
        </p:nvGrpSpPr>
        <p:grpSpPr bwMode="auto">
          <a:xfrm>
            <a:off x="1403350" y="5284788"/>
            <a:ext cx="647700" cy="606425"/>
            <a:chOff x="-1836738" y="5200650"/>
            <a:chExt cx="1046163" cy="977900"/>
          </a:xfrm>
        </p:grpSpPr>
        <p:sp>
          <p:nvSpPr>
            <p:cNvPr id="125968" name="AutoShape 5"/>
            <p:cNvSpPr>
              <a:spLocks noChangeAspect="1" noChangeArrowheads="1" noTextEdit="1"/>
            </p:cNvSpPr>
            <p:nvPr/>
          </p:nvSpPr>
          <p:spPr bwMode="auto">
            <a:xfrm>
              <a:off x="-1836738" y="5238750"/>
              <a:ext cx="1046163" cy="930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hu-HU" cap="all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5969" name="Freeform 7"/>
            <p:cNvSpPr>
              <a:spLocks/>
            </p:cNvSpPr>
            <p:nvPr/>
          </p:nvSpPr>
          <p:spPr bwMode="auto">
            <a:xfrm>
              <a:off x="-1836738" y="6130925"/>
              <a:ext cx="996950" cy="47625"/>
            </a:xfrm>
            <a:custGeom>
              <a:avLst/>
              <a:gdLst>
                <a:gd name="T0" fmla="*/ 103 w 103"/>
                <a:gd name="T1" fmla="*/ 2 h 5"/>
                <a:gd name="T2" fmla="*/ 100 w 103"/>
                <a:gd name="T3" fmla="*/ 5 h 5"/>
                <a:gd name="T4" fmla="*/ 3 w 103"/>
                <a:gd name="T5" fmla="*/ 5 h 5"/>
                <a:gd name="T6" fmla="*/ 0 w 103"/>
                <a:gd name="T7" fmla="*/ 2 h 5"/>
                <a:gd name="T8" fmla="*/ 0 w 103"/>
                <a:gd name="T9" fmla="*/ 2 h 5"/>
                <a:gd name="T10" fmla="*/ 3 w 103"/>
                <a:gd name="T11" fmla="*/ 0 h 5"/>
                <a:gd name="T12" fmla="*/ 100 w 103"/>
                <a:gd name="T13" fmla="*/ 0 h 5"/>
                <a:gd name="T14" fmla="*/ 103 w 103"/>
                <a:gd name="T15" fmla="*/ 2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3"/>
                <a:gd name="T25" fmla="*/ 0 h 5"/>
                <a:gd name="T26" fmla="*/ 103 w 103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3" h="5">
                  <a:moveTo>
                    <a:pt x="103" y="2"/>
                  </a:moveTo>
                  <a:cubicBezTo>
                    <a:pt x="103" y="4"/>
                    <a:pt x="102" y="5"/>
                    <a:pt x="100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2" y="0"/>
                    <a:pt x="103" y="1"/>
                    <a:pt x="103" y="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 cap="all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5970" name="Freeform 8"/>
            <p:cNvSpPr>
              <a:spLocks/>
            </p:cNvSpPr>
            <p:nvPr/>
          </p:nvSpPr>
          <p:spPr bwMode="auto">
            <a:xfrm>
              <a:off x="-887413" y="5646738"/>
              <a:ext cx="96838" cy="368300"/>
            </a:xfrm>
            <a:custGeom>
              <a:avLst/>
              <a:gdLst>
                <a:gd name="T0" fmla="*/ 0 w 61"/>
                <a:gd name="T1" fmla="*/ 189 h 232"/>
                <a:gd name="T2" fmla="*/ 61 w 61"/>
                <a:gd name="T3" fmla="*/ 232 h 232"/>
                <a:gd name="T4" fmla="*/ 61 w 61"/>
                <a:gd name="T5" fmla="*/ 0 h 232"/>
                <a:gd name="T6" fmla="*/ 0 w 61"/>
                <a:gd name="T7" fmla="*/ 42 h 232"/>
                <a:gd name="T8" fmla="*/ 0 w 61"/>
                <a:gd name="T9" fmla="*/ 189 h 2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1"/>
                <a:gd name="T16" fmla="*/ 0 h 232"/>
                <a:gd name="T17" fmla="*/ 61 w 61"/>
                <a:gd name="T18" fmla="*/ 232 h 2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1" h="232">
                  <a:moveTo>
                    <a:pt x="0" y="189"/>
                  </a:moveTo>
                  <a:lnTo>
                    <a:pt x="61" y="232"/>
                  </a:lnTo>
                  <a:lnTo>
                    <a:pt x="61" y="0"/>
                  </a:lnTo>
                  <a:lnTo>
                    <a:pt x="0" y="42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 cap="all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5971" name="Freeform 9"/>
            <p:cNvSpPr>
              <a:spLocks noEditPoints="1"/>
            </p:cNvSpPr>
            <p:nvPr/>
          </p:nvSpPr>
          <p:spPr bwMode="auto">
            <a:xfrm>
              <a:off x="-1808163" y="5200650"/>
              <a:ext cx="989013" cy="920750"/>
            </a:xfrm>
            <a:custGeom>
              <a:avLst/>
              <a:gdLst>
                <a:gd name="T0" fmla="*/ 51 w 102"/>
                <a:gd name="T1" fmla="*/ 34 h 95"/>
                <a:gd name="T2" fmla="*/ 48 w 102"/>
                <a:gd name="T3" fmla="*/ 34 h 95"/>
                <a:gd name="T4" fmla="*/ 27 w 102"/>
                <a:gd name="T5" fmla="*/ 53 h 95"/>
                <a:gd name="T6" fmla="*/ 5 w 102"/>
                <a:gd name="T7" fmla="*/ 34 h 95"/>
                <a:gd name="T8" fmla="*/ 0 w 102"/>
                <a:gd name="T9" fmla="*/ 42 h 95"/>
                <a:gd name="T10" fmla="*/ 0 w 102"/>
                <a:gd name="T11" fmla="*/ 86 h 95"/>
                <a:gd name="T12" fmla="*/ 9 w 102"/>
                <a:gd name="T13" fmla="*/ 95 h 95"/>
                <a:gd name="T14" fmla="*/ 85 w 102"/>
                <a:gd name="T15" fmla="*/ 95 h 95"/>
                <a:gd name="T16" fmla="*/ 94 w 102"/>
                <a:gd name="T17" fmla="*/ 86 h 95"/>
                <a:gd name="T18" fmla="*/ 94 w 102"/>
                <a:gd name="T19" fmla="*/ 45 h 95"/>
                <a:gd name="T20" fmla="*/ 76 w 102"/>
                <a:gd name="T21" fmla="*/ 52 h 95"/>
                <a:gd name="T22" fmla="*/ 51 w 102"/>
                <a:gd name="T23" fmla="*/ 34 h 95"/>
                <a:gd name="T24" fmla="*/ 93 w 102"/>
                <a:gd name="T25" fmla="*/ 44 h 95"/>
                <a:gd name="T26" fmla="*/ 93 w 102"/>
                <a:gd name="T27" fmla="*/ 10 h 95"/>
                <a:gd name="T28" fmla="*/ 58 w 102"/>
                <a:gd name="T29" fmla="*/ 10 h 95"/>
                <a:gd name="T30" fmla="*/ 58 w 102"/>
                <a:gd name="T31" fmla="*/ 44 h 95"/>
                <a:gd name="T32" fmla="*/ 93 w 102"/>
                <a:gd name="T33" fmla="*/ 44 h 95"/>
                <a:gd name="T34" fmla="*/ 81 w 102"/>
                <a:gd name="T35" fmla="*/ 44 h 95"/>
                <a:gd name="T36" fmla="*/ 70 w 102"/>
                <a:gd name="T37" fmla="*/ 44 h 95"/>
                <a:gd name="T38" fmla="*/ 70 w 102"/>
                <a:gd name="T39" fmla="*/ 34 h 95"/>
                <a:gd name="T40" fmla="*/ 81 w 102"/>
                <a:gd name="T41" fmla="*/ 34 h 95"/>
                <a:gd name="T42" fmla="*/ 81 w 102"/>
                <a:gd name="T43" fmla="*/ 44 h 95"/>
                <a:gd name="T44" fmla="*/ 74 w 102"/>
                <a:gd name="T45" fmla="*/ 25 h 95"/>
                <a:gd name="T46" fmla="*/ 77 w 102"/>
                <a:gd name="T47" fmla="*/ 25 h 95"/>
                <a:gd name="T48" fmla="*/ 77 w 102"/>
                <a:gd name="T49" fmla="*/ 29 h 95"/>
                <a:gd name="T50" fmla="*/ 74 w 102"/>
                <a:gd name="T51" fmla="*/ 29 h 95"/>
                <a:gd name="T52" fmla="*/ 74 w 102"/>
                <a:gd name="T53" fmla="*/ 25 h 95"/>
                <a:gd name="T54" fmla="*/ 93 w 102"/>
                <a:gd name="T55" fmla="*/ 22 h 95"/>
                <a:gd name="T56" fmla="*/ 93 w 102"/>
                <a:gd name="T57" fmla="*/ 32 h 95"/>
                <a:gd name="T58" fmla="*/ 82 w 102"/>
                <a:gd name="T59" fmla="*/ 32 h 95"/>
                <a:gd name="T60" fmla="*/ 82 w 102"/>
                <a:gd name="T61" fmla="*/ 22 h 95"/>
                <a:gd name="T62" fmla="*/ 93 w 102"/>
                <a:gd name="T63" fmla="*/ 22 h 95"/>
                <a:gd name="T64" fmla="*/ 70 w 102"/>
                <a:gd name="T65" fmla="*/ 10 h 95"/>
                <a:gd name="T66" fmla="*/ 81 w 102"/>
                <a:gd name="T67" fmla="*/ 10 h 95"/>
                <a:gd name="T68" fmla="*/ 81 w 102"/>
                <a:gd name="T69" fmla="*/ 20 h 95"/>
                <a:gd name="T70" fmla="*/ 70 w 102"/>
                <a:gd name="T71" fmla="*/ 20 h 95"/>
                <a:gd name="T72" fmla="*/ 70 w 102"/>
                <a:gd name="T73" fmla="*/ 10 h 95"/>
                <a:gd name="T74" fmla="*/ 58 w 102"/>
                <a:gd name="T75" fmla="*/ 22 h 95"/>
                <a:gd name="T76" fmla="*/ 69 w 102"/>
                <a:gd name="T77" fmla="*/ 22 h 95"/>
                <a:gd name="T78" fmla="*/ 69 w 102"/>
                <a:gd name="T79" fmla="*/ 32 h 95"/>
                <a:gd name="T80" fmla="*/ 58 w 102"/>
                <a:gd name="T81" fmla="*/ 32 h 95"/>
                <a:gd name="T82" fmla="*/ 58 w 102"/>
                <a:gd name="T83" fmla="*/ 22 h 9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02"/>
                <a:gd name="T127" fmla="*/ 0 h 95"/>
                <a:gd name="T128" fmla="*/ 102 w 102"/>
                <a:gd name="T129" fmla="*/ 95 h 9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02" h="95">
                  <a:moveTo>
                    <a:pt x="51" y="34"/>
                  </a:moveTo>
                  <a:cubicBezTo>
                    <a:pt x="48" y="34"/>
                    <a:pt x="48" y="34"/>
                    <a:pt x="48" y="34"/>
                  </a:cubicBezTo>
                  <a:cubicBezTo>
                    <a:pt x="47" y="44"/>
                    <a:pt x="38" y="53"/>
                    <a:pt x="27" y="53"/>
                  </a:cubicBezTo>
                  <a:cubicBezTo>
                    <a:pt x="16" y="53"/>
                    <a:pt x="7" y="45"/>
                    <a:pt x="5" y="34"/>
                  </a:cubicBezTo>
                  <a:cubicBezTo>
                    <a:pt x="2" y="36"/>
                    <a:pt x="0" y="39"/>
                    <a:pt x="0" y="42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91"/>
                    <a:pt x="4" y="95"/>
                    <a:pt x="9" y="95"/>
                  </a:cubicBezTo>
                  <a:cubicBezTo>
                    <a:pt x="85" y="95"/>
                    <a:pt x="85" y="95"/>
                    <a:pt x="85" y="95"/>
                  </a:cubicBezTo>
                  <a:cubicBezTo>
                    <a:pt x="90" y="95"/>
                    <a:pt x="94" y="91"/>
                    <a:pt x="94" y="86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89" y="50"/>
                    <a:pt x="83" y="52"/>
                    <a:pt x="76" y="52"/>
                  </a:cubicBezTo>
                  <a:cubicBezTo>
                    <a:pt x="64" y="52"/>
                    <a:pt x="54" y="44"/>
                    <a:pt x="51" y="34"/>
                  </a:cubicBezTo>
                  <a:close/>
                  <a:moveTo>
                    <a:pt x="93" y="44"/>
                  </a:moveTo>
                  <a:cubicBezTo>
                    <a:pt x="102" y="35"/>
                    <a:pt x="102" y="19"/>
                    <a:pt x="93" y="10"/>
                  </a:cubicBezTo>
                  <a:cubicBezTo>
                    <a:pt x="83" y="0"/>
                    <a:pt x="68" y="0"/>
                    <a:pt x="58" y="10"/>
                  </a:cubicBezTo>
                  <a:cubicBezTo>
                    <a:pt x="49" y="19"/>
                    <a:pt x="49" y="35"/>
                    <a:pt x="58" y="44"/>
                  </a:cubicBezTo>
                  <a:cubicBezTo>
                    <a:pt x="68" y="54"/>
                    <a:pt x="83" y="54"/>
                    <a:pt x="93" y="44"/>
                  </a:cubicBezTo>
                  <a:close/>
                  <a:moveTo>
                    <a:pt x="81" y="44"/>
                  </a:moveTo>
                  <a:cubicBezTo>
                    <a:pt x="78" y="47"/>
                    <a:pt x="73" y="47"/>
                    <a:pt x="70" y="44"/>
                  </a:cubicBezTo>
                  <a:cubicBezTo>
                    <a:pt x="67" y="41"/>
                    <a:pt x="67" y="37"/>
                    <a:pt x="70" y="34"/>
                  </a:cubicBezTo>
                  <a:cubicBezTo>
                    <a:pt x="73" y="31"/>
                    <a:pt x="78" y="31"/>
                    <a:pt x="81" y="34"/>
                  </a:cubicBezTo>
                  <a:cubicBezTo>
                    <a:pt x="84" y="37"/>
                    <a:pt x="84" y="41"/>
                    <a:pt x="81" y="44"/>
                  </a:cubicBezTo>
                  <a:close/>
                  <a:moveTo>
                    <a:pt x="74" y="25"/>
                  </a:moveTo>
                  <a:cubicBezTo>
                    <a:pt x="75" y="24"/>
                    <a:pt x="76" y="24"/>
                    <a:pt x="77" y="25"/>
                  </a:cubicBezTo>
                  <a:cubicBezTo>
                    <a:pt x="78" y="26"/>
                    <a:pt x="78" y="28"/>
                    <a:pt x="77" y="29"/>
                  </a:cubicBezTo>
                  <a:cubicBezTo>
                    <a:pt x="76" y="30"/>
                    <a:pt x="75" y="30"/>
                    <a:pt x="74" y="29"/>
                  </a:cubicBezTo>
                  <a:cubicBezTo>
                    <a:pt x="73" y="28"/>
                    <a:pt x="73" y="26"/>
                    <a:pt x="74" y="25"/>
                  </a:cubicBezTo>
                  <a:close/>
                  <a:moveTo>
                    <a:pt x="93" y="22"/>
                  </a:moveTo>
                  <a:cubicBezTo>
                    <a:pt x="96" y="25"/>
                    <a:pt x="96" y="29"/>
                    <a:pt x="93" y="32"/>
                  </a:cubicBezTo>
                  <a:cubicBezTo>
                    <a:pt x="90" y="35"/>
                    <a:pt x="85" y="35"/>
                    <a:pt x="82" y="32"/>
                  </a:cubicBezTo>
                  <a:cubicBezTo>
                    <a:pt x="79" y="29"/>
                    <a:pt x="79" y="25"/>
                    <a:pt x="82" y="22"/>
                  </a:cubicBezTo>
                  <a:cubicBezTo>
                    <a:pt x="85" y="19"/>
                    <a:pt x="90" y="19"/>
                    <a:pt x="93" y="22"/>
                  </a:cubicBezTo>
                  <a:close/>
                  <a:moveTo>
                    <a:pt x="70" y="10"/>
                  </a:moveTo>
                  <a:cubicBezTo>
                    <a:pt x="73" y="7"/>
                    <a:pt x="78" y="7"/>
                    <a:pt x="81" y="10"/>
                  </a:cubicBezTo>
                  <a:cubicBezTo>
                    <a:pt x="84" y="13"/>
                    <a:pt x="84" y="17"/>
                    <a:pt x="81" y="20"/>
                  </a:cubicBezTo>
                  <a:cubicBezTo>
                    <a:pt x="78" y="23"/>
                    <a:pt x="73" y="23"/>
                    <a:pt x="70" y="20"/>
                  </a:cubicBezTo>
                  <a:cubicBezTo>
                    <a:pt x="67" y="17"/>
                    <a:pt x="67" y="13"/>
                    <a:pt x="70" y="10"/>
                  </a:cubicBezTo>
                  <a:close/>
                  <a:moveTo>
                    <a:pt x="58" y="22"/>
                  </a:moveTo>
                  <a:cubicBezTo>
                    <a:pt x="61" y="19"/>
                    <a:pt x="66" y="19"/>
                    <a:pt x="69" y="22"/>
                  </a:cubicBezTo>
                  <a:cubicBezTo>
                    <a:pt x="72" y="25"/>
                    <a:pt x="72" y="29"/>
                    <a:pt x="69" y="32"/>
                  </a:cubicBezTo>
                  <a:cubicBezTo>
                    <a:pt x="66" y="35"/>
                    <a:pt x="61" y="35"/>
                    <a:pt x="58" y="32"/>
                  </a:cubicBezTo>
                  <a:cubicBezTo>
                    <a:pt x="55" y="29"/>
                    <a:pt x="55" y="25"/>
                    <a:pt x="58" y="2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 cap="all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5972" name="Freeform 10"/>
            <p:cNvSpPr>
              <a:spLocks noEditPoints="1"/>
            </p:cNvSpPr>
            <p:nvPr/>
          </p:nvSpPr>
          <p:spPr bwMode="auto">
            <a:xfrm>
              <a:off x="-1749425" y="5297488"/>
              <a:ext cx="396875" cy="396875"/>
            </a:xfrm>
            <a:custGeom>
              <a:avLst/>
              <a:gdLst>
                <a:gd name="T0" fmla="*/ 21 w 41"/>
                <a:gd name="T1" fmla="*/ 0 h 41"/>
                <a:gd name="T2" fmla="*/ 0 w 41"/>
                <a:gd name="T3" fmla="*/ 21 h 41"/>
                <a:gd name="T4" fmla="*/ 21 w 41"/>
                <a:gd name="T5" fmla="*/ 41 h 41"/>
                <a:gd name="T6" fmla="*/ 41 w 41"/>
                <a:gd name="T7" fmla="*/ 21 h 41"/>
                <a:gd name="T8" fmla="*/ 21 w 41"/>
                <a:gd name="T9" fmla="*/ 0 h 41"/>
                <a:gd name="T10" fmla="*/ 14 w 41"/>
                <a:gd name="T11" fmla="*/ 7 h 41"/>
                <a:gd name="T12" fmla="*/ 20 w 41"/>
                <a:gd name="T13" fmla="*/ 14 h 41"/>
                <a:gd name="T14" fmla="*/ 14 w 41"/>
                <a:gd name="T15" fmla="*/ 20 h 41"/>
                <a:gd name="T16" fmla="*/ 7 w 41"/>
                <a:gd name="T17" fmla="*/ 14 h 41"/>
                <a:gd name="T18" fmla="*/ 14 w 41"/>
                <a:gd name="T19" fmla="*/ 7 h 41"/>
                <a:gd name="T20" fmla="*/ 14 w 41"/>
                <a:gd name="T21" fmla="*/ 34 h 41"/>
                <a:gd name="T22" fmla="*/ 7 w 41"/>
                <a:gd name="T23" fmla="*/ 28 h 41"/>
                <a:gd name="T24" fmla="*/ 14 w 41"/>
                <a:gd name="T25" fmla="*/ 21 h 41"/>
                <a:gd name="T26" fmla="*/ 20 w 41"/>
                <a:gd name="T27" fmla="*/ 28 h 41"/>
                <a:gd name="T28" fmla="*/ 14 w 41"/>
                <a:gd name="T29" fmla="*/ 34 h 41"/>
                <a:gd name="T30" fmla="*/ 19 w 41"/>
                <a:gd name="T31" fmla="*/ 21 h 41"/>
                <a:gd name="T32" fmla="*/ 21 w 41"/>
                <a:gd name="T33" fmla="*/ 19 h 41"/>
                <a:gd name="T34" fmla="*/ 23 w 41"/>
                <a:gd name="T35" fmla="*/ 21 h 41"/>
                <a:gd name="T36" fmla="*/ 21 w 41"/>
                <a:gd name="T37" fmla="*/ 23 h 41"/>
                <a:gd name="T38" fmla="*/ 19 w 41"/>
                <a:gd name="T39" fmla="*/ 21 h 41"/>
                <a:gd name="T40" fmla="*/ 28 w 41"/>
                <a:gd name="T41" fmla="*/ 34 h 41"/>
                <a:gd name="T42" fmla="*/ 22 w 41"/>
                <a:gd name="T43" fmla="*/ 28 h 41"/>
                <a:gd name="T44" fmla="*/ 28 w 41"/>
                <a:gd name="T45" fmla="*/ 21 h 41"/>
                <a:gd name="T46" fmla="*/ 34 w 41"/>
                <a:gd name="T47" fmla="*/ 28 h 41"/>
                <a:gd name="T48" fmla="*/ 28 w 41"/>
                <a:gd name="T49" fmla="*/ 34 h 41"/>
                <a:gd name="T50" fmla="*/ 28 w 41"/>
                <a:gd name="T51" fmla="*/ 20 h 41"/>
                <a:gd name="T52" fmla="*/ 22 w 41"/>
                <a:gd name="T53" fmla="*/ 14 h 41"/>
                <a:gd name="T54" fmla="*/ 28 w 41"/>
                <a:gd name="T55" fmla="*/ 7 h 41"/>
                <a:gd name="T56" fmla="*/ 34 w 41"/>
                <a:gd name="T57" fmla="*/ 14 h 41"/>
                <a:gd name="T58" fmla="*/ 28 w 41"/>
                <a:gd name="T59" fmla="*/ 20 h 4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1"/>
                <a:gd name="T91" fmla="*/ 0 h 41"/>
                <a:gd name="T92" fmla="*/ 41 w 41"/>
                <a:gd name="T93" fmla="*/ 41 h 4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1" h="41">
                  <a:moveTo>
                    <a:pt x="21" y="0"/>
                  </a:moveTo>
                  <a:cubicBezTo>
                    <a:pt x="10" y="0"/>
                    <a:pt x="0" y="10"/>
                    <a:pt x="0" y="21"/>
                  </a:cubicBezTo>
                  <a:cubicBezTo>
                    <a:pt x="0" y="32"/>
                    <a:pt x="10" y="41"/>
                    <a:pt x="21" y="41"/>
                  </a:cubicBezTo>
                  <a:cubicBezTo>
                    <a:pt x="32" y="41"/>
                    <a:pt x="41" y="32"/>
                    <a:pt x="41" y="21"/>
                  </a:cubicBezTo>
                  <a:cubicBezTo>
                    <a:pt x="41" y="10"/>
                    <a:pt x="32" y="0"/>
                    <a:pt x="21" y="0"/>
                  </a:cubicBezTo>
                  <a:close/>
                  <a:moveTo>
                    <a:pt x="14" y="7"/>
                  </a:moveTo>
                  <a:cubicBezTo>
                    <a:pt x="17" y="7"/>
                    <a:pt x="20" y="10"/>
                    <a:pt x="20" y="14"/>
                  </a:cubicBezTo>
                  <a:cubicBezTo>
                    <a:pt x="20" y="17"/>
                    <a:pt x="17" y="20"/>
                    <a:pt x="14" y="20"/>
                  </a:cubicBezTo>
                  <a:cubicBezTo>
                    <a:pt x="10" y="20"/>
                    <a:pt x="7" y="17"/>
                    <a:pt x="7" y="14"/>
                  </a:cubicBezTo>
                  <a:cubicBezTo>
                    <a:pt x="7" y="10"/>
                    <a:pt x="10" y="7"/>
                    <a:pt x="14" y="7"/>
                  </a:cubicBezTo>
                  <a:close/>
                  <a:moveTo>
                    <a:pt x="14" y="34"/>
                  </a:moveTo>
                  <a:cubicBezTo>
                    <a:pt x="10" y="34"/>
                    <a:pt x="7" y="31"/>
                    <a:pt x="7" y="28"/>
                  </a:cubicBezTo>
                  <a:cubicBezTo>
                    <a:pt x="7" y="24"/>
                    <a:pt x="10" y="21"/>
                    <a:pt x="14" y="21"/>
                  </a:cubicBezTo>
                  <a:cubicBezTo>
                    <a:pt x="17" y="21"/>
                    <a:pt x="20" y="24"/>
                    <a:pt x="20" y="28"/>
                  </a:cubicBezTo>
                  <a:cubicBezTo>
                    <a:pt x="20" y="31"/>
                    <a:pt x="17" y="34"/>
                    <a:pt x="14" y="34"/>
                  </a:cubicBezTo>
                  <a:close/>
                  <a:moveTo>
                    <a:pt x="19" y="21"/>
                  </a:moveTo>
                  <a:cubicBezTo>
                    <a:pt x="19" y="20"/>
                    <a:pt x="20" y="19"/>
                    <a:pt x="21" y="19"/>
                  </a:cubicBezTo>
                  <a:cubicBezTo>
                    <a:pt x="22" y="19"/>
                    <a:pt x="23" y="20"/>
                    <a:pt x="23" y="21"/>
                  </a:cubicBezTo>
                  <a:cubicBezTo>
                    <a:pt x="23" y="22"/>
                    <a:pt x="22" y="23"/>
                    <a:pt x="21" y="23"/>
                  </a:cubicBezTo>
                  <a:cubicBezTo>
                    <a:pt x="20" y="23"/>
                    <a:pt x="19" y="22"/>
                    <a:pt x="19" y="21"/>
                  </a:cubicBezTo>
                  <a:close/>
                  <a:moveTo>
                    <a:pt x="28" y="34"/>
                  </a:moveTo>
                  <a:cubicBezTo>
                    <a:pt x="24" y="34"/>
                    <a:pt x="22" y="31"/>
                    <a:pt x="22" y="28"/>
                  </a:cubicBezTo>
                  <a:cubicBezTo>
                    <a:pt x="22" y="24"/>
                    <a:pt x="24" y="21"/>
                    <a:pt x="28" y="21"/>
                  </a:cubicBezTo>
                  <a:cubicBezTo>
                    <a:pt x="31" y="21"/>
                    <a:pt x="34" y="24"/>
                    <a:pt x="34" y="28"/>
                  </a:cubicBezTo>
                  <a:cubicBezTo>
                    <a:pt x="34" y="31"/>
                    <a:pt x="31" y="34"/>
                    <a:pt x="28" y="34"/>
                  </a:cubicBezTo>
                  <a:close/>
                  <a:moveTo>
                    <a:pt x="28" y="20"/>
                  </a:moveTo>
                  <a:cubicBezTo>
                    <a:pt x="24" y="20"/>
                    <a:pt x="22" y="17"/>
                    <a:pt x="22" y="14"/>
                  </a:cubicBezTo>
                  <a:cubicBezTo>
                    <a:pt x="22" y="10"/>
                    <a:pt x="24" y="7"/>
                    <a:pt x="28" y="7"/>
                  </a:cubicBezTo>
                  <a:cubicBezTo>
                    <a:pt x="31" y="7"/>
                    <a:pt x="34" y="10"/>
                    <a:pt x="34" y="14"/>
                  </a:cubicBezTo>
                  <a:cubicBezTo>
                    <a:pt x="34" y="17"/>
                    <a:pt x="31" y="20"/>
                    <a:pt x="28" y="2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 cap="all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5973" name="Freeform 11"/>
            <p:cNvSpPr>
              <a:spLocks/>
            </p:cNvSpPr>
            <p:nvPr/>
          </p:nvSpPr>
          <p:spPr bwMode="auto">
            <a:xfrm>
              <a:off x="-1681163" y="5791200"/>
              <a:ext cx="638175" cy="49213"/>
            </a:xfrm>
            <a:custGeom>
              <a:avLst/>
              <a:gdLst>
                <a:gd name="T0" fmla="*/ 66 w 66"/>
                <a:gd name="T1" fmla="*/ 2 h 5"/>
                <a:gd name="T2" fmla="*/ 63 w 66"/>
                <a:gd name="T3" fmla="*/ 5 h 5"/>
                <a:gd name="T4" fmla="*/ 2 w 66"/>
                <a:gd name="T5" fmla="*/ 5 h 5"/>
                <a:gd name="T6" fmla="*/ 0 w 66"/>
                <a:gd name="T7" fmla="*/ 2 h 5"/>
                <a:gd name="T8" fmla="*/ 0 w 66"/>
                <a:gd name="T9" fmla="*/ 2 h 5"/>
                <a:gd name="T10" fmla="*/ 2 w 66"/>
                <a:gd name="T11" fmla="*/ 0 h 5"/>
                <a:gd name="T12" fmla="*/ 63 w 66"/>
                <a:gd name="T13" fmla="*/ 0 h 5"/>
                <a:gd name="T14" fmla="*/ 66 w 66"/>
                <a:gd name="T15" fmla="*/ 2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6"/>
                <a:gd name="T25" fmla="*/ 0 h 5"/>
                <a:gd name="T26" fmla="*/ 66 w 66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6" h="5">
                  <a:moveTo>
                    <a:pt x="66" y="2"/>
                  </a:moveTo>
                  <a:cubicBezTo>
                    <a:pt x="66" y="4"/>
                    <a:pt x="65" y="5"/>
                    <a:pt x="6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6" y="1"/>
                    <a:pt x="66" y="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 cap="all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5974" name="Freeform 12"/>
            <p:cNvSpPr>
              <a:spLocks/>
            </p:cNvSpPr>
            <p:nvPr/>
          </p:nvSpPr>
          <p:spPr bwMode="auto">
            <a:xfrm>
              <a:off x="-1681163" y="5888038"/>
              <a:ext cx="638175" cy="58738"/>
            </a:xfrm>
            <a:custGeom>
              <a:avLst/>
              <a:gdLst>
                <a:gd name="T0" fmla="*/ 66 w 66"/>
                <a:gd name="T1" fmla="*/ 3 h 6"/>
                <a:gd name="T2" fmla="*/ 63 w 66"/>
                <a:gd name="T3" fmla="*/ 6 h 6"/>
                <a:gd name="T4" fmla="*/ 2 w 66"/>
                <a:gd name="T5" fmla="*/ 6 h 6"/>
                <a:gd name="T6" fmla="*/ 0 w 66"/>
                <a:gd name="T7" fmla="*/ 3 h 6"/>
                <a:gd name="T8" fmla="*/ 0 w 66"/>
                <a:gd name="T9" fmla="*/ 3 h 6"/>
                <a:gd name="T10" fmla="*/ 2 w 66"/>
                <a:gd name="T11" fmla="*/ 0 h 6"/>
                <a:gd name="T12" fmla="*/ 63 w 66"/>
                <a:gd name="T13" fmla="*/ 0 h 6"/>
                <a:gd name="T14" fmla="*/ 66 w 66"/>
                <a:gd name="T15" fmla="*/ 3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6"/>
                <a:gd name="T25" fmla="*/ 0 h 6"/>
                <a:gd name="T26" fmla="*/ 66 w 66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6" h="6">
                  <a:moveTo>
                    <a:pt x="66" y="3"/>
                  </a:moveTo>
                  <a:cubicBezTo>
                    <a:pt x="66" y="5"/>
                    <a:pt x="65" y="6"/>
                    <a:pt x="63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5" y="0"/>
                    <a:pt x="66" y="2"/>
                    <a:pt x="66" y="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 cap="all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47" name="Content Placeholder 6"/>
          <p:cNvSpPr txBox="1">
            <a:spLocks/>
          </p:cNvSpPr>
          <p:nvPr/>
        </p:nvSpPr>
        <p:spPr bwMode="auto">
          <a:xfrm>
            <a:off x="3069811" y="1343025"/>
            <a:ext cx="5405438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noAutofit/>
          </a:bodyPr>
          <a:lstStyle/>
          <a:p>
            <a:pPr algn="ctr">
              <a:lnSpc>
                <a:spcPct val="95000"/>
              </a:lnSpc>
              <a:spcBef>
                <a:spcPct val="100000"/>
              </a:spcBef>
              <a:spcAft>
                <a:spcPct val="5000"/>
              </a:spcAft>
              <a:defRPr/>
            </a:pPr>
            <a:r>
              <a:rPr lang="hu-HU" sz="1800" kern="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Hol veszik észre a mobilhirdetéseket</a:t>
            </a:r>
            <a:endParaRPr lang="hu-HU" sz="1800" kern="0">
              <a:solidFill>
                <a:schemeClr val="bg2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49" name="Chart 4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6861388"/>
              </p:ext>
            </p:extLst>
          </p:nvPr>
        </p:nvGraphicFramePr>
        <p:xfrm>
          <a:off x="3314700" y="1580138"/>
          <a:ext cx="5829299" cy="4496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001" name="Picture 2" descr="Z:\GGL\22944_smartphone_country_report_dai\Source\JPG\DIVIDERS\R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8002" name="Subtitle 1"/>
          <p:cNvSpPr>
            <a:spLocks noGrp="1"/>
          </p:cNvSpPr>
          <p:nvPr>
            <p:ph type="subTitle" idx="1"/>
          </p:nvPr>
        </p:nvSpPr>
        <p:spPr>
          <a:xfrm>
            <a:off x="565150" y="3954463"/>
            <a:ext cx="3494088" cy="352425"/>
          </a:xfrm>
          <a:ln/>
        </p:spPr>
        <p:txBody>
          <a:bodyPr>
            <a:noAutofit/>
          </a:bodyPr>
          <a:lstStyle/>
          <a:p>
            <a:pPr marL="0" indent="0"/>
            <a:r>
              <a:rPr lang="hu-HU" smtClean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565150" y="3371963"/>
            <a:ext cx="3943350" cy="860425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hu-HU" dirty="0" smtClean="0">
                <a:solidFill>
                  <a:schemeClr val="bg2">
                    <a:lumMod val="50000"/>
                  </a:schemeClr>
                </a:solidFill>
              </a:rPr>
              <a:t>Köszönöm a figyelmet</a:t>
            </a:r>
            <a:endParaRPr lang="hu-HU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8004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845C3135-CB48-48B6-91D2-CA909CAC7DA4}" type="slidenum">
              <a:rPr lang="hu-HU"/>
              <a:pPr/>
              <a:t>25</a:t>
            </a:fld>
            <a:endParaRPr lang="hu-HU"/>
          </a:p>
        </p:txBody>
      </p:sp>
      <p:sp>
        <p:nvSpPr>
          <p:cNvPr id="128005" name="Rectangle 17"/>
          <p:cNvSpPr>
            <a:spLocks noChangeArrowheads="1"/>
          </p:cNvSpPr>
          <p:nvPr/>
        </p:nvSpPr>
        <p:spPr bwMode="auto">
          <a:xfrm>
            <a:off x="212725" y="5726113"/>
            <a:ext cx="2914650" cy="99377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8006" name="Rectangle 18"/>
          <p:cNvSpPr>
            <a:spLocks noChangeArrowheads="1"/>
          </p:cNvSpPr>
          <p:nvPr/>
        </p:nvSpPr>
        <p:spPr bwMode="auto">
          <a:xfrm>
            <a:off x="23813" y="647700"/>
            <a:ext cx="2914650" cy="9953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 Box 54"/>
          <p:cNvSpPr txBox="1">
            <a:spLocks noChangeArrowheads="1"/>
          </p:cNvSpPr>
          <p:nvPr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no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hu-HU" sz="800" baseline="0" noProof="0" dirty="0" smtClean="0">
                <a:solidFill>
                  <a:srgbClr val="7D7D7D"/>
                </a:solidFill>
                <a:ea typeface="Arial Unicode MS" pitchFamily="34" charset="-128"/>
                <a:cs typeface="Arial Unicode MS" pitchFamily="34" charset="-128"/>
              </a:rPr>
              <a:t>A Google bizalmas és saját tulajdonú információi</a:t>
            </a:r>
            <a:endParaRPr lang="hu-HU" sz="800" baseline="0" noProof="0" dirty="0">
              <a:solidFill>
                <a:srgbClr val="7D7D7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075801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001" name="Picture 2" descr="Z:\GGL\22944_smartphone_country_report_dai\Source\JPG\DIVIDERS\R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8002" name="Subtitle 1"/>
          <p:cNvSpPr>
            <a:spLocks noGrp="1"/>
          </p:cNvSpPr>
          <p:nvPr>
            <p:ph type="subTitle" idx="1"/>
          </p:nvPr>
        </p:nvSpPr>
        <p:spPr>
          <a:xfrm>
            <a:off x="565150" y="3954463"/>
            <a:ext cx="3494088" cy="352425"/>
          </a:xfrm>
          <a:ln/>
        </p:spPr>
        <p:txBody>
          <a:bodyPr>
            <a:noAutofit/>
          </a:bodyPr>
          <a:lstStyle/>
          <a:p>
            <a:pPr marL="0" indent="0"/>
            <a:r>
              <a:rPr lang="hu-HU" smtClean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565150" y="3371963"/>
            <a:ext cx="3943350" cy="860425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hu-HU" smtClean="0">
                <a:solidFill>
                  <a:schemeClr val="bg2">
                    <a:lumMod val="50000"/>
                  </a:schemeClr>
                </a:solidFill>
              </a:rPr>
              <a:t>Háttér</a:t>
            </a:r>
            <a:r>
              <a:rPr lang="hu-HU" smtClean="0"/>
              <a:t/>
            </a:r>
            <a:br>
              <a:rPr lang="hu-HU" smtClean="0"/>
            </a:br>
            <a:endParaRPr lang="hu-HU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8004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845C3135-CB48-48B6-91D2-CA909CAC7DA4}" type="slidenum">
              <a:rPr lang="hu-HU"/>
              <a:pPr/>
              <a:t>26</a:t>
            </a:fld>
            <a:endParaRPr lang="hu-HU"/>
          </a:p>
        </p:txBody>
      </p:sp>
      <p:sp>
        <p:nvSpPr>
          <p:cNvPr id="128005" name="Rectangle 17"/>
          <p:cNvSpPr>
            <a:spLocks noChangeArrowheads="1"/>
          </p:cNvSpPr>
          <p:nvPr/>
        </p:nvSpPr>
        <p:spPr bwMode="auto">
          <a:xfrm>
            <a:off x="212725" y="5726113"/>
            <a:ext cx="2914650" cy="99377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8006" name="Rectangle 18"/>
          <p:cNvSpPr>
            <a:spLocks noChangeArrowheads="1"/>
          </p:cNvSpPr>
          <p:nvPr/>
        </p:nvSpPr>
        <p:spPr bwMode="auto">
          <a:xfrm>
            <a:off x="23813" y="647700"/>
            <a:ext cx="2914650" cy="9953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ext Box 54"/>
          <p:cNvSpPr txBox="1">
            <a:spLocks noChangeArrowheads="1"/>
          </p:cNvSpPr>
          <p:nvPr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no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hu-HU" sz="800" baseline="0" noProof="0" dirty="0" smtClean="0">
                <a:solidFill>
                  <a:srgbClr val="7D7D7D"/>
                </a:solidFill>
                <a:ea typeface="Arial Unicode MS" pitchFamily="34" charset="-128"/>
                <a:cs typeface="Arial Unicode MS" pitchFamily="34" charset="-128"/>
              </a:rPr>
              <a:t>A Google bizalmas és saját tulajdonú információi</a:t>
            </a:r>
            <a:endParaRPr lang="hu-HU" sz="800" baseline="0" noProof="0" dirty="0">
              <a:solidFill>
                <a:srgbClr val="7D7D7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04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347788"/>
            <a:ext cx="9144000" cy="496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0050" name="Title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476250"/>
          </a:xfrm>
        </p:spPr>
        <p:txBody>
          <a:bodyPr/>
          <a:lstStyle/>
          <a:p>
            <a:r>
              <a:rPr lang="hu-HU" smtClean="0"/>
              <a:t>Kutatási módszerta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539875"/>
            <a:ext cx="8523027" cy="4633913"/>
          </a:xfrm>
        </p:spPr>
        <p:txBody>
          <a:bodyPr/>
          <a:lstStyle/>
          <a:p>
            <a:pPr lvl="1">
              <a:lnSpc>
                <a:spcPct val="85000"/>
              </a:lnSpc>
              <a:spcBef>
                <a:spcPts val="600"/>
              </a:spcBef>
            </a:pPr>
            <a:r>
              <a:rPr lang="hu-HU" smtClean="0"/>
              <a:t>Az Ipsos MediaCT vállalattal együttműködve összesen 1000 olyan magyar felnőtt (18-64 év közötti) internethasználót kérdeztünk meg, </a:t>
            </a:r>
            <a:br>
              <a:rPr lang="hu-HU" smtClean="0"/>
            </a:br>
            <a:r>
              <a:rPr lang="hu-HU" smtClean="0"/>
              <a:t>akik magukról azt állították, hogy okostelefont használnak </a:t>
            </a:r>
            <a:br>
              <a:rPr lang="hu-HU" smtClean="0"/>
            </a:br>
            <a:r>
              <a:rPr lang="hu-HU" smtClean="0"/>
              <a:t>az internet eléréséhez</a:t>
            </a:r>
          </a:p>
          <a:p>
            <a:pPr lvl="1">
              <a:lnSpc>
                <a:spcPct val="85000"/>
              </a:lnSpc>
              <a:spcBef>
                <a:spcPts val="600"/>
              </a:spcBef>
            </a:pPr>
            <a:r>
              <a:rPr lang="hu-HU" smtClean="0">
                <a:solidFill>
                  <a:srgbClr val="3C3C3C"/>
                </a:solidFill>
              </a:rPr>
              <a:t>Az eloszlás országos szintű reprezentatív felmérésnek felel </a:t>
            </a:r>
            <a:br>
              <a:rPr lang="hu-HU" smtClean="0">
                <a:solidFill>
                  <a:srgbClr val="3C3C3C"/>
                </a:solidFill>
              </a:rPr>
            </a:br>
            <a:r>
              <a:rPr lang="hu-HU" smtClean="0">
                <a:solidFill>
                  <a:srgbClr val="3C3C3C"/>
                </a:solidFill>
              </a:rPr>
              <a:t>meg, az adatokat pedig kor, nem, régió, az okostelefon márkája, </a:t>
            </a:r>
            <a:br>
              <a:rPr lang="hu-HU" smtClean="0">
                <a:solidFill>
                  <a:srgbClr val="3C3C3C"/>
                </a:solidFill>
              </a:rPr>
            </a:br>
            <a:r>
              <a:rPr lang="hu-HU" smtClean="0">
                <a:solidFill>
                  <a:srgbClr val="3C3C3C"/>
                </a:solidFill>
              </a:rPr>
              <a:t>a mobilinternet használati gyakorisága és a táblagéphasználat </a:t>
            </a:r>
            <a:br>
              <a:rPr lang="hu-HU" smtClean="0">
                <a:solidFill>
                  <a:srgbClr val="3C3C3C"/>
                </a:solidFill>
              </a:rPr>
            </a:br>
            <a:r>
              <a:rPr lang="hu-HU" smtClean="0">
                <a:solidFill>
                  <a:srgbClr val="3C3C3C"/>
                </a:solidFill>
              </a:rPr>
              <a:t>alapján súlyoztuk</a:t>
            </a:r>
          </a:p>
          <a:p>
            <a:pPr lvl="1">
              <a:lnSpc>
                <a:spcPct val="85000"/>
              </a:lnSpc>
              <a:spcBef>
                <a:spcPts val="600"/>
              </a:spcBef>
            </a:pPr>
            <a:r>
              <a:rPr lang="hu-HU" smtClean="0"/>
              <a:t>Az okostelefon meghatározása: „fejlett, gyakran számítógépekre jellemző funkciókkal rendelkező, vagy alkalmazások letöltésére </a:t>
            </a:r>
            <a:br>
              <a:rPr lang="hu-HU" smtClean="0"/>
            </a:br>
            <a:r>
              <a:rPr lang="hu-HU" smtClean="0"/>
              <a:t>képes mobiltelefon”</a:t>
            </a:r>
          </a:p>
          <a:p>
            <a:pPr lvl="1">
              <a:lnSpc>
                <a:spcPct val="85000"/>
              </a:lnSpc>
              <a:spcBef>
                <a:spcPts val="600"/>
              </a:spcBef>
            </a:pPr>
            <a:r>
              <a:rPr lang="hu-HU" spc="-20" smtClean="0"/>
              <a:t>A válaszadóknak számos különböző kérdést tettünk fel az eszközhasználattal, a mobilkeresésekkel, a videók megtekintésével, </a:t>
            </a:r>
            <a:br>
              <a:rPr lang="hu-HU" spc="-20" smtClean="0"/>
            </a:br>
            <a:r>
              <a:rPr lang="hu-HU" spc="-20" smtClean="0"/>
              <a:t>a közösségi, webes és vásárlási szokásokkal, illetve a mobilhirdetésekkel kapcsolatban</a:t>
            </a:r>
          </a:p>
          <a:p>
            <a:pPr lvl="1">
              <a:lnSpc>
                <a:spcPct val="85000"/>
              </a:lnSpc>
              <a:spcBef>
                <a:spcPts val="600"/>
              </a:spcBef>
            </a:pPr>
            <a:r>
              <a:rPr lang="hu-HU" smtClean="0"/>
              <a:t>Az interjúk 2013 1. negyedévében készültek</a:t>
            </a:r>
          </a:p>
        </p:txBody>
      </p:sp>
      <p:sp>
        <p:nvSpPr>
          <p:cNvPr id="130052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fld id="{9366EEA7-1C0D-4474-B919-8BE0A4B1D9A8}" type="slidenum">
              <a:rPr lang="hu-HU"/>
              <a:pPr/>
              <a:t>27</a:t>
            </a:fld>
            <a:endParaRPr lang="hu-H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07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347788"/>
            <a:ext cx="9144000" cy="496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1074" name="Title 4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476250"/>
          </a:xfrm>
        </p:spPr>
        <p:txBody>
          <a:bodyPr>
            <a:noAutofit/>
          </a:bodyPr>
          <a:lstStyle/>
          <a:p>
            <a:r>
              <a:rPr lang="hu-HU" smtClean="0"/>
              <a:t>Demográfia</a:t>
            </a:r>
          </a:p>
        </p:txBody>
      </p:sp>
      <p:sp>
        <p:nvSpPr>
          <p:cNvPr id="131075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21F4635B-588B-4054-BD49-A9FE15447118}" type="slidenum">
              <a:rPr lang="hu-HU">
                <a:solidFill>
                  <a:srgbClr val="7D7D7D"/>
                </a:solidFill>
              </a:rPr>
              <a:pPr/>
              <a:t>28</a:t>
            </a:fld>
            <a:endParaRPr lang="hu-HU">
              <a:solidFill>
                <a:srgbClr val="7D7D7D"/>
              </a:solidFill>
            </a:endParaRPr>
          </a:p>
        </p:txBody>
      </p:sp>
      <p:sp>
        <p:nvSpPr>
          <p:cNvPr id="131076" name="TextBox 8"/>
          <p:cNvSpPr txBox="1">
            <a:spLocks noChangeArrowheads="1"/>
          </p:cNvSpPr>
          <p:nvPr/>
        </p:nvSpPr>
        <p:spPr bwMode="auto">
          <a:xfrm>
            <a:off x="3370263" y="4051300"/>
            <a:ext cx="815975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1600">
                <a:solidFill>
                  <a:srgbClr val="D50F25"/>
                </a:solidFill>
                <a:ea typeface="Arial Unicode MS" pitchFamily="34" charset="-128"/>
                <a:cs typeface="Arial Unicode MS" pitchFamily="34" charset="-128"/>
              </a:rPr>
              <a:t>Terület</a:t>
            </a:r>
          </a:p>
        </p:txBody>
      </p:sp>
      <p:sp>
        <p:nvSpPr>
          <p:cNvPr id="131078" name="TextBox 25"/>
          <p:cNvSpPr txBox="1">
            <a:spLocks noChangeArrowheads="1"/>
          </p:cNvSpPr>
          <p:nvPr/>
        </p:nvSpPr>
        <p:spPr bwMode="auto">
          <a:xfrm>
            <a:off x="3370263" y="3003550"/>
            <a:ext cx="815975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1600">
                <a:solidFill>
                  <a:srgbClr val="009925"/>
                </a:solidFill>
                <a:ea typeface="Arial Unicode MS" pitchFamily="34" charset="-128"/>
                <a:cs typeface="Arial Unicode MS" pitchFamily="34" charset="-128"/>
              </a:rPr>
              <a:t>Életkor</a:t>
            </a:r>
          </a:p>
        </p:txBody>
      </p:sp>
      <p:sp>
        <p:nvSpPr>
          <p:cNvPr id="131079" name="TextBox 27"/>
          <p:cNvSpPr txBox="1">
            <a:spLocks noChangeArrowheads="1"/>
          </p:cNvSpPr>
          <p:nvPr/>
        </p:nvSpPr>
        <p:spPr bwMode="auto">
          <a:xfrm>
            <a:off x="3573463" y="1990725"/>
            <a:ext cx="612775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1600">
                <a:solidFill>
                  <a:srgbClr val="EEB211"/>
                </a:solidFill>
                <a:ea typeface="Arial Unicode MS" pitchFamily="34" charset="-128"/>
                <a:cs typeface="Arial Unicode MS" pitchFamily="34" charset="-128"/>
              </a:rPr>
              <a:t>Nem</a:t>
            </a:r>
          </a:p>
        </p:txBody>
      </p:sp>
      <p:sp>
        <p:nvSpPr>
          <p:cNvPr id="131080" name="AutoShape 63"/>
          <p:cNvSpPr>
            <a:spLocks noChangeAspect="1" noChangeArrowheads="1" noTextEdit="1"/>
          </p:cNvSpPr>
          <p:nvPr/>
        </p:nvSpPr>
        <p:spPr bwMode="auto">
          <a:xfrm>
            <a:off x="1322388" y="3228975"/>
            <a:ext cx="1201737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1081" name="TextBox 67"/>
          <p:cNvSpPr txBox="1">
            <a:spLocks noChangeArrowheads="1"/>
          </p:cNvSpPr>
          <p:nvPr/>
        </p:nvSpPr>
        <p:spPr bwMode="auto">
          <a:xfrm>
            <a:off x="3327400" y="5051425"/>
            <a:ext cx="858838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1600">
                <a:solidFill>
                  <a:srgbClr val="3369E8"/>
                </a:solidFill>
                <a:ea typeface="Arial Unicode MS" pitchFamily="34" charset="-128"/>
                <a:cs typeface="Arial Unicode MS" pitchFamily="34" charset="-128"/>
              </a:rPr>
              <a:t>Családi</a:t>
            </a:r>
            <a:r>
              <a:rPr lang="hu-HU" sz="1600"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z="1600">
                <a:ea typeface="Arial Unicode MS" pitchFamily="34" charset="-128"/>
                <a:cs typeface="Arial Unicode MS" pitchFamily="34" charset="-128"/>
              </a:rPr>
            </a:br>
            <a:r>
              <a:rPr lang="hu-HU" sz="1600">
                <a:solidFill>
                  <a:srgbClr val="3369E8"/>
                </a:solidFill>
                <a:ea typeface="Arial Unicode MS" pitchFamily="34" charset="-128"/>
                <a:cs typeface="Arial Unicode MS" pitchFamily="34" charset="-128"/>
              </a:rPr>
              <a:t>állapot</a:t>
            </a:r>
          </a:p>
        </p:txBody>
      </p:sp>
      <p:sp>
        <p:nvSpPr>
          <p:cNvPr id="131082" name="Freeform 6"/>
          <p:cNvSpPr>
            <a:spLocks/>
          </p:cNvSpPr>
          <p:nvPr/>
        </p:nvSpPr>
        <p:spPr bwMode="auto">
          <a:xfrm>
            <a:off x="4202113" y="1847850"/>
            <a:ext cx="217487" cy="549275"/>
          </a:xfrm>
          <a:custGeom>
            <a:avLst/>
            <a:gdLst>
              <a:gd name="T0" fmla="*/ 402 w 402"/>
              <a:gd name="T1" fmla="*/ 2287 h 2287"/>
              <a:gd name="T2" fmla="*/ 0 w 402"/>
              <a:gd name="T3" fmla="*/ 2287 h 2287"/>
              <a:gd name="T4" fmla="*/ 0 w 402"/>
              <a:gd name="T5" fmla="*/ 0 h 2287"/>
              <a:gd name="T6" fmla="*/ 402 w 402"/>
              <a:gd name="T7" fmla="*/ 0 h 2287"/>
              <a:gd name="T8" fmla="*/ 0 60000 65536"/>
              <a:gd name="T9" fmla="*/ 0 60000 65536"/>
              <a:gd name="T10" fmla="*/ 0 60000 65536"/>
              <a:gd name="T11" fmla="*/ 0 60000 65536"/>
              <a:gd name="T12" fmla="*/ 0 w 402"/>
              <a:gd name="T13" fmla="*/ 0 h 2287"/>
              <a:gd name="T14" fmla="*/ 402 w 402"/>
              <a:gd name="T15" fmla="*/ 2287 h 228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02" h="2287">
                <a:moveTo>
                  <a:pt x="402" y="2287"/>
                </a:moveTo>
                <a:lnTo>
                  <a:pt x="0" y="2287"/>
                </a:lnTo>
                <a:lnTo>
                  <a:pt x="0" y="0"/>
                </a:lnTo>
                <a:lnTo>
                  <a:pt x="402" y="0"/>
                </a:lnTo>
              </a:path>
            </a:pathLst>
          </a:custGeom>
          <a:noFill/>
          <a:ln w="12700" cap="flat">
            <a:solidFill>
              <a:schemeClr val="accent2"/>
            </a:solidFill>
            <a:prstDash val="sysDot"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6" name="Freeform 6"/>
          <p:cNvSpPr>
            <a:spLocks/>
          </p:cNvSpPr>
          <p:nvPr/>
        </p:nvSpPr>
        <p:spPr bwMode="auto">
          <a:xfrm>
            <a:off x="4202113" y="2532063"/>
            <a:ext cx="217487" cy="1143000"/>
          </a:xfrm>
          <a:custGeom>
            <a:avLst/>
            <a:gdLst/>
            <a:ahLst/>
            <a:cxnLst>
              <a:cxn ang="0">
                <a:pos x="402" y="2287"/>
              </a:cxn>
              <a:cxn ang="0">
                <a:pos x="0" y="2287"/>
              </a:cxn>
              <a:cxn ang="0">
                <a:pos x="0" y="0"/>
              </a:cxn>
              <a:cxn ang="0">
                <a:pos x="402" y="0"/>
              </a:cxn>
            </a:cxnLst>
            <a:rect l="0" t="0" r="r" b="b"/>
            <a:pathLst>
              <a:path w="402" h="2287">
                <a:moveTo>
                  <a:pt x="402" y="2287"/>
                </a:moveTo>
                <a:lnTo>
                  <a:pt x="0" y="2287"/>
                </a:lnTo>
                <a:lnTo>
                  <a:pt x="0" y="0"/>
                </a:lnTo>
                <a:lnTo>
                  <a:pt x="402" y="0"/>
                </a:lnTo>
              </a:path>
            </a:pathLst>
          </a:custGeom>
          <a:noFill/>
          <a:ln w="12700" cap="flat">
            <a:solidFill>
              <a:schemeClr val="accent3"/>
            </a:solidFill>
            <a:prstDash val="sysDot"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8" name="Freeform 6"/>
          <p:cNvSpPr>
            <a:spLocks/>
          </p:cNvSpPr>
          <p:nvPr/>
        </p:nvSpPr>
        <p:spPr bwMode="auto">
          <a:xfrm>
            <a:off x="4202113" y="3802063"/>
            <a:ext cx="217487" cy="731837"/>
          </a:xfrm>
          <a:custGeom>
            <a:avLst/>
            <a:gdLst/>
            <a:ahLst/>
            <a:cxnLst>
              <a:cxn ang="0">
                <a:pos x="402" y="2287"/>
              </a:cxn>
              <a:cxn ang="0">
                <a:pos x="0" y="2287"/>
              </a:cxn>
              <a:cxn ang="0">
                <a:pos x="0" y="0"/>
              </a:cxn>
              <a:cxn ang="0">
                <a:pos x="402" y="0"/>
              </a:cxn>
            </a:cxnLst>
            <a:rect l="0" t="0" r="r" b="b"/>
            <a:pathLst>
              <a:path w="402" h="2287">
                <a:moveTo>
                  <a:pt x="402" y="2287"/>
                </a:moveTo>
                <a:lnTo>
                  <a:pt x="0" y="2287"/>
                </a:lnTo>
                <a:lnTo>
                  <a:pt x="0" y="0"/>
                </a:lnTo>
                <a:lnTo>
                  <a:pt x="402" y="0"/>
                </a:lnTo>
              </a:path>
            </a:pathLst>
          </a:custGeom>
          <a:noFill/>
          <a:ln w="12700" cap="flat">
            <a:solidFill>
              <a:schemeClr val="accent4"/>
            </a:solidFill>
            <a:prstDash val="sysDot"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1085" name="Freeform 6"/>
          <p:cNvSpPr>
            <a:spLocks/>
          </p:cNvSpPr>
          <p:nvPr/>
        </p:nvSpPr>
        <p:spPr bwMode="auto">
          <a:xfrm>
            <a:off x="4202113" y="4772025"/>
            <a:ext cx="217487" cy="1143000"/>
          </a:xfrm>
          <a:custGeom>
            <a:avLst/>
            <a:gdLst>
              <a:gd name="T0" fmla="*/ 402 w 402"/>
              <a:gd name="T1" fmla="*/ 2287 h 2287"/>
              <a:gd name="T2" fmla="*/ 0 w 402"/>
              <a:gd name="T3" fmla="*/ 2287 h 2287"/>
              <a:gd name="T4" fmla="*/ 0 w 402"/>
              <a:gd name="T5" fmla="*/ 0 h 2287"/>
              <a:gd name="T6" fmla="*/ 402 w 402"/>
              <a:gd name="T7" fmla="*/ 0 h 2287"/>
              <a:gd name="T8" fmla="*/ 0 60000 65536"/>
              <a:gd name="T9" fmla="*/ 0 60000 65536"/>
              <a:gd name="T10" fmla="*/ 0 60000 65536"/>
              <a:gd name="T11" fmla="*/ 0 60000 65536"/>
              <a:gd name="T12" fmla="*/ 0 w 402"/>
              <a:gd name="T13" fmla="*/ 0 h 2287"/>
              <a:gd name="T14" fmla="*/ 402 w 402"/>
              <a:gd name="T15" fmla="*/ 2287 h 228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02" h="2287">
                <a:moveTo>
                  <a:pt x="402" y="2287"/>
                </a:moveTo>
                <a:lnTo>
                  <a:pt x="0" y="2287"/>
                </a:lnTo>
                <a:lnTo>
                  <a:pt x="0" y="0"/>
                </a:lnTo>
                <a:lnTo>
                  <a:pt x="402" y="0"/>
                </a:lnTo>
              </a:path>
            </a:pathLst>
          </a:custGeom>
          <a:noFill/>
          <a:ln w="12700" cap="flat">
            <a:solidFill>
              <a:schemeClr val="accent1"/>
            </a:solidFill>
            <a:prstDash val="sysDot"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73" name="Group 72"/>
          <p:cNvGrpSpPr/>
          <p:nvPr/>
        </p:nvGrpSpPr>
        <p:grpSpPr>
          <a:xfrm>
            <a:off x="2071231" y="1814912"/>
            <a:ext cx="807569" cy="724720"/>
            <a:chOff x="1793876" y="1395413"/>
            <a:chExt cx="1470024" cy="1319212"/>
          </a:xfrm>
          <a:solidFill>
            <a:schemeClr val="accent2"/>
          </a:solidFill>
        </p:grpSpPr>
        <p:sp>
          <p:nvSpPr>
            <p:cNvPr id="3083" name="Oval 11"/>
            <p:cNvSpPr>
              <a:spLocks noChangeArrowheads="1"/>
            </p:cNvSpPr>
            <p:nvPr/>
          </p:nvSpPr>
          <p:spPr bwMode="auto">
            <a:xfrm>
              <a:off x="2895600" y="1395413"/>
              <a:ext cx="217487" cy="214312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084" name="Freeform 12"/>
            <p:cNvSpPr>
              <a:spLocks/>
            </p:cNvSpPr>
            <p:nvPr/>
          </p:nvSpPr>
          <p:spPr bwMode="auto">
            <a:xfrm>
              <a:off x="2746375" y="1639888"/>
              <a:ext cx="517525" cy="1074737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138" y="37"/>
                </a:cxn>
                <a:cxn ang="0">
                  <a:pos x="138" y="127"/>
                </a:cxn>
                <a:cxn ang="0">
                  <a:pos x="126" y="139"/>
                </a:cxn>
                <a:cxn ang="0">
                  <a:pos x="113" y="127"/>
                </a:cxn>
                <a:cxn ang="0">
                  <a:pos x="113" y="46"/>
                </a:cxn>
                <a:cxn ang="0">
                  <a:pos x="106" y="46"/>
                </a:cxn>
                <a:cxn ang="0">
                  <a:pos x="106" y="270"/>
                </a:cxn>
                <a:cxn ang="0">
                  <a:pos x="89" y="287"/>
                </a:cxn>
                <a:cxn ang="0">
                  <a:pos x="72" y="270"/>
                </a:cxn>
                <a:cxn ang="0">
                  <a:pos x="72" y="140"/>
                </a:cxn>
                <a:cxn ang="0">
                  <a:pos x="65" y="140"/>
                </a:cxn>
                <a:cxn ang="0">
                  <a:pos x="65" y="270"/>
                </a:cxn>
                <a:cxn ang="0">
                  <a:pos x="48" y="287"/>
                </a:cxn>
                <a:cxn ang="0">
                  <a:pos x="31" y="270"/>
                </a:cxn>
                <a:cxn ang="0">
                  <a:pos x="31" y="46"/>
                </a:cxn>
                <a:cxn ang="0">
                  <a:pos x="25" y="46"/>
                </a:cxn>
                <a:cxn ang="0">
                  <a:pos x="25" y="127"/>
                </a:cxn>
                <a:cxn ang="0">
                  <a:pos x="12" y="139"/>
                </a:cxn>
                <a:cxn ang="0">
                  <a:pos x="0" y="127"/>
                </a:cxn>
                <a:cxn ang="0">
                  <a:pos x="0" y="37"/>
                </a:cxn>
                <a:cxn ang="0">
                  <a:pos x="37" y="0"/>
                </a:cxn>
                <a:cxn ang="0">
                  <a:pos x="101" y="0"/>
                </a:cxn>
              </a:cxnLst>
              <a:rect l="0" t="0" r="r" b="b"/>
              <a:pathLst>
                <a:path w="138" h="287">
                  <a:moveTo>
                    <a:pt x="101" y="0"/>
                  </a:moveTo>
                  <a:cubicBezTo>
                    <a:pt x="121" y="0"/>
                    <a:pt x="138" y="17"/>
                    <a:pt x="138" y="37"/>
                  </a:cubicBezTo>
                  <a:cubicBezTo>
                    <a:pt x="138" y="47"/>
                    <a:pt x="138" y="120"/>
                    <a:pt x="138" y="127"/>
                  </a:cubicBezTo>
                  <a:cubicBezTo>
                    <a:pt x="138" y="134"/>
                    <a:pt x="133" y="139"/>
                    <a:pt x="126" y="139"/>
                  </a:cubicBezTo>
                  <a:cubicBezTo>
                    <a:pt x="119" y="139"/>
                    <a:pt x="113" y="134"/>
                    <a:pt x="113" y="127"/>
                  </a:cubicBezTo>
                  <a:cubicBezTo>
                    <a:pt x="113" y="119"/>
                    <a:pt x="113" y="46"/>
                    <a:pt x="113" y="46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6"/>
                    <a:pt x="106" y="256"/>
                    <a:pt x="106" y="270"/>
                  </a:cubicBezTo>
                  <a:cubicBezTo>
                    <a:pt x="106" y="279"/>
                    <a:pt x="99" y="287"/>
                    <a:pt x="89" y="287"/>
                  </a:cubicBezTo>
                  <a:cubicBezTo>
                    <a:pt x="80" y="287"/>
                    <a:pt x="72" y="279"/>
                    <a:pt x="72" y="270"/>
                  </a:cubicBezTo>
                  <a:cubicBezTo>
                    <a:pt x="72" y="256"/>
                    <a:pt x="72" y="140"/>
                    <a:pt x="72" y="140"/>
                  </a:cubicBezTo>
                  <a:cubicBezTo>
                    <a:pt x="65" y="140"/>
                    <a:pt x="65" y="140"/>
                    <a:pt x="65" y="140"/>
                  </a:cubicBezTo>
                  <a:cubicBezTo>
                    <a:pt x="65" y="140"/>
                    <a:pt x="65" y="256"/>
                    <a:pt x="65" y="270"/>
                  </a:cubicBezTo>
                  <a:cubicBezTo>
                    <a:pt x="65" y="279"/>
                    <a:pt x="58" y="287"/>
                    <a:pt x="48" y="287"/>
                  </a:cubicBezTo>
                  <a:cubicBezTo>
                    <a:pt x="39" y="287"/>
                    <a:pt x="31" y="279"/>
                    <a:pt x="31" y="270"/>
                  </a:cubicBezTo>
                  <a:cubicBezTo>
                    <a:pt x="31" y="256"/>
                    <a:pt x="31" y="46"/>
                    <a:pt x="31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5" y="119"/>
                    <a:pt x="25" y="127"/>
                  </a:cubicBezTo>
                  <a:cubicBezTo>
                    <a:pt x="25" y="134"/>
                    <a:pt x="19" y="139"/>
                    <a:pt x="12" y="139"/>
                  </a:cubicBezTo>
                  <a:cubicBezTo>
                    <a:pt x="5" y="139"/>
                    <a:pt x="0" y="134"/>
                    <a:pt x="0" y="127"/>
                  </a:cubicBezTo>
                  <a:cubicBezTo>
                    <a:pt x="0" y="120"/>
                    <a:pt x="0" y="47"/>
                    <a:pt x="0" y="37"/>
                  </a:cubicBezTo>
                  <a:cubicBezTo>
                    <a:pt x="0" y="17"/>
                    <a:pt x="16" y="0"/>
                    <a:pt x="37" y="0"/>
                  </a:cubicBezTo>
                  <a:cubicBezTo>
                    <a:pt x="47" y="0"/>
                    <a:pt x="91" y="0"/>
                    <a:pt x="10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085" name="Oval 13"/>
            <p:cNvSpPr>
              <a:spLocks noChangeArrowheads="1"/>
            </p:cNvSpPr>
            <p:nvPr/>
          </p:nvSpPr>
          <p:spPr bwMode="auto">
            <a:xfrm>
              <a:off x="1995488" y="1395413"/>
              <a:ext cx="217487" cy="214312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086" name="Freeform 14"/>
            <p:cNvSpPr>
              <a:spLocks/>
            </p:cNvSpPr>
            <p:nvPr/>
          </p:nvSpPr>
          <p:spPr bwMode="auto">
            <a:xfrm>
              <a:off x="1793876" y="1639888"/>
              <a:ext cx="619125" cy="1074737"/>
            </a:xfrm>
            <a:custGeom>
              <a:avLst/>
              <a:gdLst/>
              <a:ahLst/>
              <a:cxnLst>
                <a:cxn ang="0">
                  <a:pos x="87" y="172"/>
                </a:cxn>
                <a:cxn ang="0">
                  <a:pos x="87" y="273"/>
                </a:cxn>
                <a:cxn ang="0">
                  <a:pos x="100" y="287"/>
                </a:cxn>
                <a:cxn ang="0">
                  <a:pos x="114" y="273"/>
                </a:cxn>
                <a:cxn ang="0">
                  <a:pos x="114" y="172"/>
                </a:cxn>
                <a:cxn ang="0">
                  <a:pos x="151" y="172"/>
                </a:cxn>
                <a:cxn ang="0">
                  <a:pos x="112" y="39"/>
                </a:cxn>
                <a:cxn ang="0">
                  <a:pos x="119" y="39"/>
                </a:cxn>
                <a:cxn ang="0">
                  <a:pos x="142" y="119"/>
                </a:cxn>
                <a:cxn ang="0">
                  <a:pos x="156" y="126"/>
                </a:cxn>
                <a:cxn ang="0">
                  <a:pos x="164" y="112"/>
                </a:cxn>
                <a:cxn ang="0">
                  <a:pos x="139" y="27"/>
                </a:cxn>
                <a:cxn ang="0">
                  <a:pos x="106" y="0"/>
                </a:cxn>
                <a:cxn ang="0">
                  <a:pos x="60" y="0"/>
                </a:cxn>
                <a:cxn ang="0">
                  <a:pos x="27" y="27"/>
                </a:cxn>
                <a:cxn ang="0">
                  <a:pos x="2" y="112"/>
                </a:cxn>
                <a:cxn ang="0">
                  <a:pos x="10" y="126"/>
                </a:cxn>
                <a:cxn ang="0">
                  <a:pos x="24" y="119"/>
                </a:cxn>
                <a:cxn ang="0">
                  <a:pos x="47" y="39"/>
                </a:cxn>
                <a:cxn ang="0">
                  <a:pos x="54" y="39"/>
                </a:cxn>
                <a:cxn ang="0">
                  <a:pos x="15" y="172"/>
                </a:cxn>
                <a:cxn ang="0">
                  <a:pos x="53" y="172"/>
                </a:cxn>
                <a:cxn ang="0">
                  <a:pos x="53" y="273"/>
                </a:cxn>
                <a:cxn ang="0">
                  <a:pos x="66" y="287"/>
                </a:cxn>
                <a:cxn ang="0">
                  <a:pos x="80" y="273"/>
                </a:cxn>
                <a:cxn ang="0">
                  <a:pos x="80" y="172"/>
                </a:cxn>
                <a:cxn ang="0">
                  <a:pos x="87" y="172"/>
                </a:cxn>
              </a:cxnLst>
              <a:rect l="0" t="0" r="r" b="b"/>
              <a:pathLst>
                <a:path w="165" h="287">
                  <a:moveTo>
                    <a:pt x="87" y="172"/>
                  </a:moveTo>
                  <a:cubicBezTo>
                    <a:pt x="87" y="172"/>
                    <a:pt x="87" y="262"/>
                    <a:pt x="87" y="273"/>
                  </a:cubicBezTo>
                  <a:cubicBezTo>
                    <a:pt x="87" y="281"/>
                    <a:pt x="93" y="287"/>
                    <a:pt x="100" y="287"/>
                  </a:cubicBezTo>
                  <a:cubicBezTo>
                    <a:pt x="108" y="287"/>
                    <a:pt x="114" y="281"/>
                    <a:pt x="114" y="273"/>
                  </a:cubicBezTo>
                  <a:cubicBezTo>
                    <a:pt x="114" y="267"/>
                    <a:pt x="114" y="218"/>
                    <a:pt x="114" y="172"/>
                  </a:cubicBezTo>
                  <a:cubicBezTo>
                    <a:pt x="151" y="172"/>
                    <a:pt x="151" y="172"/>
                    <a:pt x="151" y="172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40" y="110"/>
                    <a:pt x="142" y="119"/>
                  </a:cubicBezTo>
                  <a:cubicBezTo>
                    <a:pt x="144" y="125"/>
                    <a:pt x="150" y="128"/>
                    <a:pt x="156" y="126"/>
                  </a:cubicBezTo>
                  <a:cubicBezTo>
                    <a:pt x="162" y="125"/>
                    <a:pt x="165" y="118"/>
                    <a:pt x="164" y="112"/>
                  </a:cubicBezTo>
                  <a:cubicBezTo>
                    <a:pt x="162" y="108"/>
                    <a:pt x="150" y="63"/>
                    <a:pt x="139" y="27"/>
                  </a:cubicBezTo>
                  <a:cubicBezTo>
                    <a:pt x="135" y="14"/>
                    <a:pt x="121" y="0"/>
                    <a:pt x="106" y="0"/>
                  </a:cubicBezTo>
                  <a:cubicBezTo>
                    <a:pt x="99" y="0"/>
                    <a:pt x="66" y="0"/>
                    <a:pt x="60" y="0"/>
                  </a:cubicBezTo>
                  <a:cubicBezTo>
                    <a:pt x="46" y="0"/>
                    <a:pt x="31" y="14"/>
                    <a:pt x="27" y="27"/>
                  </a:cubicBezTo>
                  <a:cubicBezTo>
                    <a:pt x="17" y="63"/>
                    <a:pt x="3" y="108"/>
                    <a:pt x="2" y="112"/>
                  </a:cubicBezTo>
                  <a:cubicBezTo>
                    <a:pt x="0" y="118"/>
                    <a:pt x="4" y="125"/>
                    <a:pt x="10" y="126"/>
                  </a:cubicBezTo>
                  <a:cubicBezTo>
                    <a:pt x="16" y="128"/>
                    <a:pt x="22" y="125"/>
                    <a:pt x="24" y="119"/>
                  </a:cubicBezTo>
                  <a:cubicBezTo>
                    <a:pt x="26" y="110"/>
                    <a:pt x="47" y="39"/>
                    <a:pt x="47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15" y="172"/>
                    <a:pt x="15" y="172"/>
                    <a:pt x="15" y="172"/>
                  </a:cubicBezTo>
                  <a:cubicBezTo>
                    <a:pt x="53" y="172"/>
                    <a:pt x="53" y="172"/>
                    <a:pt x="53" y="172"/>
                  </a:cubicBezTo>
                  <a:cubicBezTo>
                    <a:pt x="53" y="218"/>
                    <a:pt x="53" y="267"/>
                    <a:pt x="53" y="273"/>
                  </a:cubicBezTo>
                  <a:cubicBezTo>
                    <a:pt x="53" y="281"/>
                    <a:pt x="59" y="287"/>
                    <a:pt x="66" y="287"/>
                  </a:cubicBezTo>
                  <a:cubicBezTo>
                    <a:pt x="74" y="287"/>
                    <a:pt x="80" y="281"/>
                    <a:pt x="80" y="273"/>
                  </a:cubicBezTo>
                  <a:cubicBezTo>
                    <a:pt x="80" y="262"/>
                    <a:pt x="80" y="172"/>
                    <a:pt x="80" y="172"/>
                  </a:cubicBezTo>
                  <a:lnTo>
                    <a:pt x="87" y="17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087" name="Rectangle 15"/>
            <p:cNvSpPr>
              <a:spLocks noChangeArrowheads="1"/>
            </p:cNvSpPr>
            <p:nvPr/>
          </p:nvSpPr>
          <p:spPr bwMode="auto">
            <a:xfrm>
              <a:off x="2501900" y="1395413"/>
              <a:ext cx="120650" cy="131921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31087" name="Group 102"/>
          <p:cNvGrpSpPr>
            <a:grpSpLocks/>
          </p:cNvGrpSpPr>
          <p:nvPr/>
        </p:nvGrpSpPr>
        <p:grpSpPr bwMode="auto">
          <a:xfrm>
            <a:off x="2219325" y="2895600"/>
            <a:ext cx="511175" cy="762000"/>
            <a:chOff x="2359025" y="2405062"/>
            <a:chExt cx="493713" cy="736601"/>
          </a:xfrm>
        </p:grpSpPr>
        <p:sp>
          <p:nvSpPr>
            <p:cNvPr id="131107" name="Freeform 19"/>
            <p:cNvSpPr>
              <a:spLocks noEditPoints="1"/>
            </p:cNvSpPr>
            <p:nvPr/>
          </p:nvSpPr>
          <p:spPr bwMode="auto">
            <a:xfrm>
              <a:off x="2378075" y="2435225"/>
              <a:ext cx="455613" cy="676275"/>
            </a:xfrm>
            <a:custGeom>
              <a:avLst/>
              <a:gdLst>
                <a:gd name="T0" fmla="*/ 98 w 98"/>
                <a:gd name="T1" fmla="*/ 88 h 91"/>
                <a:gd name="T2" fmla="*/ 72 w 98"/>
                <a:gd name="T3" fmla="*/ 57 h 91"/>
                <a:gd name="T4" fmla="*/ 56 w 98"/>
                <a:gd name="T5" fmla="*/ 47 h 91"/>
                <a:gd name="T6" fmla="*/ 55 w 98"/>
                <a:gd name="T7" fmla="*/ 46 h 91"/>
                <a:gd name="T8" fmla="*/ 55 w 98"/>
                <a:gd name="T9" fmla="*/ 45 h 91"/>
                <a:gd name="T10" fmla="*/ 56 w 98"/>
                <a:gd name="T11" fmla="*/ 44 h 91"/>
                <a:gd name="T12" fmla="*/ 72 w 98"/>
                <a:gd name="T13" fmla="*/ 34 h 91"/>
                <a:gd name="T14" fmla="*/ 98 w 98"/>
                <a:gd name="T15" fmla="*/ 2 h 91"/>
                <a:gd name="T16" fmla="*/ 97 w 98"/>
                <a:gd name="T17" fmla="*/ 0 h 91"/>
                <a:gd name="T18" fmla="*/ 0 w 98"/>
                <a:gd name="T19" fmla="*/ 0 h 91"/>
                <a:gd name="T20" fmla="*/ 0 w 98"/>
                <a:gd name="T21" fmla="*/ 2 h 91"/>
                <a:gd name="T22" fmla="*/ 26 w 98"/>
                <a:gd name="T23" fmla="*/ 34 h 91"/>
                <a:gd name="T24" fmla="*/ 42 w 98"/>
                <a:gd name="T25" fmla="*/ 44 h 91"/>
                <a:gd name="T26" fmla="*/ 43 w 98"/>
                <a:gd name="T27" fmla="*/ 45 h 91"/>
                <a:gd name="T28" fmla="*/ 43 w 98"/>
                <a:gd name="T29" fmla="*/ 46 h 91"/>
                <a:gd name="T30" fmla="*/ 42 w 98"/>
                <a:gd name="T31" fmla="*/ 47 h 91"/>
                <a:gd name="T32" fmla="*/ 26 w 98"/>
                <a:gd name="T33" fmla="*/ 57 h 91"/>
                <a:gd name="T34" fmla="*/ 0 w 98"/>
                <a:gd name="T35" fmla="*/ 88 h 91"/>
                <a:gd name="T36" fmla="*/ 0 w 98"/>
                <a:gd name="T37" fmla="*/ 91 h 91"/>
                <a:gd name="T38" fmla="*/ 98 w 98"/>
                <a:gd name="T39" fmla="*/ 91 h 91"/>
                <a:gd name="T40" fmla="*/ 98 w 98"/>
                <a:gd name="T41" fmla="*/ 88 h 91"/>
                <a:gd name="T42" fmla="*/ 3 w 98"/>
                <a:gd name="T43" fmla="*/ 88 h 91"/>
                <a:gd name="T44" fmla="*/ 44 w 98"/>
                <a:gd name="T45" fmla="*/ 49 h 91"/>
                <a:gd name="T46" fmla="*/ 44 w 98"/>
                <a:gd name="T47" fmla="*/ 42 h 91"/>
                <a:gd name="T48" fmla="*/ 3 w 98"/>
                <a:gd name="T49" fmla="*/ 2 h 91"/>
                <a:gd name="T50" fmla="*/ 95 w 98"/>
                <a:gd name="T51" fmla="*/ 2 h 91"/>
                <a:gd name="T52" fmla="*/ 54 w 98"/>
                <a:gd name="T53" fmla="*/ 42 h 91"/>
                <a:gd name="T54" fmla="*/ 54 w 98"/>
                <a:gd name="T55" fmla="*/ 49 h 91"/>
                <a:gd name="T56" fmla="*/ 95 w 98"/>
                <a:gd name="T57" fmla="*/ 88 h 91"/>
                <a:gd name="T58" fmla="*/ 3 w 98"/>
                <a:gd name="T59" fmla="*/ 88 h 9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98"/>
                <a:gd name="T91" fmla="*/ 0 h 91"/>
                <a:gd name="T92" fmla="*/ 98 w 98"/>
                <a:gd name="T93" fmla="*/ 91 h 9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98" h="91">
                  <a:moveTo>
                    <a:pt x="98" y="88"/>
                  </a:moveTo>
                  <a:cubicBezTo>
                    <a:pt x="97" y="70"/>
                    <a:pt x="84" y="63"/>
                    <a:pt x="72" y="57"/>
                  </a:cubicBezTo>
                  <a:cubicBezTo>
                    <a:pt x="66" y="54"/>
                    <a:pt x="60" y="51"/>
                    <a:pt x="56" y="47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46"/>
                    <a:pt x="55" y="45"/>
                    <a:pt x="55" y="45"/>
                  </a:cubicBezTo>
                  <a:cubicBezTo>
                    <a:pt x="55" y="45"/>
                    <a:pt x="56" y="44"/>
                    <a:pt x="56" y="44"/>
                  </a:cubicBezTo>
                  <a:cubicBezTo>
                    <a:pt x="60" y="40"/>
                    <a:pt x="66" y="37"/>
                    <a:pt x="72" y="34"/>
                  </a:cubicBezTo>
                  <a:cubicBezTo>
                    <a:pt x="84" y="28"/>
                    <a:pt x="98" y="21"/>
                    <a:pt x="98" y="2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1"/>
                    <a:pt x="14" y="28"/>
                    <a:pt x="26" y="34"/>
                  </a:cubicBezTo>
                  <a:cubicBezTo>
                    <a:pt x="32" y="37"/>
                    <a:pt x="38" y="40"/>
                    <a:pt x="42" y="44"/>
                  </a:cubicBezTo>
                  <a:cubicBezTo>
                    <a:pt x="42" y="44"/>
                    <a:pt x="43" y="45"/>
                    <a:pt x="43" y="45"/>
                  </a:cubicBezTo>
                  <a:cubicBezTo>
                    <a:pt x="43" y="45"/>
                    <a:pt x="43" y="46"/>
                    <a:pt x="43" y="46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38" y="51"/>
                    <a:pt x="32" y="54"/>
                    <a:pt x="26" y="57"/>
                  </a:cubicBezTo>
                  <a:cubicBezTo>
                    <a:pt x="14" y="63"/>
                    <a:pt x="0" y="70"/>
                    <a:pt x="0" y="88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98" y="91"/>
                    <a:pt x="98" y="91"/>
                    <a:pt x="98" y="91"/>
                  </a:cubicBezTo>
                  <a:lnTo>
                    <a:pt x="98" y="88"/>
                  </a:lnTo>
                  <a:close/>
                  <a:moveTo>
                    <a:pt x="3" y="88"/>
                  </a:moveTo>
                  <a:cubicBezTo>
                    <a:pt x="3" y="63"/>
                    <a:pt x="30" y="62"/>
                    <a:pt x="44" y="49"/>
                  </a:cubicBezTo>
                  <a:cubicBezTo>
                    <a:pt x="47" y="45"/>
                    <a:pt x="47" y="46"/>
                    <a:pt x="44" y="42"/>
                  </a:cubicBezTo>
                  <a:cubicBezTo>
                    <a:pt x="30" y="29"/>
                    <a:pt x="3" y="28"/>
                    <a:pt x="3" y="2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5" y="28"/>
                    <a:pt x="68" y="29"/>
                    <a:pt x="54" y="42"/>
                  </a:cubicBezTo>
                  <a:cubicBezTo>
                    <a:pt x="51" y="46"/>
                    <a:pt x="51" y="45"/>
                    <a:pt x="54" y="49"/>
                  </a:cubicBezTo>
                  <a:cubicBezTo>
                    <a:pt x="68" y="62"/>
                    <a:pt x="95" y="63"/>
                    <a:pt x="95" y="88"/>
                  </a:cubicBezTo>
                  <a:lnTo>
                    <a:pt x="3" y="88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1108" name="Freeform 20"/>
            <p:cNvSpPr>
              <a:spLocks/>
            </p:cNvSpPr>
            <p:nvPr/>
          </p:nvSpPr>
          <p:spPr bwMode="auto">
            <a:xfrm>
              <a:off x="2359025" y="2405062"/>
              <a:ext cx="493713" cy="38100"/>
            </a:xfrm>
            <a:custGeom>
              <a:avLst/>
              <a:gdLst>
                <a:gd name="T0" fmla="*/ 106 w 106"/>
                <a:gd name="T1" fmla="*/ 2 h 5"/>
                <a:gd name="T2" fmla="*/ 103 w 106"/>
                <a:gd name="T3" fmla="*/ 5 h 5"/>
                <a:gd name="T4" fmla="*/ 3 w 106"/>
                <a:gd name="T5" fmla="*/ 5 h 5"/>
                <a:gd name="T6" fmla="*/ 0 w 106"/>
                <a:gd name="T7" fmla="*/ 2 h 5"/>
                <a:gd name="T8" fmla="*/ 0 w 106"/>
                <a:gd name="T9" fmla="*/ 2 h 5"/>
                <a:gd name="T10" fmla="*/ 3 w 106"/>
                <a:gd name="T11" fmla="*/ 0 h 5"/>
                <a:gd name="T12" fmla="*/ 103 w 106"/>
                <a:gd name="T13" fmla="*/ 0 h 5"/>
                <a:gd name="T14" fmla="*/ 106 w 106"/>
                <a:gd name="T15" fmla="*/ 2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6"/>
                <a:gd name="T25" fmla="*/ 0 h 5"/>
                <a:gd name="T26" fmla="*/ 106 w 106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6" h="5">
                  <a:moveTo>
                    <a:pt x="106" y="2"/>
                  </a:moveTo>
                  <a:cubicBezTo>
                    <a:pt x="106" y="4"/>
                    <a:pt x="104" y="5"/>
                    <a:pt x="10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4" y="0"/>
                    <a:pt x="106" y="1"/>
                    <a:pt x="106" y="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1109" name="Freeform 21"/>
            <p:cNvSpPr>
              <a:spLocks/>
            </p:cNvSpPr>
            <p:nvPr/>
          </p:nvSpPr>
          <p:spPr bwMode="auto">
            <a:xfrm>
              <a:off x="2359025" y="3097213"/>
              <a:ext cx="493713" cy="44450"/>
            </a:xfrm>
            <a:custGeom>
              <a:avLst/>
              <a:gdLst>
                <a:gd name="T0" fmla="*/ 106 w 106"/>
                <a:gd name="T1" fmla="*/ 3 h 6"/>
                <a:gd name="T2" fmla="*/ 103 w 106"/>
                <a:gd name="T3" fmla="*/ 6 h 6"/>
                <a:gd name="T4" fmla="*/ 3 w 106"/>
                <a:gd name="T5" fmla="*/ 6 h 6"/>
                <a:gd name="T6" fmla="*/ 0 w 106"/>
                <a:gd name="T7" fmla="*/ 3 h 6"/>
                <a:gd name="T8" fmla="*/ 0 w 106"/>
                <a:gd name="T9" fmla="*/ 3 h 6"/>
                <a:gd name="T10" fmla="*/ 3 w 106"/>
                <a:gd name="T11" fmla="*/ 0 h 6"/>
                <a:gd name="T12" fmla="*/ 103 w 106"/>
                <a:gd name="T13" fmla="*/ 0 h 6"/>
                <a:gd name="T14" fmla="*/ 106 w 106"/>
                <a:gd name="T15" fmla="*/ 3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6"/>
                <a:gd name="T25" fmla="*/ 0 h 6"/>
                <a:gd name="T26" fmla="*/ 106 w 106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6" h="6">
                  <a:moveTo>
                    <a:pt x="106" y="3"/>
                  </a:moveTo>
                  <a:cubicBezTo>
                    <a:pt x="106" y="4"/>
                    <a:pt x="104" y="6"/>
                    <a:pt x="10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4" y="0"/>
                    <a:pt x="106" y="1"/>
                    <a:pt x="106" y="3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094" name="Freeform 22"/>
            <p:cNvSpPr>
              <a:spLocks/>
            </p:cNvSpPr>
            <p:nvPr/>
          </p:nvSpPr>
          <p:spPr bwMode="auto">
            <a:xfrm>
              <a:off x="2438755" y="2911475"/>
              <a:ext cx="334253" cy="147320"/>
            </a:xfrm>
            <a:custGeom>
              <a:avLst/>
              <a:gdLst/>
              <a:ahLst/>
              <a:cxnLst>
                <a:cxn ang="0">
                  <a:pos x="0" y="93"/>
                </a:cxn>
                <a:cxn ang="0">
                  <a:pos x="105" y="0"/>
                </a:cxn>
                <a:cxn ang="0">
                  <a:pos x="211" y="93"/>
                </a:cxn>
                <a:cxn ang="0">
                  <a:pos x="0" y="93"/>
                </a:cxn>
              </a:cxnLst>
              <a:rect l="0" t="0" r="r" b="b"/>
              <a:pathLst>
                <a:path w="211" h="93">
                  <a:moveTo>
                    <a:pt x="0" y="93"/>
                  </a:moveTo>
                  <a:lnTo>
                    <a:pt x="105" y="0"/>
                  </a:lnTo>
                  <a:lnTo>
                    <a:pt x="211" y="93"/>
                  </a:lnTo>
                  <a:lnTo>
                    <a:pt x="0" y="93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095" name="Freeform 23"/>
            <p:cNvSpPr>
              <a:spLocks/>
            </p:cNvSpPr>
            <p:nvPr/>
          </p:nvSpPr>
          <p:spPr bwMode="auto">
            <a:xfrm>
              <a:off x="2484753" y="2598420"/>
              <a:ext cx="242257" cy="12737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6" y="80"/>
                </a:cxn>
                <a:cxn ang="0">
                  <a:pos x="153" y="0"/>
                </a:cxn>
                <a:cxn ang="0">
                  <a:pos x="0" y="0"/>
                </a:cxn>
              </a:cxnLst>
              <a:rect l="0" t="0" r="r" b="b"/>
              <a:pathLst>
                <a:path w="153" h="80">
                  <a:moveTo>
                    <a:pt x="0" y="0"/>
                  </a:moveTo>
                  <a:lnTo>
                    <a:pt x="76" y="80"/>
                  </a:lnTo>
                  <a:lnTo>
                    <a:pt x="15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099" name="Freeform 27"/>
          <p:cNvSpPr>
            <a:spLocks/>
          </p:cNvSpPr>
          <p:nvPr/>
        </p:nvSpPr>
        <p:spPr bwMode="auto">
          <a:xfrm>
            <a:off x="2143125" y="4140200"/>
            <a:ext cx="301625" cy="395288"/>
          </a:xfrm>
          <a:custGeom>
            <a:avLst/>
            <a:gdLst/>
            <a:ahLst/>
            <a:cxnLst>
              <a:cxn ang="0">
                <a:pos x="39" y="9"/>
              </a:cxn>
              <a:cxn ang="0">
                <a:pos x="39" y="9"/>
              </a:cxn>
              <a:cxn ang="0">
                <a:pos x="39" y="9"/>
              </a:cxn>
              <a:cxn ang="0">
                <a:pos x="37" y="9"/>
              </a:cxn>
              <a:cxn ang="0">
                <a:pos x="35" y="9"/>
              </a:cxn>
              <a:cxn ang="0">
                <a:pos x="32" y="8"/>
              </a:cxn>
              <a:cxn ang="0">
                <a:pos x="30" y="8"/>
              </a:cxn>
              <a:cxn ang="0">
                <a:pos x="28" y="9"/>
              </a:cxn>
              <a:cxn ang="0">
                <a:pos x="26" y="7"/>
              </a:cxn>
              <a:cxn ang="0">
                <a:pos x="24" y="6"/>
              </a:cxn>
              <a:cxn ang="0">
                <a:pos x="23" y="4"/>
              </a:cxn>
              <a:cxn ang="0">
                <a:pos x="24" y="3"/>
              </a:cxn>
              <a:cxn ang="0">
                <a:pos x="23" y="2"/>
              </a:cxn>
              <a:cxn ang="0">
                <a:pos x="21" y="2"/>
              </a:cxn>
              <a:cxn ang="0">
                <a:pos x="20" y="2"/>
              </a:cxn>
              <a:cxn ang="0">
                <a:pos x="17" y="1"/>
              </a:cxn>
              <a:cxn ang="0">
                <a:pos x="14" y="0"/>
              </a:cxn>
              <a:cxn ang="0">
                <a:pos x="14" y="0"/>
              </a:cxn>
              <a:cxn ang="0">
                <a:pos x="13" y="0"/>
              </a:cxn>
              <a:cxn ang="0">
                <a:pos x="2" y="12"/>
              </a:cxn>
              <a:cxn ang="0">
                <a:pos x="1" y="15"/>
              </a:cxn>
              <a:cxn ang="0">
                <a:pos x="0" y="17"/>
              </a:cxn>
              <a:cxn ang="0">
                <a:pos x="0" y="19"/>
              </a:cxn>
              <a:cxn ang="0">
                <a:pos x="0" y="20"/>
              </a:cxn>
              <a:cxn ang="0">
                <a:pos x="2" y="31"/>
              </a:cxn>
              <a:cxn ang="0">
                <a:pos x="9" y="33"/>
              </a:cxn>
              <a:cxn ang="0">
                <a:pos x="10" y="35"/>
              </a:cxn>
              <a:cxn ang="0">
                <a:pos x="12" y="41"/>
              </a:cxn>
              <a:cxn ang="0">
                <a:pos x="13" y="43"/>
              </a:cxn>
              <a:cxn ang="0">
                <a:pos x="15" y="45"/>
              </a:cxn>
              <a:cxn ang="0">
                <a:pos x="16" y="46"/>
              </a:cxn>
              <a:cxn ang="0">
                <a:pos x="18" y="53"/>
              </a:cxn>
              <a:cxn ang="0">
                <a:pos x="23" y="63"/>
              </a:cxn>
              <a:cxn ang="0">
                <a:pos x="25" y="66"/>
              </a:cxn>
              <a:cxn ang="0">
                <a:pos x="27" y="67"/>
              </a:cxn>
              <a:cxn ang="0">
                <a:pos x="28" y="69"/>
              </a:cxn>
              <a:cxn ang="0">
                <a:pos x="31" y="71"/>
              </a:cxn>
              <a:cxn ang="0">
                <a:pos x="31" y="72"/>
              </a:cxn>
              <a:cxn ang="0">
                <a:pos x="33" y="72"/>
              </a:cxn>
              <a:cxn ang="0">
                <a:pos x="34" y="72"/>
              </a:cxn>
              <a:cxn ang="0">
                <a:pos x="36" y="72"/>
              </a:cxn>
              <a:cxn ang="0">
                <a:pos x="36" y="71"/>
              </a:cxn>
              <a:cxn ang="0">
                <a:pos x="38" y="71"/>
              </a:cxn>
              <a:cxn ang="0">
                <a:pos x="38" y="70"/>
              </a:cxn>
              <a:cxn ang="0">
                <a:pos x="38" y="68"/>
              </a:cxn>
              <a:cxn ang="0">
                <a:pos x="38" y="68"/>
              </a:cxn>
              <a:cxn ang="0">
                <a:pos x="39" y="67"/>
              </a:cxn>
              <a:cxn ang="0">
                <a:pos x="39" y="63"/>
              </a:cxn>
              <a:cxn ang="0">
                <a:pos x="43" y="56"/>
              </a:cxn>
              <a:cxn ang="0">
                <a:pos x="42" y="55"/>
              </a:cxn>
              <a:cxn ang="0">
                <a:pos x="40" y="52"/>
              </a:cxn>
              <a:cxn ang="0">
                <a:pos x="41" y="50"/>
              </a:cxn>
              <a:cxn ang="0">
                <a:pos x="49" y="44"/>
              </a:cxn>
              <a:cxn ang="0">
                <a:pos x="51" y="42"/>
              </a:cxn>
              <a:cxn ang="0">
                <a:pos x="52" y="39"/>
              </a:cxn>
              <a:cxn ang="0">
                <a:pos x="54" y="37"/>
              </a:cxn>
              <a:cxn ang="0">
                <a:pos x="55" y="34"/>
              </a:cxn>
              <a:cxn ang="0">
                <a:pos x="52" y="34"/>
              </a:cxn>
              <a:cxn ang="0">
                <a:pos x="44" y="31"/>
              </a:cxn>
              <a:cxn ang="0">
                <a:pos x="39" y="20"/>
              </a:cxn>
              <a:cxn ang="0">
                <a:pos x="39" y="12"/>
              </a:cxn>
              <a:cxn ang="0">
                <a:pos x="39" y="12"/>
              </a:cxn>
              <a:cxn ang="0">
                <a:pos x="39" y="9"/>
              </a:cxn>
            </a:cxnLst>
            <a:rect l="0" t="0" r="r" b="b"/>
            <a:pathLst>
              <a:path w="55" h="72">
                <a:moveTo>
                  <a:pt x="39" y="9"/>
                </a:moveTo>
                <a:cubicBezTo>
                  <a:pt x="39" y="9"/>
                  <a:pt x="39" y="9"/>
                  <a:pt x="39" y="9"/>
                </a:cubicBezTo>
                <a:cubicBezTo>
                  <a:pt x="39" y="9"/>
                  <a:pt x="39" y="9"/>
                  <a:pt x="39" y="9"/>
                </a:cubicBezTo>
                <a:cubicBezTo>
                  <a:pt x="37" y="9"/>
                  <a:pt x="37" y="9"/>
                  <a:pt x="37" y="9"/>
                </a:cubicBezTo>
                <a:cubicBezTo>
                  <a:pt x="35" y="9"/>
                  <a:pt x="35" y="9"/>
                  <a:pt x="35" y="9"/>
                </a:cubicBezTo>
                <a:cubicBezTo>
                  <a:pt x="32" y="8"/>
                  <a:pt x="32" y="8"/>
                  <a:pt x="32" y="8"/>
                </a:cubicBezTo>
                <a:cubicBezTo>
                  <a:pt x="30" y="8"/>
                  <a:pt x="30" y="8"/>
                  <a:pt x="30" y="8"/>
                </a:cubicBezTo>
                <a:cubicBezTo>
                  <a:pt x="28" y="9"/>
                  <a:pt x="28" y="9"/>
                  <a:pt x="28" y="9"/>
                </a:cubicBezTo>
                <a:cubicBezTo>
                  <a:pt x="26" y="7"/>
                  <a:pt x="26" y="7"/>
                  <a:pt x="26" y="7"/>
                </a:cubicBezTo>
                <a:cubicBezTo>
                  <a:pt x="24" y="6"/>
                  <a:pt x="24" y="6"/>
                  <a:pt x="24" y="6"/>
                </a:cubicBezTo>
                <a:cubicBezTo>
                  <a:pt x="23" y="4"/>
                  <a:pt x="23" y="4"/>
                  <a:pt x="23" y="4"/>
                </a:cubicBezTo>
                <a:cubicBezTo>
                  <a:pt x="24" y="3"/>
                  <a:pt x="24" y="3"/>
                  <a:pt x="24" y="3"/>
                </a:cubicBezTo>
                <a:cubicBezTo>
                  <a:pt x="23" y="2"/>
                  <a:pt x="23" y="2"/>
                  <a:pt x="23" y="2"/>
                </a:cubicBezTo>
                <a:cubicBezTo>
                  <a:pt x="21" y="2"/>
                  <a:pt x="21" y="2"/>
                  <a:pt x="21" y="2"/>
                </a:cubicBezTo>
                <a:cubicBezTo>
                  <a:pt x="20" y="2"/>
                  <a:pt x="20" y="2"/>
                  <a:pt x="20" y="2"/>
                </a:cubicBezTo>
                <a:cubicBezTo>
                  <a:pt x="17" y="1"/>
                  <a:pt x="17" y="1"/>
                  <a:pt x="17" y="1"/>
                </a:cubicBezTo>
                <a:cubicBezTo>
                  <a:pt x="16" y="1"/>
                  <a:pt x="15" y="1"/>
                  <a:pt x="14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8" y="2"/>
                  <a:pt x="3" y="8"/>
                  <a:pt x="2" y="12"/>
                </a:cubicBezTo>
                <a:cubicBezTo>
                  <a:pt x="1" y="15"/>
                  <a:pt x="1" y="15"/>
                  <a:pt x="1" y="15"/>
                </a:cubicBezTo>
                <a:cubicBezTo>
                  <a:pt x="0" y="17"/>
                  <a:pt x="0" y="17"/>
                  <a:pt x="0" y="17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20"/>
                  <a:pt x="0" y="27"/>
                  <a:pt x="2" y="31"/>
                </a:cubicBezTo>
                <a:cubicBezTo>
                  <a:pt x="4" y="34"/>
                  <a:pt x="7" y="32"/>
                  <a:pt x="9" y="33"/>
                </a:cubicBezTo>
                <a:cubicBezTo>
                  <a:pt x="10" y="35"/>
                  <a:pt x="10" y="35"/>
                  <a:pt x="10" y="35"/>
                </a:cubicBezTo>
                <a:cubicBezTo>
                  <a:pt x="11" y="35"/>
                  <a:pt x="14" y="36"/>
                  <a:pt x="12" y="41"/>
                </a:cubicBezTo>
                <a:cubicBezTo>
                  <a:pt x="13" y="43"/>
                  <a:pt x="13" y="43"/>
                  <a:pt x="13" y="43"/>
                </a:cubicBezTo>
                <a:cubicBezTo>
                  <a:pt x="15" y="45"/>
                  <a:pt x="15" y="45"/>
                  <a:pt x="15" y="45"/>
                </a:cubicBezTo>
                <a:cubicBezTo>
                  <a:pt x="16" y="46"/>
                  <a:pt x="16" y="46"/>
                  <a:pt x="16" y="46"/>
                </a:cubicBezTo>
                <a:cubicBezTo>
                  <a:pt x="16" y="49"/>
                  <a:pt x="17" y="51"/>
                  <a:pt x="18" y="53"/>
                </a:cubicBezTo>
                <a:cubicBezTo>
                  <a:pt x="18" y="57"/>
                  <a:pt x="20" y="59"/>
                  <a:pt x="23" y="63"/>
                </a:cubicBezTo>
                <a:cubicBezTo>
                  <a:pt x="25" y="66"/>
                  <a:pt x="25" y="66"/>
                  <a:pt x="25" y="66"/>
                </a:cubicBezTo>
                <a:cubicBezTo>
                  <a:pt x="27" y="67"/>
                  <a:pt x="27" y="67"/>
                  <a:pt x="27" y="67"/>
                </a:cubicBezTo>
                <a:cubicBezTo>
                  <a:pt x="28" y="69"/>
                  <a:pt x="28" y="69"/>
                  <a:pt x="28" y="69"/>
                </a:cubicBezTo>
                <a:cubicBezTo>
                  <a:pt x="31" y="71"/>
                  <a:pt x="31" y="71"/>
                  <a:pt x="31" y="71"/>
                </a:cubicBezTo>
                <a:cubicBezTo>
                  <a:pt x="31" y="72"/>
                  <a:pt x="31" y="72"/>
                  <a:pt x="31" y="72"/>
                </a:cubicBezTo>
                <a:cubicBezTo>
                  <a:pt x="33" y="72"/>
                  <a:pt x="33" y="72"/>
                  <a:pt x="33" y="72"/>
                </a:cubicBezTo>
                <a:cubicBezTo>
                  <a:pt x="34" y="72"/>
                  <a:pt x="34" y="72"/>
                  <a:pt x="34" y="72"/>
                </a:cubicBezTo>
                <a:cubicBezTo>
                  <a:pt x="36" y="72"/>
                  <a:pt x="36" y="72"/>
                  <a:pt x="36" y="72"/>
                </a:cubicBezTo>
                <a:cubicBezTo>
                  <a:pt x="36" y="71"/>
                  <a:pt x="36" y="71"/>
                  <a:pt x="36" y="71"/>
                </a:cubicBezTo>
                <a:cubicBezTo>
                  <a:pt x="38" y="71"/>
                  <a:pt x="38" y="71"/>
                  <a:pt x="38" y="71"/>
                </a:cubicBezTo>
                <a:cubicBezTo>
                  <a:pt x="38" y="70"/>
                  <a:pt x="38" y="70"/>
                  <a:pt x="38" y="70"/>
                </a:cubicBezTo>
                <a:cubicBezTo>
                  <a:pt x="38" y="68"/>
                  <a:pt x="38" y="68"/>
                  <a:pt x="38" y="68"/>
                </a:cubicBezTo>
                <a:cubicBezTo>
                  <a:pt x="38" y="68"/>
                  <a:pt x="38" y="68"/>
                  <a:pt x="38" y="68"/>
                </a:cubicBezTo>
                <a:cubicBezTo>
                  <a:pt x="39" y="67"/>
                  <a:pt x="39" y="67"/>
                  <a:pt x="39" y="67"/>
                </a:cubicBezTo>
                <a:cubicBezTo>
                  <a:pt x="39" y="66"/>
                  <a:pt x="39" y="65"/>
                  <a:pt x="39" y="63"/>
                </a:cubicBezTo>
                <a:cubicBezTo>
                  <a:pt x="43" y="61"/>
                  <a:pt x="43" y="60"/>
                  <a:pt x="43" y="56"/>
                </a:cubicBezTo>
                <a:cubicBezTo>
                  <a:pt x="43" y="56"/>
                  <a:pt x="42" y="56"/>
                  <a:pt x="42" y="55"/>
                </a:cubicBezTo>
                <a:cubicBezTo>
                  <a:pt x="40" y="52"/>
                  <a:pt x="40" y="52"/>
                  <a:pt x="40" y="52"/>
                </a:cubicBezTo>
                <a:cubicBezTo>
                  <a:pt x="41" y="50"/>
                  <a:pt x="41" y="50"/>
                  <a:pt x="41" y="50"/>
                </a:cubicBezTo>
                <a:cubicBezTo>
                  <a:pt x="44" y="48"/>
                  <a:pt x="46" y="46"/>
                  <a:pt x="49" y="44"/>
                </a:cubicBezTo>
                <a:cubicBezTo>
                  <a:pt x="51" y="42"/>
                  <a:pt x="51" y="42"/>
                  <a:pt x="51" y="42"/>
                </a:cubicBezTo>
                <a:cubicBezTo>
                  <a:pt x="52" y="39"/>
                  <a:pt x="52" y="39"/>
                  <a:pt x="52" y="39"/>
                </a:cubicBezTo>
                <a:cubicBezTo>
                  <a:pt x="54" y="37"/>
                  <a:pt x="54" y="37"/>
                  <a:pt x="54" y="37"/>
                </a:cubicBezTo>
                <a:cubicBezTo>
                  <a:pt x="55" y="34"/>
                  <a:pt x="55" y="34"/>
                  <a:pt x="55" y="34"/>
                </a:cubicBezTo>
                <a:cubicBezTo>
                  <a:pt x="52" y="34"/>
                  <a:pt x="52" y="34"/>
                  <a:pt x="52" y="34"/>
                </a:cubicBezTo>
                <a:cubicBezTo>
                  <a:pt x="48" y="34"/>
                  <a:pt x="46" y="33"/>
                  <a:pt x="44" y="31"/>
                </a:cubicBezTo>
                <a:cubicBezTo>
                  <a:pt x="41" y="27"/>
                  <a:pt x="41" y="23"/>
                  <a:pt x="39" y="20"/>
                </a:cubicBezTo>
                <a:cubicBezTo>
                  <a:pt x="39" y="19"/>
                  <a:pt x="39" y="16"/>
                  <a:pt x="39" y="12"/>
                </a:cubicBezTo>
                <a:cubicBezTo>
                  <a:pt x="39" y="12"/>
                  <a:pt x="39" y="12"/>
                  <a:pt x="39" y="12"/>
                </a:cubicBezTo>
                <a:lnTo>
                  <a:pt x="39" y="9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00" name="Freeform 28"/>
          <p:cNvSpPr>
            <a:spLocks/>
          </p:cNvSpPr>
          <p:nvPr/>
        </p:nvSpPr>
        <p:spPr bwMode="auto">
          <a:xfrm>
            <a:off x="2614613" y="4343400"/>
            <a:ext cx="15875" cy="15875"/>
          </a:xfrm>
          <a:custGeom>
            <a:avLst/>
            <a:gdLst/>
            <a:ahLst/>
            <a:cxnLst>
              <a:cxn ang="0">
                <a:pos x="3" y="0"/>
              </a:cxn>
              <a:cxn ang="0">
                <a:pos x="3" y="3"/>
              </a:cxn>
              <a:cxn ang="0">
                <a:pos x="0" y="7"/>
              </a:cxn>
              <a:cxn ang="0">
                <a:pos x="3" y="10"/>
              </a:cxn>
              <a:cxn ang="0">
                <a:pos x="7" y="10"/>
              </a:cxn>
              <a:cxn ang="0">
                <a:pos x="10" y="3"/>
              </a:cxn>
              <a:cxn ang="0">
                <a:pos x="7" y="0"/>
              </a:cxn>
              <a:cxn ang="0">
                <a:pos x="3" y="0"/>
              </a:cxn>
            </a:cxnLst>
            <a:rect l="0" t="0" r="r" b="b"/>
            <a:pathLst>
              <a:path w="10" h="10">
                <a:moveTo>
                  <a:pt x="3" y="0"/>
                </a:moveTo>
                <a:lnTo>
                  <a:pt x="3" y="3"/>
                </a:lnTo>
                <a:lnTo>
                  <a:pt x="0" y="7"/>
                </a:lnTo>
                <a:lnTo>
                  <a:pt x="3" y="10"/>
                </a:lnTo>
                <a:lnTo>
                  <a:pt x="7" y="10"/>
                </a:lnTo>
                <a:lnTo>
                  <a:pt x="10" y="3"/>
                </a:lnTo>
                <a:lnTo>
                  <a:pt x="7" y="0"/>
                </a:lnTo>
                <a:lnTo>
                  <a:pt x="3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01" name="Freeform 29"/>
          <p:cNvSpPr>
            <a:spLocks/>
          </p:cNvSpPr>
          <p:nvPr/>
        </p:nvSpPr>
        <p:spPr bwMode="auto">
          <a:xfrm>
            <a:off x="2395538" y="4457700"/>
            <a:ext cx="38100" cy="60325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5" y="1"/>
              </a:cxn>
              <a:cxn ang="0">
                <a:pos x="5" y="1"/>
              </a:cxn>
              <a:cxn ang="0">
                <a:pos x="3" y="2"/>
              </a:cxn>
              <a:cxn ang="0">
                <a:pos x="2" y="2"/>
              </a:cxn>
              <a:cxn ang="0">
                <a:pos x="1" y="3"/>
              </a:cxn>
              <a:cxn ang="0">
                <a:pos x="1" y="4"/>
              </a:cxn>
              <a:cxn ang="0">
                <a:pos x="1" y="5"/>
              </a:cxn>
              <a:cxn ang="0">
                <a:pos x="2" y="6"/>
              </a:cxn>
              <a:cxn ang="0">
                <a:pos x="1" y="7"/>
              </a:cxn>
              <a:cxn ang="0">
                <a:pos x="0" y="8"/>
              </a:cxn>
              <a:cxn ang="0">
                <a:pos x="0" y="9"/>
              </a:cxn>
              <a:cxn ang="0">
                <a:pos x="1" y="10"/>
              </a:cxn>
              <a:cxn ang="0">
                <a:pos x="1" y="10"/>
              </a:cxn>
              <a:cxn ang="0">
                <a:pos x="2" y="11"/>
              </a:cxn>
              <a:cxn ang="0">
                <a:pos x="3" y="11"/>
              </a:cxn>
              <a:cxn ang="0">
                <a:pos x="4" y="10"/>
              </a:cxn>
              <a:cxn ang="0">
                <a:pos x="4" y="9"/>
              </a:cxn>
              <a:cxn ang="0">
                <a:pos x="5" y="8"/>
              </a:cxn>
              <a:cxn ang="0">
                <a:pos x="5" y="8"/>
              </a:cxn>
              <a:cxn ang="0">
                <a:pos x="5" y="7"/>
              </a:cxn>
              <a:cxn ang="0">
                <a:pos x="6" y="6"/>
              </a:cxn>
              <a:cxn ang="0">
                <a:pos x="6" y="5"/>
              </a:cxn>
              <a:cxn ang="0">
                <a:pos x="6" y="4"/>
              </a:cxn>
              <a:cxn ang="0">
                <a:pos x="5" y="3"/>
              </a:cxn>
              <a:cxn ang="0">
                <a:pos x="6" y="2"/>
              </a:cxn>
              <a:cxn ang="0">
                <a:pos x="7" y="2"/>
              </a:cxn>
              <a:cxn ang="0">
                <a:pos x="6" y="0"/>
              </a:cxn>
            </a:cxnLst>
            <a:rect l="0" t="0" r="r" b="b"/>
            <a:pathLst>
              <a:path w="7" h="11">
                <a:moveTo>
                  <a:pt x="6" y="0"/>
                </a:moveTo>
                <a:cubicBezTo>
                  <a:pt x="5" y="1"/>
                  <a:pt x="5" y="1"/>
                  <a:pt x="5" y="1"/>
                </a:cubicBezTo>
                <a:cubicBezTo>
                  <a:pt x="5" y="1"/>
                  <a:pt x="5" y="1"/>
                  <a:pt x="5" y="1"/>
                </a:cubicBezTo>
                <a:cubicBezTo>
                  <a:pt x="3" y="2"/>
                  <a:pt x="3" y="2"/>
                  <a:pt x="3" y="2"/>
                </a:cubicBezTo>
                <a:cubicBezTo>
                  <a:pt x="2" y="2"/>
                  <a:pt x="2" y="2"/>
                  <a:pt x="2" y="2"/>
                </a:cubicBezTo>
                <a:cubicBezTo>
                  <a:pt x="1" y="3"/>
                  <a:pt x="1" y="3"/>
                  <a:pt x="1" y="3"/>
                </a:cubicBezTo>
                <a:cubicBezTo>
                  <a:pt x="1" y="3"/>
                  <a:pt x="1" y="4"/>
                  <a:pt x="1" y="4"/>
                </a:cubicBezTo>
                <a:cubicBezTo>
                  <a:pt x="1" y="5"/>
                  <a:pt x="1" y="5"/>
                  <a:pt x="1" y="5"/>
                </a:cubicBezTo>
                <a:cubicBezTo>
                  <a:pt x="2" y="6"/>
                  <a:pt x="2" y="6"/>
                  <a:pt x="2" y="6"/>
                </a:cubicBezTo>
                <a:cubicBezTo>
                  <a:pt x="1" y="7"/>
                  <a:pt x="1" y="7"/>
                  <a:pt x="1" y="7"/>
                </a:cubicBezTo>
                <a:cubicBezTo>
                  <a:pt x="0" y="8"/>
                  <a:pt x="0" y="8"/>
                  <a:pt x="0" y="8"/>
                </a:cubicBezTo>
                <a:cubicBezTo>
                  <a:pt x="0" y="9"/>
                  <a:pt x="0" y="9"/>
                  <a:pt x="0" y="9"/>
                </a:cubicBezTo>
                <a:cubicBezTo>
                  <a:pt x="1" y="10"/>
                  <a:pt x="1" y="10"/>
                  <a:pt x="1" y="10"/>
                </a:cubicBezTo>
                <a:cubicBezTo>
                  <a:pt x="1" y="10"/>
                  <a:pt x="1" y="10"/>
                  <a:pt x="1" y="10"/>
                </a:cubicBezTo>
                <a:cubicBezTo>
                  <a:pt x="2" y="11"/>
                  <a:pt x="2" y="11"/>
                  <a:pt x="2" y="11"/>
                </a:cubicBezTo>
                <a:cubicBezTo>
                  <a:pt x="3" y="11"/>
                  <a:pt x="3" y="11"/>
                  <a:pt x="3" y="11"/>
                </a:cubicBezTo>
                <a:cubicBezTo>
                  <a:pt x="4" y="10"/>
                  <a:pt x="4" y="10"/>
                  <a:pt x="4" y="10"/>
                </a:cubicBezTo>
                <a:cubicBezTo>
                  <a:pt x="4" y="9"/>
                  <a:pt x="4" y="9"/>
                  <a:pt x="4" y="9"/>
                </a:cubicBezTo>
                <a:cubicBezTo>
                  <a:pt x="5" y="8"/>
                  <a:pt x="5" y="8"/>
                  <a:pt x="5" y="8"/>
                </a:cubicBezTo>
                <a:cubicBezTo>
                  <a:pt x="5" y="8"/>
                  <a:pt x="5" y="8"/>
                  <a:pt x="5" y="8"/>
                </a:cubicBezTo>
                <a:cubicBezTo>
                  <a:pt x="5" y="7"/>
                  <a:pt x="5" y="7"/>
                  <a:pt x="5" y="7"/>
                </a:cubicBezTo>
                <a:cubicBezTo>
                  <a:pt x="6" y="6"/>
                  <a:pt x="6" y="6"/>
                  <a:pt x="6" y="6"/>
                </a:cubicBezTo>
                <a:cubicBezTo>
                  <a:pt x="6" y="5"/>
                  <a:pt x="6" y="5"/>
                  <a:pt x="6" y="5"/>
                </a:cubicBezTo>
                <a:cubicBezTo>
                  <a:pt x="6" y="4"/>
                  <a:pt x="6" y="4"/>
                  <a:pt x="6" y="4"/>
                </a:cubicBezTo>
                <a:cubicBezTo>
                  <a:pt x="5" y="3"/>
                  <a:pt x="5" y="3"/>
                  <a:pt x="5" y="3"/>
                </a:cubicBezTo>
                <a:cubicBezTo>
                  <a:pt x="6" y="2"/>
                  <a:pt x="6" y="2"/>
                  <a:pt x="6" y="2"/>
                </a:cubicBezTo>
                <a:cubicBezTo>
                  <a:pt x="7" y="2"/>
                  <a:pt x="7" y="2"/>
                  <a:pt x="7" y="2"/>
                </a:cubicBezTo>
                <a:cubicBezTo>
                  <a:pt x="6" y="0"/>
                  <a:pt x="6" y="0"/>
                  <a:pt x="6" y="0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02" name="Freeform 30"/>
          <p:cNvSpPr>
            <a:spLocks/>
          </p:cNvSpPr>
          <p:nvPr/>
        </p:nvSpPr>
        <p:spPr bwMode="auto">
          <a:xfrm>
            <a:off x="2757488" y="4325938"/>
            <a:ext cx="31750" cy="60325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5" y="1"/>
              </a:cxn>
              <a:cxn ang="0">
                <a:pos x="1" y="6"/>
              </a:cxn>
              <a:cxn ang="0">
                <a:pos x="0" y="9"/>
              </a:cxn>
              <a:cxn ang="0">
                <a:pos x="0" y="10"/>
              </a:cxn>
              <a:cxn ang="0">
                <a:pos x="0" y="10"/>
              </a:cxn>
              <a:cxn ang="0">
                <a:pos x="0" y="11"/>
              </a:cxn>
              <a:cxn ang="0">
                <a:pos x="1" y="11"/>
              </a:cxn>
              <a:cxn ang="0">
                <a:pos x="2" y="11"/>
              </a:cxn>
              <a:cxn ang="0">
                <a:pos x="3" y="11"/>
              </a:cxn>
              <a:cxn ang="0">
                <a:pos x="4" y="9"/>
              </a:cxn>
              <a:cxn ang="0">
                <a:pos x="4" y="8"/>
              </a:cxn>
              <a:cxn ang="0">
                <a:pos x="5" y="6"/>
              </a:cxn>
              <a:cxn ang="0">
                <a:pos x="6" y="4"/>
              </a:cxn>
              <a:cxn ang="0">
                <a:pos x="6" y="3"/>
              </a:cxn>
              <a:cxn ang="0">
                <a:pos x="6" y="2"/>
              </a:cxn>
              <a:cxn ang="0">
                <a:pos x="6" y="1"/>
              </a:cxn>
              <a:cxn ang="0">
                <a:pos x="6" y="0"/>
              </a:cxn>
            </a:cxnLst>
            <a:rect l="0" t="0" r="r" b="b"/>
            <a:pathLst>
              <a:path w="6" h="11">
                <a:moveTo>
                  <a:pt x="6" y="0"/>
                </a:moveTo>
                <a:cubicBezTo>
                  <a:pt x="5" y="1"/>
                  <a:pt x="5" y="1"/>
                  <a:pt x="5" y="1"/>
                </a:cubicBezTo>
                <a:cubicBezTo>
                  <a:pt x="5" y="3"/>
                  <a:pt x="4" y="5"/>
                  <a:pt x="1" y="6"/>
                </a:cubicBezTo>
                <a:cubicBezTo>
                  <a:pt x="0" y="6"/>
                  <a:pt x="0" y="6"/>
                  <a:pt x="0" y="9"/>
                </a:cubicBezTo>
                <a:cubicBezTo>
                  <a:pt x="0" y="9"/>
                  <a:pt x="0" y="9"/>
                  <a:pt x="0" y="10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10"/>
                  <a:pt x="0" y="10"/>
                  <a:pt x="0" y="11"/>
                </a:cubicBezTo>
                <a:cubicBezTo>
                  <a:pt x="1" y="11"/>
                  <a:pt x="1" y="11"/>
                  <a:pt x="1" y="11"/>
                </a:cubicBezTo>
                <a:cubicBezTo>
                  <a:pt x="2" y="11"/>
                  <a:pt x="2" y="11"/>
                  <a:pt x="2" y="11"/>
                </a:cubicBezTo>
                <a:cubicBezTo>
                  <a:pt x="3" y="11"/>
                  <a:pt x="3" y="11"/>
                  <a:pt x="3" y="11"/>
                </a:cubicBezTo>
                <a:cubicBezTo>
                  <a:pt x="4" y="9"/>
                  <a:pt x="4" y="9"/>
                  <a:pt x="4" y="9"/>
                </a:cubicBezTo>
                <a:cubicBezTo>
                  <a:pt x="4" y="8"/>
                  <a:pt x="4" y="8"/>
                  <a:pt x="4" y="8"/>
                </a:cubicBezTo>
                <a:cubicBezTo>
                  <a:pt x="5" y="6"/>
                  <a:pt x="5" y="6"/>
                  <a:pt x="5" y="6"/>
                </a:cubicBezTo>
                <a:cubicBezTo>
                  <a:pt x="6" y="4"/>
                  <a:pt x="6" y="4"/>
                  <a:pt x="6" y="4"/>
                </a:cubicBezTo>
                <a:cubicBezTo>
                  <a:pt x="6" y="4"/>
                  <a:pt x="6" y="3"/>
                  <a:pt x="6" y="3"/>
                </a:cubicBezTo>
                <a:cubicBezTo>
                  <a:pt x="6" y="2"/>
                  <a:pt x="6" y="2"/>
                  <a:pt x="6" y="2"/>
                </a:cubicBezTo>
                <a:cubicBezTo>
                  <a:pt x="6" y="1"/>
                  <a:pt x="6" y="1"/>
                  <a:pt x="6" y="1"/>
                </a:cubicBezTo>
                <a:lnTo>
                  <a:pt x="6" y="0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03" name="Freeform 31"/>
          <p:cNvSpPr>
            <a:spLocks/>
          </p:cNvSpPr>
          <p:nvPr/>
        </p:nvSpPr>
        <p:spPr bwMode="auto">
          <a:xfrm>
            <a:off x="2800350" y="4354513"/>
            <a:ext cx="11113" cy="158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1" y="0"/>
              </a:cxn>
              <a:cxn ang="0">
                <a:pos x="1" y="1"/>
              </a:cxn>
              <a:cxn ang="0">
                <a:pos x="1" y="1"/>
              </a:cxn>
              <a:cxn ang="0">
                <a:pos x="1" y="1"/>
              </a:cxn>
              <a:cxn ang="0">
                <a:pos x="1" y="3"/>
              </a:cxn>
              <a:cxn ang="0">
                <a:pos x="0" y="3"/>
              </a:cxn>
              <a:cxn ang="0">
                <a:pos x="1" y="2"/>
              </a:cxn>
              <a:cxn ang="0">
                <a:pos x="1" y="3"/>
              </a:cxn>
              <a:cxn ang="0">
                <a:pos x="1" y="3"/>
              </a:cxn>
              <a:cxn ang="0">
                <a:pos x="1" y="3"/>
              </a:cxn>
              <a:cxn ang="0">
                <a:pos x="1" y="1"/>
              </a:cxn>
              <a:cxn ang="0">
                <a:pos x="1" y="2"/>
              </a:cxn>
              <a:cxn ang="0">
                <a:pos x="1" y="1"/>
              </a:cxn>
              <a:cxn ang="0">
                <a:pos x="1" y="1"/>
              </a:cxn>
              <a:cxn ang="0">
                <a:pos x="1" y="1"/>
              </a:cxn>
              <a:cxn ang="0">
                <a:pos x="1" y="1"/>
              </a:cxn>
              <a:cxn ang="0">
                <a:pos x="2" y="1"/>
              </a:cxn>
              <a:cxn ang="0">
                <a:pos x="2" y="0"/>
              </a:cxn>
              <a:cxn ang="0">
                <a:pos x="2" y="0"/>
              </a:cxn>
            </a:cxnLst>
            <a:rect l="0" t="0" r="r" b="b"/>
            <a:pathLst>
              <a:path w="2" h="3">
                <a:moveTo>
                  <a:pt x="2" y="0"/>
                </a:moveTo>
                <a:cubicBezTo>
                  <a:pt x="1" y="0"/>
                  <a:pt x="1" y="0"/>
                  <a:pt x="1" y="0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1" y="3"/>
                  <a:pt x="1" y="3"/>
                  <a:pt x="1" y="3"/>
                </a:cubicBezTo>
                <a:cubicBezTo>
                  <a:pt x="0" y="3"/>
                  <a:pt x="0" y="3"/>
                  <a:pt x="0" y="3"/>
                </a:cubicBezTo>
                <a:cubicBezTo>
                  <a:pt x="1" y="2"/>
                  <a:pt x="1" y="2"/>
                  <a:pt x="1" y="2"/>
                </a:cubicBezTo>
                <a:cubicBezTo>
                  <a:pt x="1" y="3"/>
                  <a:pt x="1" y="3"/>
                  <a:pt x="1" y="3"/>
                </a:cubicBezTo>
                <a:cubicBezTo>
                  <a:pt x="1" y="3"/>
                  <a:pt x="1" y="3"/>
                  <a:pt x="1" y="3"/>
                </a:cubicBezTo>
                <a:cubicBezTo>
                  <a:pt x="1" y="3"/>
                  <a:pt x="1" y="3"/>
                  <a:pt x="1" y="3"/>
                </a:cubicBezTo>
                <a:cubicBezTo>
                  <a:pt x="1" y="1"/>
                  <a:pt x="1" y="1"/>
                  <a:pt x="1" y="1"/>
                </a:cubicBezTo>
                <a:cubicBezTo>
                  <a:pt x="1" y="2"/>
                  <a:pt x="1" y="2"/>
                  <a:pt x="1" y="2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2" y="1"/>
                  <a:pt x="2" y="1"/>
                  <a:pt x="2" y="1"/>
                </a:cubicBezTo>
                <a:cubicBezTo>
                  <a:pt x="2" y="0"/>
                  <a:pt x="2" y="0"/>
                  <a:pt x="2" y="0"/>
                </a:cubicBezTo>
                <a:cubicBezTo>
                  <a:pt x="2" y="0"/>
                  <a:pt x="2" y="0"/>
                  <a:pt x="2" y="0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04" name="Freeform 32"/>
          <p:cNvSpPr>
            <a:spLocks/>
          </p:cNvSpPr>
          <p:nvPr/>
        </p:nvSpPr>
        <p:spPr bwMode="auto">
          <a:xfrm>
            <a:off x="2779713" y="4113213"/>
            <a:ext cx="15875" cy="381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1" y="2"/>
              </a:cxn>
              <a:cxn ang="0">
                <a:pos x="1" y="2"/>
              </a:cxn>
              <a:cxn ang="0">
                <a:pos x="1" y="3"/>
              </a:cxn>
              <a:cxn ang="0">
                <a:pos x="1" y="3"/>
              </a:cxn>
              <a:cxn ang="0">
                <a:pos x="1" y="3"/>
              </a:cxn>
              <a:cxn ang="0">
                <a:pos x="2" y="4"/>
              </a:cxn>
              <a:cxn ang="0">
                <a:pos x="2" y="5"/>
              </a:cxn>
              <a:cxn ang="0">
                <a:pos x="2" y="5"/>
              </a:cxn>
              <a:cxn ang="0">
                <a:pos x="2" y="6"/>
              </a:cxn>
              <a:cxn ang="0">
                <a:pos x="2" y="7"/>
              </a:cxn>
              <a:cxn ang="0">
                <a:pos x="2" y="6"/>
              </a:cxn>
              <a:cxn ang="0">
                <a:pos x="3" y="6"/>
              </a:cxn>
              <a:cxn ang="0">
                <a:pos x="3" y="5"/>
              </a:cxn>
              <a:cxn ang="0">
                <a:pos x="3" y="4"/>
              </a:cxn>
              <a:cxn ang="0">
                <a:pos x="0" y="0"/>
              </a:cxn>
            </a:cxnLst>
            <a:rect l="0" t="0" r="r" b="b"/>
            <a:pathLst>
              <a:path w="3" h="7"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"/>
                  <a:pt x="1" y="1"/>
                  <a:pt x="1" y="2"/>
                </a:cubicBezTo>
                <a:cubicBezTo>
                  <a:pt x="1" y="2"/>
                  <a:pt x="1" y="2"/>
                  <a:pt x="1" y="2"/>
                </a:cubicBezTo>
                <a:cubicBezTo>
                  <a:pt x="1" y="3"/>
                  <a:pt x="1" y="3"/>
                  <a:pt x="1" y="3"/>
                </a:cubicBezTo>
                <a:cubicBezTo>
                  <a:pt x="1" y="3"/>
                  <a:pt x="1" y="3"/>
                  <a:pt x="1" y="3"/>
                </a:cubicBezTo>
                <a:cubicBezTo>
                  <a:pt x="1" y="3"/>
                  <a:pt x="1" y="3"/>
                  <a:pt x="1" y="3"/>
                </a:cubicBezTo>
                <a:cubicBezTo>
                  <a:pt x="2" y="4"/>
                  <a:pt x="2" y="4"/>
                  <a:pt x="2" y="4"/>
                </a:cubicBezTo>
                <a:cubicBezTo>
                  <a:pt x="2" y="5"/>
                  <a:pt x="2" y="5"/>
                  <a:pt x="2" y="5"/>
                </a:cubicBezTo>
                <a:cubicBezTo>
                  <a:pt x="2" y="5"/>
                  <a:pt x="2" y="5"/>
                  <a:pt x="2" y="5"/>
                </a:cubicBezTo>
                <a:cubicBezTo>
                  <a:pt x="2" y="6"/>
                  <a:pt x="2" y="6"/>
                  <a:pt x="2" y="6"/>
                </a:cubicBezTo>
                <a:cubicBezTo>
                  <a:pt x="2" y="7"/>
                  <a:pt x="2" y="7"/>
                  <a:pt x="2" y="7"/>
                </a:cubicBezTo>
                <a:cubicBezTo>
                  <a:pt x="2" y="6"/>
                  <a:pt x="2" y="6"/>
                  <a:pt x="2" y="6"/>
                </a:cubicBezTo>
                <a:cubicBezTo>
                  <a:pt x="3" y="6"/>
                  <a:pt x="3" y="6"/>
                  <a:pt x="3" y="6"/>
                </a:cubicBezTo>
                <a:cubicBezTo>
                  <a:pt x="3" y="5"/>
                  <a:pt x="3" y="5"/>
                  <a:pt x="3" y="5"/>
                </a:cubicBezTo>
                <a:cubicBezTo>
                  <a:pt x="3" y="4"/>
                  <a:pt x="3" y="4"/>
                  <a:pt x="3" y="4"/>
                </a:cubicBezTo>
                <a:cubicBezTo>
                  <a:pt x="2" y="2"/>
                  <a:pt x="1" y="1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05" name="Freeform 33"/>
          <p:cNvSpPr>
            <a:spLocks/>
          </p:cNvSpPr>
          <p:nvPr/>
        </p:nvSpPr>
        <p:spPr bwMode="auto">
          <a:xfrm>
            <a:off x="2735263" y="4403725"/>
            <a:ext cx="26987" cy="11113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3" y="1"/>
              </a:cxn>
              <a:cxn ang="0">
                <a:pos x="3" y="1"/>
              </a:cxn>
              <a:cxn ang="0">
                <a:pos x="4" y="1"/>
              </a:cxn>
              <a:cxn ang="0">
                <a:pos x="4" y="1"/>
              </a:cxn>
              <a:cxn ang="0">
                <a:pos x="5" y="1"/>
              </a:cxn>
              <a:cxn ang="0">
                <a:pos x="4" y="1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1" y="0"/>
              </a:cxn>
              <a:cxn ang="0">
                <a:pos x="0" y="1"/>
              </a:cxn>
              <a:cxn ang="0">
                <a:pos x="1" y="2"/>
              </a:cxn>
              <a:cxn ang="0">
                <a:pos x="2" y="2"/>
              </a:cxn>
            </a:cxnLst>
            <a:rect l="0" t="0" r="r" b="b"/>
            <a:pathLst>
              <a:path w="5" h="2">
                <a:moveTo>
                  <a:pt x="2" y="2"/>
                </a:moveTo>
                <a:cubicBezTo>
                  <a:pt x="3" y="1"/>
                  <a:pt x="3" y="1"/>
                  <a:pt x="3" y="1"/>
                </a:cubicBezTo>
                <a:cubicBezTo>
                  <a:pt x="3" y="1"/>
                  <a:pt x="3" y="1"/>
                  <a:pt x="3" y="1"/>
                </a:cubicBezTo>
                <a:cubicBezTo>
                  <a:pt x="3" y="1"/>
                  <a:pt x="4" y="1"/>
                  <a:pt x="4" y="1"/>
                </a:cubicBezTo>
                <a:cubicBezTo>
                  <a:pt x="4" y="1"/>
                  <a:pt x="4" y="1"/>
                  <a:pt x="4" y="1"/>
                </a:cubicBezTo>
                <a:cubicBezTo>
                  <a:pt x="5" y="1"/>
                  <a:pt x="5" y="1"/>
                  <a:pt x="5" y="1"/>
                </a:cubicBezTo>
                <a:cubicBezTo>
                  <a:pt x="4" y="1"/>
                  <a:pt x="4" y="1"/>
                  <a:pt x="4" y="1"/>
                </a:cubicBezTo>
                <a:cubicBezTo>
                  <a:pt x="4" y="0"/>
                  <a:pt x="4" y="0"/>
                  <a:pt x="4" y="0"/>
                </a:cubicBezTo>
                <a:cubicBezTo>
                  <a:pt x="2" y="0"/>
                  <a:pt x="2" y="0"/>
                  <a:pt x="2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1" y="0"/>
                  <a:pt x="1" y="0"/>
                </a:cubicBezTo>
                <a:cubicBezTo>
                  <a:pt x="0" y="1"/>
                  <a:pt x="0" y="1"/>
                  <a:pt x="0" y="1"/>
                </a:cubicBezTo>
                <a:cubicBezTo>
                  <a:pt x="1" y="2"/>
                  <a:pt x="1" y="2"/>
                  <a:pt x="1" y="2"/>
                </a:cubicBezTo>
                <a:lnTo>
                  <a:pt x="2" y="2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06" name="Freeform 34"/>
          <p:cNvSpPr>
            <a:spLocks/>
          </p:cNvSpPr>
          <p:nvPr/>
        </p:nvSpPr>
        <p:spPr bwMode="auto">
          <a:xfrm>
            <a:off x="2701925" y="4354513"/>
            <a:ext cx="38100" cy="49212"/>
          </a:xfrm>
          <a:custGeom>
            <a:avLst/>
            <a:gdLst/>
            <a:ahLst/>
            <a:cxnLst>
              <a:cxn ang="0">
                <a:pos x="24" y="17"/>
              </a:cxn>
              <a:cxn ang="0">
                <a:pos x="21" y="17"/>
              </a:cxn>
              <a:cxn ang="0">
                <a:pos x="21" y="14"/>
              </a:cxn>
              <a:cxn ang="0">
                <a:pos x="17" y="10"/>
              </a:cxn>
              <a:cxn ang="0">
                <a:pos x="14" y="7"/>
              </a:cxn>
              <a:cxn ang="0">
                <a:pos x="7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4" y="7"/>
              </a:cxn>
              <a:cxn ang="0">
                <a:pos x="7" y="10"/>
              </a:cxn>
              <a:cxn ang="0">
                <a:pos x="7" y="17"/>
              </a:cxn>
              <a:cxn ang="0">
                <a:pos x="11" y="24"/>
              </a:cxn>
              <a:cxn ang="0">
                <a:pos x="14" y="27"/>
              </a:cxn>
              <a:cxn ang="0">
                <a:pos x="17" y="31"/>
              </a:cxn>
              <a:cxn ang="0">
                <a:pos x="17" y="31"/>
              </a:cxn>
              <a:cxn ang="0">
                <a:pos x="21" y="31"/>
              </a:cxn>
              <a:cxn ang="0">
                <a:pos x="24" y="20"/>
              </a:cxn>
              <a:cxn ang="0">
                <a:pos x="24" y="17"/>
              </a:cxn>
            </a:cxnLst>
            <a:rect l="0" t="0" r="r" b="b"/>
            <a:pathLst>
              <a:path w="24" h="31">
                <a:moveTo>
                  <a:pt x="24" y="17"/>
                </a:moveTo>
                <a:lnTo>
                  <a:pt x="21" y="17"/>
                </a:lnTo>
                <a:lnTo>
                  <a:pt x="21" y="14"/>
                </a:lnTo>
                <a:lnTo>
                  <a:pt x="17" y="10"/>
                </a:lnTo>
                <a:lnTo>
                  <a:pt x="14" y="7"/>
                </a:lnTo>
                <a:lnTo>
                  <a:pt x="7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4" y="7"/>
                </a:lnTo>
                <a:lnTo>
                  <a:pt x="7" y="10"/>
                </a:lnTo>
                <a:lnTo>
                  <a:pt x="7" y="17"/>
                </a:lnTo>
                <a:lnTo>
                  <a:pt x="11" y="24"/>
                </a:lnTo>
                <a:lnTo>
                  <a:pt x="14" y="27"/>
                </a:lnTo>
                <a:lnTo>
                  <a:pt x="17" y="31"/>
                </a:lnTo>
                <a:lnTo>
                  <a:pt x="17" y="31"/>
                </a:lnTo>
                <a:lnTo>
                  <a:pt x="21" y="31"/>
                </a:lnTo>
                <a:lnTo>
                  <a:pt x="24" y="20"/>
                </a:lnTo>
                <a:lnTo>
                  <a:pt x="24" y="17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07" name="Freeform 35"/>
          <p:cNvSpPr>
            <a:spLocks/>
          </p:cNvSpPr>
          <p:nvPr/>
        </p:nvSpPr>
        <p:spPr bwMode="auto">
          <a:xfrm>
            <a:off x="2208213" y="4008438"/>
            <a:ext cx="576262" cy="361950"/>
          </a:xfrm>
          <a:custGeom>
            <a:avLst/>
            <a:gdLst/>
            <a:ahLst/>
            <a:cxnLst>
              <a:cxn ang="0">
                <a:pos x="92" y="51"/>
              </a:cxn>
              <a:cxn ang="0">
                <a:pos x="93" y="60"/>
              </a:cxn>
              <a:cxn ang="0">
                <a:pos x="96" y="66"/>
              </a:cxn>
              <a:cxn ang="0">
                <a:pos x="94" y="59"/>
              </a:cxn>
              <a:cxn ang="0">
                <a:pos x="97" y="55"/>
              </a:cxn>
              <a:cxn ang="0">
                <a:pos x="101" y="52"/>
              </a:cxn>
              <a:cxn ang="0">
                <a:pos x="101" y="45"/>
              </a:cxn>
              <a:cxn ang="0">
                <a:pos x="104" y="31"/>
              </a:cxn>
              <a:cxn ang="0">
                <a:pos x="99" y="25"/>
              </a:cxn>
              <a:cxn ang="0">
                <a:pos x="98" y="21"/>
              </a:cxn>
              <a:cxn ang="0">
                <a:pos x="101" y="23"/>
              </a:cxn>
              <a:cxn ang="0">
                <a:pos x="101" y="15"/>
              </a:cxn>
              <a:cxn ang="0">
                <a:pos x="101" y="14"/>
              </a:cxn>
              <a:cxn ang="0">
                <a:pos x="98" y="12"/>
              </a:cxn>
              <a:cxn ang="0">
                <a:pos x="95" y="6"/>
              </a:cxn>
              <a:cxn ang="0">
                <a:pos x="94" y="4"/>
              </a:cxn>
              <a:cxn ang="0">
                <a:pos x="101" y="10"/>
              </a:cxn>
              <a:cxn ang="0">
                <a:pos x="96" y="6"/>
              </a:cxn>
              <a:cxn ang="0">
                <a:pos x="94" y="2"/>
              </a:cxn>
              <a:cxn ang="0">
                <a:pos x="94" y="1"/>
              </a:cxn>
              <a:cxn ang="0">
                <a:pos x="91" y="1"/>
              </a:cxn>
              <a:cxn ang="0">
                <a:pos x="88" y="2"/>
              </a:cxn>
              <a:cxn ang="0">
                <a:pos x="80" y="2"/>
              </a:cxn>
              <a:cxn ang="0">
                <a:pos x="73" y="3"/>
              </a:cxn>
              <a:cxn ang="0">
                <a:pos x="64" y="2"/>
              </a:cxn>
              <a:cxn ang="0">
                <a:pos x="60" y="5"/>
              </a:cxn>
              <a:cxn ang="0">
                <a:pos x="62" y="7"/>
              </a:cxn>
              <a:cxn ang="0">
                <a:pos x="58" y="4"/>
              </a:cxn>
              <a:cxn ang="0">
                <a:pos x="48" y="7"/>
              </a:cxn>
              <a:cxn ang="0">
                <a:pos x="45" y="8"/>
              </a:cxn>
              <a:cxn ang="0">
                <a:pos x="47" y="7"/>
              </a:cxn>
              <a:cxn ang="0">
                <a:pos x="27" y="10"/>
              </a:cxn>
              <a:cxn ang="0">
                <a:pos x="28" y="12"/>
              </a:cxn>
              <a:cxn ang="0">
                <a:pos x="30" y="13"/>
              </a:cxn>
              <a:cxn ang="0">
                <a:pos x="25" y="13"/>
              </a:cxn>
              <a:cxn ang="0">
                <a:pos x="14" y="14"/>
              </a:cxn>
              <a:cxn ang="0">
                <a:pos x="11" y="17"/>
              </a:cxn>
              <a:cxn ang="0">
                <a:pos x="4" y="19"/>
              </a:cxn>
              <a:cxn ang="0">
                <a:pos x="11" y="21"/>
              </a:cxn>
              <a:cxn ang="0">
                <a:pos x="18" y="24"/>
              </a:cxn>
              <a:cxn ang="0">
                <a:pos x="20" y="24"/>
              </a:cxn>
              <a:cxn ang="0">
                <a:pos x="19" y="21"/>
              </a:cxn>
              <a:cxn ang="0">
                <a:pos x="21" y="22"/>
              </a:cxn>
              <a:cxn ang="0">
                <a:pos x="21" y="28"/>
              </a:cxn>
              <a:cxn ang="0">
                <a:pos x="25" y="24"/>
              </a:cxn>
              <a:cxn ang="0">
                <a:pos x="28" y="29"/>
              </a:cxn>
              <a:cxn ang="0">
                <a:pos x="29" y="33"/>
              </a:cxn>
              <a:cxn ang="0">
                <a:pos x="30" y="36"/>
              </a:cxn>
              <a:cxn ang="0">
                <a:pos x="52" y="45"/>
              </a:cxn>
              <a:cxn ang="0">
                <a:pos x="45" y="42"/>
              </a:cxn>
              <a:cxn ang="0">
                <a:pos x="44" y="36"/>
              </a:cxn>
              <a:cxn ang="0">
                <a:pos x="51" y="42"/>
              </a:cxn>
              <a:cxn ang="0">
                <a:pos x="64" y="46"/>
              </a:cxn>
              <a:cxn ang="0">
                <a:pos x="72" y="62"/>
              </a:cxn>
              <a:cxn ang="0">
                <a:pos x="76" y="53"/>
              </a:cxn>
            </a:cxnLst>
            <a:rect l="0" t="0" r="r" b="b"/>
            <a:pathLst>
              <a:path w="105" h="66">
                <a:moveTo>
                  <a:pt x="89" y="49"/>
                </a:moveTo>
                <a:cubicBezTo>
                  <a:pt x="90" y="50"/>
                  <a:pt x="90" y="50"/>
                  <a:pt x="90" y="50"/>
                </a:cubicBezTo>
                <a:cubicBezTo>
                  <a:pt x="90" y="51"/>
                  <a:pt x="90" y="51"/>
                  <a:pt x="90" y="51"/>
                </a:cubicBezTo>
                <a:cubicBezTo>
                  <a:pt x="90" y="52"/>
                  <a:pt x="90" y="52"/>
                  <a:pt x="90" y="52"/>
                </a:cubicBezTo>
                <a:cubicBezTo>
                  <a:pt x="91" y="52"/>
                  <a:pt x="91" y="52"/>
                  <a:pt x="91" y="52"/>
                </a:cubicBezTo>
                <a:cubicBezTo>
                  <a:pt x="92" y="51"/>
                  <a:pt x="92" y="51"/>
                  <a:pt x="92" y="51"/>
                </a:cubicBezTo>
                <a:cubicBezTo>
                  <a:pt x="93" y="53"/>
                  <a:pt x="93" y="53"/>
                  <a:pt x="93" y="53"/>
                </a:cubicBezTo>
                <a:cubicBezTo>
                  <a:pt x="93" y="54"/>
                  <a:pt x="93" y="54"/>
                  <a:pt x="93" y="54"/>
                </a:cubicBezTo>
                <a:cubicBezTo>
                  <a:pt x="93" y="54"/>
                  <a:pt x="93" y="54"/>
                  <a:pt x="93" y="54"/>
                </a:cubicBezTo>
                <a:cubicBezTo>
                  <a:pt x="93" y="55"/>
                  <a:pt x="93" y="55"/>
                  <a:pt x="93" y="56"/>
                </a:cubicBezTo>
                <a:cubicBezTo>
                  <a:pt x="93" y="56"/>
                  <a:pt x="93" y="57"/>
                  <a:pt x="93" y="58"/>
                </a:cubicBezTo>
                <a:cubicBezTo>
                  <a:pt x="93" y="60"/>
                  <a:pt x="93" y="60"/>
                  <a:pt x="93" y="60"/>
                </a:cubicBezTo>
                <a:cubicBezTo>
                  <a:pt x="94" y="61"/>
                  <a:pt x="94" y="61"/>
                  <a:pt x="94" y="61"/>
                </a:cubicBezTo>
                <a:cubicBezTo>
                  <a:pt x="94" y="62"/>
                  <a:pt x="94" y="62"/>
                  <a:pt x="94" y="62"/>
                </a:cubicBezTo>
                <a:cubicBezTo>
                  <a:pt x="95" y="63"/>
                  <a:pt x="95" y="63"/>
                  <a:pt x="95" y="63"/>
                </a:cubicBezTo>
                <a:cubicBezTo>
                  <a:pt x="95" y="64"/>
                  <a:pt x="95" y="64"/>
                  <a:pt x="95" y="64"/>
                </a:cubicBezTo>
                <a:cubicBezTo>
                  <a:pt x="96" y="66"/>
                  <a:pt x="96" y="66"/>
                  <a:pt x="96" y="66"/>
                </a:cubicBezTo>
                <a:cubicBezTo>
                  <a:pt x="96" y="66"/>
                  <a:pt x="96" y="66"/>
                  <a:pt x="96" y="66"/>
                </a:cubicBezTo>
                <a:cubicBezTo>
                  <a:pt x="97" y="66"/>
                  <a:pt x="97" y="66"/>
                  <a:pt x="97" y="66"/>
                </a:cubicBezTo>
                <a:cubicBezTo>
                  <a:pt x="97" y="64"/>
                  <a:pt x="97" y="64"/>
                  <a:pt x="97" y="64"/>
                </a:cubicBezTo>
                <a:cubicBezTo>
                  <a:pt x="97" y="62"/>
                  <a:pt x="97" y="62"/>
                  <a:pt x="97" y="62"/>
                </a:cubicBezTo>
                <a:cubicBezTo>
                  <a:pt x="96" y="61"/>
                  <a:pt x="96" y="61"/>
                  <a:pt x="96" y="61"/>
                </a:cubicBezTo>
                <a:cubicBezTo>
                  <a:pt x="95" y="59"/>
                  <a:pt x="95" y="59"/>
                  <a:pt x="95" y="59"/>
                </a:cubicBezTo>
                <a:cubicBezTo>
                  <a:pt x="94" y="59"/>
                  <a:pt x="94" y="59"/>
                  <a:pt x="94" y="59"/>
                </a:cubicBezTo>
                <a:cubicBezTo>
                  <a:pt x="94" y="57"/>
                  <a:pt x="94" y="57"/>
                  <a:pt x="94" y="57"/>
                </a:cubicBezTo>
                <a:cubicBezTo>
                  <a:pt x="94" y="56"/>
                  <a:pt x="94" y="56"/>
                  <a:pt x="94" y="56"/>
                </a:cubicBezTo>
                <a:cubicBezTo>
                  <a:pt x="95" y="54"/>
                  <a:pt x="95" y="54"/>
                  <a:pt x="95" y="54"/>
                </a:cubicBezTo>
                <a:cubicBezTo>
                  <a:pt x="95" y="54"/>
                  <a:pt x="95" y="54"/>
                  <a:pt x="95" y="54"/>
                </a:cubicBezTo>
                <a:cubicBezTo>
                  <a:pt x="96" y="55"/>
                  <a:pt x="96" y="55"/>
                  <a:pt x="96" y="55"/>
                </a:cubicBezTo>
                <a:cubicBezTo>
                  <a:pt x="97" y="55"/>
                  <a:pt x="97" y="55"/>
                  <a:pt x="97" y="55"/>
                </a:cubicBezTo>
                <a:cubicBezTo>
                  <a:pt x="98" y="56"/>
                  <a:pt x="98" y="56"/>
                  <a:pt x="98" y="56"/>
                </a:cubicBezTo>
                <a:cubicBezTo>
                  <a:pt x="98" y="58"/>
                  <a:pt x="98" y="58"/>
                  <a:pt x="98" y="58"/>
                </a:cubicBezTo>
                <a:cubicBezTo>
                  <a:pt x="99" y="57"/>
                  <a:pt x="99" y="57"/>
                  <a:pt x="99" y="57"/>
                </a:cubicBezTo>
                <a:cubicBezTo>
                  <a:pt x="100" y="56"/>
                  <a:pt x="100" y="56"/>
                  <a:pt x="100" y="56"/>
                </a:cubicBezTo>
                <a:cubicBezTo>
                  <a:pt x="101" y="54"/>
                  <a:pt x="101" y="54"/>
                  <a:pt x="101" y="54"/>
                </a:cubicBezTo>
                <a:cubicBezTo>
                  <a:pt x="101" y="52"/>
                  <a:pt x="101" y="52"/>
                  <a:pt x="101" y="52"/>
                </a:cubicBezTo>
                <a:cubicBezTo>
                  <a:pt x="100" y="50"/>
                  <a:pt x="100" y="50"/>
                  <a:pt x="100" y="50"/>
                </a:cubicBezTo>
                <a:cubicBezTo>
                  <a:pt x="99" y="48"/>
                  <a:pt x="99" y="48"/>
                  <a:pt x="99" y="48"/>
                </a:cubicBezTo>
                <a:cubicBezTo>
                  <a:pt x="98" y="47"/>
                  <a:pt x="98" y="47"/>
                  <a:pt x="98" y="47"/>
                </a:cubicBezTo>
                <a:cubicBezTo>
                  <a:pt x="99" y="45"/>
                  <a:pt x="99" y="45"/>
                  <a:pt x="99" y="45"/>
                </a:cubicBezTo>
                <a:cubicBezTo>
                  <a:pt x="100" y="44"/>
                  <a:pt x="100" y="44"/>
                  <a:pt x="100" y="44"/>
                </a:cubicBezTo>
                <a:cubicBezTo>
                  <a:pt x="101" y="45"/>
                  <a:pt x="101" y="45"/>
                  <a:pt x="101" y="45"/>
                </a:cubicBezTo>
                <a:cubicBezTo>
                  <a:pt x="102" y="42"/>
                  <a:pt x="102" y="42"/>
                  <a:pt x="102" y="42"/>
                </a:cubicBezTo>
                <a:cubicBezTo>
                  <a:pt x="103" y="42"/>
                  <a:pt x="103" y="42"/>
                  <a:pt x="103" y="42"/>
                </a:cubicBezTo>
                <a:cubicBezTo>
                  <a:pt x="104" y="40"/>
                  <a:pt x="104" y="40"/>
                  <a:pt x="104" y="40"/>
                </a:cubicBezTo>
                <a:cubicBezTo>
                  <a:pt x="105" y="36"/>
                  <a:pt x="105" y="36"/>
                  <a:pt x="105" y="36"/>
                </a:cubicBezTo>
                <a:cubicBezTo>
                  <a:pt x="104" y="32"/>
                  <a:pt x="104" y="32"/>
                  <a:pt x="104" y="32"/>
                </a:cubicBezTo>
                <a:cubicBezTo>
                  <a:pt x="104" y="31"/>
                  <a:pt x="104" y="31"/>
                  <a:pt x="104" y="31"/>
                </a:cubicBezTo>
                <a:cubicBezTo>
                  <a:pt x="103" y="30"/>
                  <a:pt x="103" y="30"/>
                  <a:pt x="103" y="30"/>
                </a:cubicBezTo>
                <a:cubicBezTo>
                  <a:pt x="101" y="27"/>
                  <a:pt x="101" y="27"/>
                  <a:pt x="101" y="27"/>
                </a:cubicBezTo>
                <a:cubicBezTo>
                  <a:pt x="101" y="26"/>
                  <a:pt x="101" y="26"/>
                  <a:pt x="101" y="26"/>
                </a:cubicBezTo>
                <a:cubicBezTo>
                  <a:pt x="101" y="25"/>
                  <a:pt x="101" y="25"/>
                  <a:pt x="101" y="25"/>
                </a:cubicBezTo>
                <a:cubicBezTo>
                  <a:pt x="100" y="25"/>
                  <a:pt x="100" y="25"/>
                  <a:pt x="100" y="25"/>
                </a:cubicBezTo>
                <a:cubicBezTo>
                  <a:pt x="99" y="25"/>
                  <a:pt x="99" y="25"/>
                  <a:pt x="99" y="25"/>
                </a:cubicBezTo>
                <a:cubicBezTo>
                  <a:pt x="98" y="25"/>
                  <a:pt x="98" y="25"/>
                  <a:pt x="98" y="25"/>
                </a:cubicBezTo>
                <a:cubicBezTo>
                  <a:pt x="98" y="24"/>
                  <a:pt x="98" y="24"/>
                  <a:pt x="98" y="24"/>
                </a:cubicBezTo>
                <a:cubicBezTo>
                  <a:pt x="98" y="24"/>
                  <a:pt x="98" y="24"/>
                  <a:pt x="98" y="24"/>
                </a:cubicBezTo>
                <a:cubicBezTo>
                  <a:pt x="98" y="23"/>
                  <a:pt x="98" y="23"/>
                  <a:pt x="98" y="23"/>
                </a:cubicBezTo>
                <a:cubicBezTo>
                  <a:pt x="98" y="21"/>
                  <a:pt x="98" y="21"/>
                  <a:pt x="98" y="21"/>
                </a:cubicBezTo>
                <a:cubicBezTo>
                  <a:pt x="98" y="21"/>
                  <a:pt x="98" y="21"/>
                  <a:pt x="98" y="21"/>
                </a:cubicBezTo>
                <a:cubicBezTo>
                  <a:pt x="98" y="21"/>
                  <a:pt x="98" y="22"/>
                  <a:pt x="99" y="22"/>
                </a:cubicBezTo>
                <a:cubicBezTo>
                  <a:pt x="99" y="23"/>
                  <a:pt x="99" y="23"/>
                  <a:pt x="99" y="23"/>
                </a:cubicBezTo>
                <a:cubicBezTo>
                  <a:pt x="99" y="23"/>
                  <a:pt x="99" y="23"/>
                  <a:pt x="99" y="23"/>
                </a:cubicBezTo>
                <a:cubicBezTo>
                  <a:pt x="100" y="22"/>
                  <a:pt x="100" y="22"/>
                  <a:pt x="100" y="22"/>
                </a:cubicBezTo>
                <a:cubicBezTo>
                  <a:pt x="101" y="22"/>
                  <a:pt x="101" y="22"/>
                  <a:pt x="101" y="22"/>
                </a:cubicBezTo>
                <a:cubicBezTo>
                  <a:pt x="101" y="23"/>
                  <a:pt x="101" y="23"/>
                  <a:pt x="101" y="23"/>
                </a:cubicBezTo>
                <a:cubicBezTo>
                  <a:pt x="101" y="24"/>
                  <a:pt x="101" y="24"/>
                  <a:pt x="104" y="26"/>
                </a:cubicBezTo>
                <a:cubicBezTo>
                  <a:pt x="104" y="26"/>
                  <a:pt x="104" y="26"/>
                  <a:pt x="104" y="26"/>
                </a:cubicBezTo>
                <a:cubicBezTo>
                  <a:pt x="103" y="23"/>
                  <a:pt x="101" y="22"/>
                  <a:pt x="100" y="19"/>
                </a:cubicBezTo>
                <a:cubicBezTo>
                  <a:pt x="101" y="18"/>
                  <a:pt x="101" y="18"/>
                  <a:pt x="101" y="18"/>
                </a:cubicBezTo>
                <a:cubicBezTo>
                  <a:pt x="101" y="19"/>
                  <a:pt x="101" y="19"/>
                  <a:pt x="101" y="19"/>
                </a:cubicBezTo>
                <a:cubicBezTo>
                  <a:pt x="101" y="18"/>
                  <a:pt x="101" y="16"/>
                  <a:pt x="101" y="15"/>
                </a:cubicBezTo>
                <a:cubicBezTo>
                  <a:pt x="100" y="14"/>
                  <a:pt x="100" y="14"/>
                  <a:pt x="100" y="14"/>
                </a:cubicBezTo>
                <a:cubicBezTo>
                  <a:pt x="99" y="13"/>
                  <a:pt x="99" y="13"/>
                  <a:pt x="99" y="13"/>
                </a:cubicBezTo>
                <a:cubicBezTo>
                  <a:pt x="102" y="15"/>
                  <a:pt x="102" y="15"/>
                  <a:pt x="102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2" y="15"/>
                  <a:pt x="102" y="15"/>
                  <a:pt x="102" y="15"/>
                </a:cubicBezTo>
                <a:cubicBezTo>
                  <a:pt x="101" y="14"/>
                  <a:pt x="101" y="14"/>
                  <a:pt x="101" y="14"/>
                </a:cubicBezTo>
                <a:cubicBezTo>
                  <a:pt x="100" y="12"/>
                  <a:pt x="100" y="12"/>
                  <a:pt x="100" y="12"/>
                </a:cubicBezTo>
                <a:cubicBezTo>
                  <a:pt x="97" y="10"/>
                  <a:pt x="97" y="10"/>
                  <a:pt x="97" y="10"/>
                </a:cubicBezTo>
                <a:cubicBezTo>
                  <a:pt x="96" y="10"/>
                  <a:pt x="96" y="10"/>
                  <a:pt x="96" y="10"/>
                </a:cubicBezTo>
                <a:cubicBezTo>
                  <a:pt x="96" y="10"/>
                  <a:pt x="96" y="10"/>
                  <a:pt x="96" y="10"/>
                </a:cubicBezTo>
                <a:cubicBezTo>
                  <a:pt x="98" y="12"/>
                  <a:pt x="98" y="12"/>
                  <a:pt x="98" y="12"/>
                </a:cubicBezTo>
                <a:cubicBezTo>
                  <a:pt x="98" y="12"/>
                  <a:pt x="98" y="12"/>
                  <a:pt x="98" y="12"/>
                </a:cubicBezTo>
                <a:cubicBezTo>
                  <a:pt x="96" y="10"/>
                  <a:pt x="96" y="10"/>
                  <a:pt x="96" y="10"/>
                </a:cubicBezTo>
                <a:cubicBezTo>
                  <a:pt x="95" y="10"/>
                  <a:pt x="95" y="10"/>
                  <a:pt x="95" y="10"/>
                </a:cubicBezTo>
                <a:cubicBezTo>
                  <a:pt x="95" y="11"/>
                  <a:pt x="95" y="11"/>
                  <a:pt x="95" y="11"/>
                </a:cubicBezTo>
                <a:cubicBezTo>
                  <a:pt x="92" y="8"/>
                  <a:pt x="92" y="8"/>
                  <a:pt x="92" y="8"/>
                </a:cubicBezTo>
                <a:cubicBezTo>
                  <a:pt x="92" y="8"/>
                  <a:pt x="92" y="8"/>
                  <a:pt x="92" y="8"/>
                </a:cubicBezTo>
                <a:cubicBezTo>
                  <a:pt x="93" y="7"/>
                  <a:pt x="93" y="6"/>
                  <a:pt x="95" y="6"/>
                </a:cubicBezTo>
                <a:cubicBezTo>
                  <a:pt x="95" y="6"/>
                  <a:pt x="95" y="6"/>
                  <a:pt x="95" y="6"/>
                </a:cubicBezTo>
                <a:cubicBezTo>
                  <a:pt x="94" y="6"/>
                  <a:pt x="94" y="6"/>
                  <a:pt x="94" y="6"/>
                </a:cubicBezTo>
                <a:cubicBezTo>
                  <a:pt x="94" y="5"/>
                  <a:pt x="94" y="5"/>
                  <a:pt x="94" y="5"/>
                </a:cubicBezTo>
                <a:cubicBezTo>
                  <a:pt x="94" y="5"/>
                  <a:pt x="94" y="5"/>
                  <a:pt x="94" y="5"/>
                </a:cubicBezTo>
                <a:cubicBezTo>
                  <a:pt x="94" y="5"/>
                  <a:pt x="94" y="5"/>
                  <a:pt x="94" y="5"/>
                </a:cubicBezTo>
                <a:cubicBezTo>
                  <a:pt x="94" y="4"/>
                  <a:pt x="94" y="4"/>
                  <a:pt x="94" y="4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6"/>
                  <a:pt x="96" y="6"/>
                  <a:pt x="96" y="6"/>
                </a:cubicBezTo>
                <a:cubicBezTo>
                  <a:pt x="97" y="7"/>
                  <a:pt x="97" y="7"/>
                  <a:pt x="97" y="7"/>
                </a:cubicBezTo>
                <a:cubicBezTo>
                  <a:pt x="98" y="8"/>
                  <a:pt x="99" y="9"/>
                  <a:pt x="100" y="10"/>
                </a:cubicBezTo>
                <a:cubicBezTo>
                  <a:pt x="101" y="10"/>
                  <a:pt x="101" y="10"/>
                  <a:pt x="101" y="10"/>
                </a:cubicBezTo>
                <a:cubicBezTo>
                  <a:pt x="101" y="10"/>
                  <a:pt x="101" y="10"/>
                  <a:pt x="101" y="10"/>
                </a:cubicBezTo>
                <a:cubicBezTo>
                  <a:pt x="100" y="9"/>
                  <a:pt x="100" y="9"/>
                  <a:pt x="100" y="9"/>
                </a:cubicBezTo>
                <a:cubicBezTo>
                  <a:pt x="100" y="9"/>
                  <a:pt x="100" y="8"/>
                  <a:pt x="99" y="8"/>
                </a:cubicBezTo>
                <a:cubicBezTo>
                  <a:pt x="99" y="8"/>
                  <a:pt x="99" y="8"/>
                  <a:pt x="99" y="8"/>
                </a:cubicBezTo>
                <a:cubicBezTo>
                  <a:pt x="98" y="7"/>
                  <a:pt x="98" y="7"/>
                  <a:pt x="98" y="7"/>
                </a:cubicBezTo>
                <a:cubicBezTo>
                  <a:pt x="98" y="6"/>
                  <a:pt x="98" y="6"/>
                  <a:pt x="98" y="6"/>
                </a:cubicBezTo>
                <a:cubicBezTo>
                  <a:pt x="96" y="6"/>
                  <a:pt x="96" y="6"/>
                  <a:pt x="96" y="6"/>
                </a:cubicBezTo>
                <a:cubicBezTo>
                  <a:pt x="96" y="5"/>
                  <a:pt x="96" y="5"/>
                  <a:pt x="96" y="5"/>
                </a:cubicBezTo>
                <a:cubicBezTo>
                  <a:pt x="96" y="4"/>
                  <a:pt x="96" y="4"/>
                  <a:pt x="96" y="4"/>
                </a:cubicBezTo>
                <a:cubicBezTo>
                  <a:pt x="96" y="4"/>
                  <a:pt x="96" y="4"/>
                  <a:pt x="96" y="4"/>
                </a:cubicBezTo>
                <a:cubicBezTo>
                  <a:pt x="96" y="4"/>
                  <a:pt x="96" y="4"/>
                  <a:pt x="96" y="4"/>
                </a:cubicBezTo>
                <a:cubicBezTo>
                  <a:pt x="95" y="3"/>
                  <a:pt x="95" y="3"/>
                  <a:pt x="95" y="3"/>
                </a:cubicBezTo>
                <a:cubicBezTo>
                  <a:pt x="94" y="2"/>
                  <a:pt x="94" y="2"/>
                  <a:pt x="94" y="2"/>
                </a:cubicBezTo>
                <a:cubicBezTo>
                  <a:pt x="94" y="2"/>
                  <a:pt x="94" y="2"/>
                  <a:pt x="94" y="2"/>
                </a:cubicBezTo>
                <a:cubicBezTo>
                  <a:pt x="93" y="1"/>
                  <a:pt x="93" y="1"/>
                  <a:pt x="93" y="1"/>
                </a:cubicBezTo>
                <a:cubicBezTo>
                  <a:pt x="94" y="2"/>
                  <a:pt x="94" y="2"/>
                  <a:pt x="94" y="2"/>
                </a:cubicBezTo>
                <a:cubicBezTo>
                  <a:pt x="94" y="2"/>
                  <a:pt x="94" y="2"/>
                  <a:pt x="94" y="2"/>
                </a:cubicBezTo>
                <a:cubicBezTo>
                  <a:pt x="94" y="1"/>
                  <a:pt x="94" y="1"/>
                  <a:pt x="94" y="1"/>
                </a:cubicBezTo>
                <a:cubicBezTo>
                  <a:pt x="94" y="1"/>
                  <a:pt x="94" y="1"/>
                  <a:pt x="94" y="1"/>
                </a:cubicBezTo>
                <a:cubicBezTo>
                  <a:pt x="93" y="1"/>
                  <a:pt x="93" y="1"/>
                  <a:pt x="93" y="1"/>
                </a:cubicBezTo>
                <a:cubicBezTo>
                  <a:pt x="93" y="0"/>
                  <a:pt x="93" y="0"/>
                  <a:pt x="93" y="0"/>
                </a:cubicBezTo>
                <a:cubicBezTo>
                  <a:pt x="92" y="0"/>
                  <a:pt x="92" y="0"/>
                  <a:pt x="92" y="0"/>
                </a:cubicBezTo>
                <a:cubicBezTo>
                  <a:pt x="92" y="1"/>
                  <a:pt x="92" y="1"/>
                  <a:pt x="92" y="1"/>
                </a:cubicBezTo>
                <a:cubicBezTo>
                  <a:pt x="91" y="1"/>
                  <a:pt x="91" y="1"/>
                  <a:pt x="91" y="1"/>
                </a:cubicBezTo>
                <a:cubicBezTo>
                  <a:pt x="91" y="1"/>
                  <a:pt x="91" y="1"/>
                  <a:pt x="91" y="1"/>
                </a:cubicBezTo>
                <a:cubicBezTo>
                  <a:pt x="90" y="1"/>
                  <a:pt x="90" y="1"/>
                  <a:pt x="90" y="1"/>
                </a:cubicBezTo>
                <a:cubicBezTo>
                  <a:pt x="89" y="1"/>
                  <a:pt x="89" y="1"/>
                  <a:pt x="89" y="1"/>
                </a:cubicBezTo>
                <a:cubicBezTo>
                  <a:pt x="89" y="1"/>
                  <a:pt x="89" y="1"/>
                  <a:pt x="89" y="1"/>
                </a:cubicBezTo>
                <a:cubicBezTo>
                  <a:pt x="89" y="1"/>
                  <a:pt x="89" y="1"/>
                  <a:pt x="89" y="1"/>
                </a:cubicBezTo>
                <a:cubicBezTo>
                  <a:pt x="89" y="1"/>
                  <a:pt x="88" y="1"/>
                  <a:pt x="88" y="2"/>
                </a:cubicBezTo>
                <a:cubicBezTo>
                  <a:pt x="88" y="2"/>
                  <a:pt x="88" y="2"/>
                  <a:pt x="88" y="2"/>
                </a:cubicBezTo>
                <a:cubicBezTo>
                  <a:pt x="87" y="2"/>
                  <a:pt x="87" y="2"/>
                  <a:pt x="87" y="2"/>
                </a:cubicBezTo>
                <a:cubicBezTo>
                  <a:pt x="86" y="2"/>
                  <a:pt x="86" y="2"/>
                  <a:pt x="86" y="2"/>
                </a:cubicBezTo>
                <a:cubicBezTo>
                  <a:pt x="84" y="1"/>
                  <a:pt x="83" y="2"/>
                  <a:pt x="81" y="1"/>
                </a:cubicBezTo>
                <a:cubicBezTo>
                  <a:pt x="80" y="1"/>
                  <a:pt x="80" y="1"/>
                  <a:pt x="80" y="1"/>
                </a:cubicBezTo>
                <a:cubicBezTo>
                  <a:pt x="80" y="1"/>
                  <a:pt x="79" y="1"/>
                  <a:pt x="79" y="1"/>
                </a:cubicBezTo>
                <a:cubicBezTo>
                  <a:pt x="80" y="2"/>
                  <a:pt x="80" y="2"/>
                  <a:pt x="80" y="2"/>
                </a:cubicBezTo>
                <a:cubicBezTo>
                  <a:pt x="78" y="3"/>
                  <a:pt x="78" y="3"/>
                  <a:pt x="78" y="3"/>
                </a:cubicBezTo>
                <a:cubicBezTo>
                  <a:pt x="77" y="2"/>
                  <a:pt x="77" y="2"/>
                  <a:pt x="77" y="2"/>
                </a:cubicBezTo>
                <a:cubicBezTo>
                  <a:pt x="76" y="3"/>
                  <a:pt x="76" y="3"/>
                  <a:pt x="76" y="3"/>
                </a:cubicBezTo>
                <a:cubicBezTo>
                  <a:pt x="75" y="3"/>
                  <a:pt x="75" y="3"/>
                  <a:pt x="75" y="3"/>
                </a:cubicBezTo>
                <a:cubicBezTo>
                  <a:pt x="74" y="3"/>
                  <a:pt x="74" y="3"/>
                  <a:pt x="74" y="3"/>
                </a:cubicBezTo>
                <a:cubicBezTo>
                  <a:pt x="73" y="3"/>
                  <a:pt x="73" y="3"/>
                  <a:pt x="73" y="3"/>
                </a:cubicBezTo>
                <a:cubicBezTo>
                  <a:pt x="71" y="3"/>
                  <a:pt x="71" y="3"/>
                  <a:pt x="71" y="3"/>
                </a:cubicBezTo>
                <a:cubicBezTo>
                  <a:pt x="70" y="2"/>
                  <a:pt x="70" y="2"/>
                  <a:pt x="70" y="2"/>
                </a:cubicBezTo>
                <a:cubicBezTo>
                  <a:pt x="69" y="3"/>
                  <a:pt x="69" y="3"/>
                  <a:pt x="69" y="3"/>
                </a:cubicBezTo>
                <a:cubicBezTo>
                  <a:pt x="69" y="2"/>
                  <a:pt x="69" y="2"/>
                  <a:pt x="68" y="1"/>
                </a:cubicBezTo>
                <a:cubicBezTo>
                  <a:pt x="66" y="1"/>
                  <a:pt x="66" y="1"/>
                  <a:pt x="66" y="1"/>
                </a:cubicBezTo>
                <a:cubicBezTo>
                  <a:pt x="64" y="2"/>
                  <a:pt x="64" y="2"/>
                  <a:pt x="64" y="2"/>
                </a:cubicBezTo>
                <a:cubicBezTo>
                  <a:pt x="62" y="3"/>
                  <a:pt x="62" y="3"/>
                  <a:pt x="62" y="3"/>
                </a:cubicBezTo>
                <a:cubicBezTo>
                  <a:pt x="63" y="3"/>
                  <a:pt x="63" y="3"/>
                  <a:pt x="63" y="3"/>
                </a:cubicBezTo>
                <a:cubicBezTo>
                  <a:pt x="61" y="3"/>
                  <a:pt x="61" y="3"/>
                  <a:pt x="61" y="3"/>
                </a:cubicBezTo>
                <a:cubicBezTo>
                  <a:pt x="60" y="4"/>
                  <a:pt x="60" y="4"/>
                  <a:pt x="60" y="4"/>
                </a:cubicBezTo>
                <a:cubicBezTo>
                  <a:pt x="61" y="4"/>
                  <a:pt x="61" y="4"/>
                  <a:pt x="61" y="4"/>
                </a:cubicBezTo>
                <a:cubicBezTo>
                  <a:pt x="60" y="5"/>
                  <a:pt x="60" y="5"/>
                  <a:pt x="60" y="5"/>
                </a:cubicBezTo>
                <a:cubicBezTo>
                  <a:pt x="60" y="4"/>
                  <a:pt x="60" y="4"/>
                  <a:pt x="60" y="4"/>
                </a:cubicBezTo>
                <a:cubicBezTo>
                  <a:pt x="60" y="4"/>
                  <a:pt x="60" y="4"/>
                  <a:pt x="60" y="4"/>
                </a:cubicBezTo>
                <a:cubicBezTo>
                  <a:pt x="60" y="5"/>
                  <a:pt x="60" y="5"/>
                  <a:pt x="60" y="5"/>
                </a:cubicBezTo>
                <a:cubicBezTo>
                  <a:pt x="61" y="6"/>
                  <a:pt x="61" y="6"/>
                  <a:pt x="61" y="6"/>
                </a:cubicBezTo>
                <a:cubicBezTo>
                  <a:pt x="63" y="7"/>
                  <a:pt x="63" y="7"/>
                  <a:pt x="63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0" y="6"/>
                  <a:pt x="60" y="6"/>
                  <a:pt x="60" y="6"/>
                </a:cubicBezTo>
                <a:cubicBezTo>
                  <a:pt x="59" y="7"/>
                  <a:pt x="59" y="7"/>
                  <a:pt x="59" y="7"/>
                </a:cubicBezTo>
                <a:cubicBezTo>
                  <a:pt x="58" y="7"/>
                  <a:pt x="58" y="7"/>
                  <a:pt x="58" y="7"/>
                </a:cubicBezTo>
                <a:cubicBezTo>
                  <a:pt x="59" y="6"/>
                  <a:pt x="59" y="6"/>
                  <a:pt x="59" y="6"/>
                </a:cubicBezTo>
                <a:cubicBezTo>
                  <a:pt x="58" y="4"/>
                  <a:pt x="58" y="4"/>
                  <a:pt x="58" y="4"/>
                </a:cubicBezTo>
                <a:cubicBezTo>
                  <a:pt x="58" y="4"/>
                  <a:pt x="58" y="4"/>
                  <a:pt x="58" y="4"/>
                </a:cubicBezTo>
                <a:cubicBezTo>
                  <a:pt x="57" y="6"/>
                  <a:pt x="57" y="6"/>
                  <a:pt x="57" y="6"/>
                </a:cubicBezTo>
                <a:cubicBezTo>
                  <a:pt x="54" y="5"/>
                  <a:pt x="54" y="5"/>
                  <a:pt x="54" y="5"/>
                </a:cubicBezTo>
                <a:cubicBezTo>
                  <a:pt x="53" y="6"/>
                  <a:pt x="53" y="6"/>
                  <a:pt x="53" y="6"/>
                </a:cubicBezTo>
                <a:cubicBezTo>
                  <a:pt x="53" y="6"/>
                  <a:pt x="53" y="6"/>
                  <a:pt x="53" y="6"/>
                </a:cubicBezTo>
                <a:cubicBezTo>
                  <a:pt x="50" y="6"/>
                  <a:pt x="50" y="6"/>
                  <a:pt x="50" y="6"/>
                </a:cubicBezTo>
                <a:cubicBezTo>
                  <a:pt x="48" y="7"/>
                  <a:pt x="48" y="7"/>
                  <a:pt x="48" y="7"/>
                </a:cubicBezTo>
                <a:cubicBezTo>
                  <a:pt x="49" y="6"/>
                  <a:pt x="49" y="6"/>
                  <a:pt x="49" y="6"/>
                </a:cubicBezTo>
                <a:cubicBezTo>
                  <a:pt x="48" y="6"/>
                  <a:pt x="48" y="6"/>
                  <a:pt x="48" y="6"/>
                </a:cubicBezTo>
                <a:cubicBezTo>
                  <a:pt x="48" y="7"/>
                  <a:pt x="48" y="7"/>
                  <a:pt x="48" y="7"/>
                </a:cubicBezTo>
                <a:cubicBezTo>
                  <a:pt x="47" y="7"/>
                  <a:pt x="47" y="7"/>
                  <a:pt x="47" y="7"/>
                </a:cubicBezTo>
                <a:cubicBezTo>
                  <a:pt x="47" y="7"/>
                  <a:pt x="47" y="7"/>
                  <a:pt x="47" y="7"/>
                </a:cubicBezTo>
                <a:cubicBezTo>
                  <a:pt x="45" y="8"/>
                  <a:pt x="45" y="8"/>
                  <a:pt x="45" y="8"/>
                </a:cubicBezTo>
                <a:cubicBezTo>
                  <a:pt x="45" y="8"/>
                  <a:pt x="44" y="8"/>
                  <a:pt x="44" y="8"/>
                </a:cubicBezTo>
                <a:cubicBezTo>
                  <a:pt x="44" y="8"/>
                  <a:pt x="44" y="8"/>
                  <a:pt x="44" y="8"/>
                </a:cubicBezTo>
                <a:cubicBezTo>
                  <a:pt x="43" y="7"/>
                  <a:pt x="43" y="7"/>
                  <a:pt x="43" y="7"/>
                </a:cubicBezTo>
                <a:cubicBezTo>
                  <a:pt x="44" y="7"/>
                  <a:pt x="44" y="7"/>
                  <a:pt x="44" y="7"/>
                </a:cubicBezTo>
                <a:cubicBezTo>
                  <a:pt x="45" y="7"/>
                  <a:pt x="45" y="7"/>
                  <a:pt x="45" y="7"/>
                </a:cubicBezTo>
                <a:cubicBezTo>
                  <a:pt x="47" y="7"/>
                  <a:pt x="47" y="7"/>
                  <a:pt x="47" y="7"/>
                </a:cubicBezTo>
                <a:cubicBezTo>
                  <a:pt x="46" y="6"/>
                  <a:pt x="46" y="6"/>
                  <a:pt x="46" y="6"/>
                </a:cubicBezTo>
                <a:cubicBezTo>
                  <a:pt x="42" y="4"/>
                  <a:pt x="42" y="4"/>
                  <a:pt x="40" y="4"/>
                </a:cubicBezTo>
                <a:cubicBezTo>
                  <a:pt x="39" y="4"/>
                  <a:pt x="39" y="4"/>
                  <a:pt x="39" y="4"/>
                </a:cubicBezTo>
                <a:cubicBezTo>
                  <a:pt x="35" y="6"/>
                  <a:pt x="29" y="7"/>
                  <a:pt x="25" y="10"/>
                </a:cubicBezTo>
                <a:cubicBezTo>
                  <a:pt x="25" y="10"/>
                  <a:pt x="25" y="10"/>
                  <a:pt x="25" y="10"/>
                </a:cubicBezTo>
                <a:cubicBezTo>
                  <a:pt x="27" y="10"/>
                  <a:pt x="27" y="10"/>
                  <a:pt x="27" y="10"/>
                </a:cubicBezTo>
                <a:cubicBezTo>
                  <a:pt x="28" y="10"/>
                  <a:pt x="28" y="10"/>
                  <a:pt x="28" y="10"/>
                </a:cubicBezTo>
                <a:cubicBezTo>
                  <a:pt x="27" y="10"/>
                  <a:pt x="27" y="10"/>
                  <a:pt x="27" y="10"/>
                </a:cubicBezTo>
                <a:cubicBezTo>
                  <a:pt x="26" y="11"/>
                  <a:pt x="26" y="11"/>
                  <a:pt x="26" y="11"/>
                </a:cubicBezTo>
                <a:cubicBezTo>
                  <a:pt x="26" y="12"/>
                  <a:pt x="26" y="12"/>
                  <a:pt x="26" y="12"/>
                </a:cubicBezTo>
                <a:cubicBezTo>
                  <a:pt x="27" y="12"/>
                  <a:pt x="27" y="12"/>
                  <a:pt x="27" y="12"/>
                </a:cubicBezTo>
                <a:cubicBezTo>
                  <a:pt x="28" y="12"/>
                  <a:pt x="28" y="12"/>
                  <a:pt x="28" y="12"/>
                </a:cubicBezTo>
                <a:cubicBezTo>
                  <a:pt x="29" y="11"/>
                  <a:pt x="29" y="11"/>
                  <a:pt x="29" y="11"/>
                </a:cubicBezTo>
                <a:cubicBezTo>
                  <a:pt x="31" y="11"/>
                  <a:pt x="31" y="11"/>
                  <a:pt x="31" y="11"/>
                </a:cubicBezTo>
                <a:cubicBezTo>
                  <a:pt x="32" y="11"/>
                  <a:pt x="32" y="11"/>
                  <a:pt x="32" y="11"/>
                </a:cubicBezTo>
                <a:cubicBezTo>
                  <a:pt x="32" y="12"/>
                  <a:pt x="32" y="12"/>
                  <a:pt x="32" y="12"/>
                </a:cubicBezTo>
                <a:cubicBezTo>
                  <a:pt x="31" y="13"/>
                  <a:pt x="31" y="13"/>
                  <a:pt x="31" y="13"/>
                </a:cubicBezTo>
                <a:cubicBezTo>
                  <a:pt x="30" y="13"/>
                  <a:pt x="30" y="13"/>
                  <a:pt x="30" y="13"/>
                </a:cubicBezTo>
                <a:cubicBezTo>
                  <a:pt x="30" y="14"/>
                  <a:pt x="30" y="14"/>
                  <a:pt x="30" y="14"/>
                </a:cubicBezTo>
                <a:cubicBezTo>
                  <a:pt x="29" y="14"/>
                  <a:pt x="29" y="14"/>
                  <a:pt x="29" y="14"/>
                </a:cubicBezTo>
                <a:cubicBezTo>
                  <a:pt x="29" y="14"/>
                  <a:pt x="29" y="14"/>
                  <a:pt x="29" y="14"/>
                </a:cubicBezTo>
                <a:cubicBezTo>
                  <a:pt x="28" y="13"/>
                  <a:pt x="28" y="13"/>
                  <a:pt x="27" y="13"/>
                </a:cubicBezTo>
                <a:cubicBezTo>
                  <a:pt x="26" y="13"/>
                  <a:pt x="26" y="13"/>
                  <a:pt x="26" y="13"/>
                </a:cubicBezTo>
                <a:cubicBezTo>
                  <a:pt x="26" y="13"/>
                  <a:pt x="25" y="13"/>
                  <a:pt x="25" y="13"/>
                </a:cubicBezTo>
                <a:cubicBezTo>
                  <a:pt x="23" y="13"/>
                  <a:pt x="23" y="13"/>
                  <a:pt x="23" y="13"/>
                </a:cubicBezTo>
                <a:cubicBezTo>
                  <a:pt x="21" y="13"/>
                  <a:pt x="21" y="13"/>
                  <a:pt x="21" y="13"/>
                </a:cubicBezTo>
                <a:cubicBezTo>
                  <a:pt x="20" y="13"/>
                  <a:pt x="20" y="13"/>
                  <a:pt x="20" y="13"/>
                </a:cubicBezTo>
                <a:cubicBezTo>
                  <a:pt x="20" y="13"/>
                  <a:pt x="20" y="13"/>
                  <a:pt x="20" y="13"/>
                </a:cubicBezTo>
                <a:cubicBezTo>
                  <a:pt x="19" y="14"/>
                  <a:pt x="17" y="15"/>
                  <a:pt x="14" y="14"/>
                </a:cubicBezTo>
                <a:cubicBezTo>
                  <a:pt x="14" y="14"/>
                  <a:pt x="14" y="14"/>
                  <a:pt x="14" y="14"/>
                </a:cubicBezTo>
                <a:cubicBezTo>
                  <a:pt x="13" y="15"/>
                  <a:pt x="13" y="15"/>
                  <a:pt x="13" y="15"/>
                </a:cubicBezTo>
                <a:cubicBezTo>
                  <a:pt x="13" y="15"/>
                  <a:pt x="13" y="15"/>
                  <a:pt x="13" y="15"/>
                </a:cubicBezTo>
                <a:cubicBezTo>
                  <a:pt x="12" y="15"/>
                  <a:pt x="12" y="15"/>
                  <a:pt x="12" y="15"/>
                </a:cubicBezTo>
                <a:cubicBezTo>
                  <a:pt x="12" y="15"/>
                  <a:pt x="12" y="15"/>
                  <a:pt x="12" y="15"/>
                </a:cubicBezTo>
                <a:cubicBezTo>
                  <a:pt x="11" y="16"/>
                  <a:pt x="11" y="16"/>
                  <a:pt x="11" y="16"/>
                </a:cubicBezTo>
                <a:cubicBezTo>
                  <a:pt x="11" y="17"/>
                  <a:pt x="11" y="17"/>
                  <a:pt x="11" y="17"/>
                </a:cubicBezTo>
                <a:cubicBezTo>
                  <a:pt x="11" y="17"/>
                  <a:pt x="11" y="17"/>
                  <a:pt x="11" y="17"/>
                </a:cubicBezTo>
                <a:cubicBezTo>
                  <a:pt x="10" y="18"/>
                  <a:pt x="10" y="18"/>
                  <a:pt x="10" y="18"/>
                </a:cubicBezTo>
                <a:cubicBezTo>
                  <a:pt x="9" y="18"/>
                  <a:pt x="9" y="18"/>
                  <a:pt x="9" y="18"/>
                </a:cubicBezTo>
                <a:cubicBezTo>
                  <a:pt x="8" y="18"/>
                  <a:pt x="7" y="18"/>
                  <a:pt x="5" y="18"/>
                </a:cubicBezTo>
                <a:cubicBezTo>
                  <a:pt x="5" y="18"/>
                  <a:pt x="5" y="18"/>
                  <a:pt x="5" y="18"/>
                </a:cubicBezTo>
                <a:cubicBezTo>
                  <a:pt x="4" y="19"/>
                  <a:pt x="4" y="19"/>
                  <a:pt x="4" y="19"/>
                </a:cubicBezTo>
                <a:cubicBezTo>
                  <a:pt x="2" y="20"/>
                  <a:pt x="2" y="20"/>
                  <a:pt x="2" y="20"/>
                </a:cubicBezTo>
                <a:cubicBezTo>
                  <a:pt x="0" y="25"/>
                  <a:pt x="5" y="23"/>
                  <a:pt x="5" y="23"/>
                </a:cubicBezTo>
                <a:cubicBezTo>
                  <a:pt x="6" y="23"/>
                  <a:pt x="6" y="23"/>
                  <a:pt x="8" y="21"/>
                </a:cubicBezTo>
                <a:cubicBezTo>
                  <a:pt x="9" y="21"/>
                  <a:pt x="9" y="21"/>
                  <a:pt x="9" y="21"/>
                </a:cubicBezTo>
                <a:cubicBezTo>
                  <a:pt x="10" y="21"/>
                  <a:pt x="10" y="21"/>
                  <a:pt x="10" y="21"/>
                </a:cubicBezTo>
                <a:cubicBezTo>
                  <a:pt x="11" y="21"/>
                  <a:pt x="11" y="21"/>
                  <a:pt x="11" y="21"/>
                </a:cubicBezTo>
                <a:cubicBezTo>
                  <a:pt x="11" y="21"/>
                  <a:pt x="11" y="21"/>
                  <a:pt x="11" y="20"/>
                </a:cubicBezTo>
                <a:cubicBezTo>
                  <a:pt x="13" y="20"/>
                  <a:pt x="15" y="20"/>
                  <a:pt x="16" y="20"/>
                </a:cubicBezTo>
                <a:cubicBezTo>
                  <a:pt x="17" y="21"/>
                  <a:pt x="17" y="21"/>
                  <a:pt x="17" y="21"/>
                </a:cubicBezTo>
                <a:cubicBezTo>
                  <a:pt x="17" y="21"/>
                  <a:pt x="17" y="21"/>
                  <a:pt x="17" y="21"/>
                </a:cubicBezTo>
                <a:cubicBezTo>
                  <a:pt x="18" y="22"/>
                  <a:pt x="18" y="22"/>
                  <a:pt x="18" y="22"/>
                </a:cubicBezTo>
                <a:cubicBezTo>
                  <a:pt x="18" y="24"/>
                  <a:pt x="18" y="24"/>
                  <a:pt x="18" y="24"/>
                </a:cubicBezTo>
                <a:cubicBezTo>
                  <a:pt x="18" y="25"/>
                  <a:pt x="18" y="25"/>
                  <a:pt x="18" y="25"/>
                </a:cubicBezTo>
                <a:cubicBezTo>
                  <a:pt x="18" y="25"/>
                  <a:pt x="18" y="25"/>
                  <a:pt x="18" y="26"/>
                </a:cubicBezTo>
                <a:cubicBezTo>
                  <a:pt x="18" y="26"/>
                  <a:pt x="18" y="26"/>
                  <a:pt x="18" y="26"/>
                </a:cubicBezTo>
                <a:cubicBezTo>
                  <a:pt x="19" y="25"/>
                  <a:pt x="19" y="25"/>
                  <a:pt x="19" y="25"/>
                </a:cubicBezTo>
                <a:cubicBezTo>
                  <a:pt x="19" y="24"/>
                  <a:pt x="19" y="24"/>
                  <a:pt x="19" y="24"/>
                </a:cubicBezTo>
                <a:cubicBezTo>
                  <a:pt x="20" y="24"/>
                  <a:pt x="20" y="24"/>
                  <a:pt x="20" y="24"/>
                </a:cubicBezTo>
                <a:cubicBezTo>
                  <a:pt x="20" y="24"/>
                  <a:pt x="20" y="24"/>
                  <a:pt x="20" y="24"/>
                </a:cubicBezTo>
                <a:cubicBezTo>
                  <a:pt x="20" y="24"/>
                  <a:pt x="20" y="24"/>
                  <a:pt x="20" y="24"/>
                </a:cubicBezTo>
                <a:cubicBezTo>
                  <a:pt x="20" y="24"/>
                  <a:pt x="20" y="24"/>
                  <a:pt x="21" y="24"/>
                </a:cubicBezTo>
                <a:cubicBezTo>
                  <a:pt x="20" y="23"/>
                  <a:pt x="20" y="23"/>
                  <a:pt x="20" y="23"/>
                </a:cubicBezTo>
                <a:cubicBezTo>
                  <a:pt x="20" y="22"/>
                  <a:pt x="20" y="22"/>
                  <a:pt x="20" y="22"/>
                </a:cubicBezTo>
                <a:cubicBezTo>
                  <a:pt x="19" y="21"/>
                  <a:pt x="19" y="21"/>
                  <a:pt x="19" y="21"/>
                </a:cubicBezTo>
                <a:cubicBezTo>
                  <a:pt x="19" y="20"/>
                  <a:pt x="19" y="20"/>
                  <a:pt x="19" y="20"/>
                </a:cubicBezTo>
                <a:cubicBezTo>
                  <a:pt x="19" y="19"/>
                  <a:pt x="19" y="19"/>
                  <a:pt x="19" y="19"/>
                </a:cubicBezTo>
                <a:cubicBezTo>
                  <a:pt x="20" y="20"/>
                  <a:pt x="20" y="20"/>
                  <a:pt x="20" y="20"/>
                </a:cubicBezTo>
                <a:cubicBezTo>
                  <a:pt x="21" y="20"/>
                  <a:pt x="21" y="20"/>
                  <a:pt x="21" y="20"/>
                </a:cubicBezTo>
                <a:cubicBezTo>
                  <a:pt x="21" y="21"/>
                  <a:pt x="21" y="21"/>
                  <a:pt x="21" y="21"/>
                </a:cubicBezTo>
                <a:cubicBezTo>
                  <a:pt x="21" y="22"/>
                  <a:pt x="21" y="22"/>
                  <a:pt x="21" y="22"/>
                </a:cubicBezTo>
                <a:cubicBezTo>
                  <a:pt x="21" y="24"/>
                  <a:pt x="21" y="24"/>
                  <a:pt x="21" y="24"/>
                </a:cubicBezTo>
                <a:cubicBezTo>
                  <a:pt x="21" y="24"/>
                  <a:pt x="21" y="24"/>
                  <a:pt x="21" y="24"/>
                </a:cubicBezTo>
                <a:cubicBezTo>
                  <a:pt x="21" y="26"/>
                  <a:pt x="21" y="26"/>
                  <a:pt x="21" y="26"/>
                </a:cubicBezTo>
                <a:cubicBezTo>
                  <a:pt x="22" y="26"/>
                  <a:pt x="22" y="26"/>
                  <a:pt x="22" y="26"/>
                </a:cubicBezTo>
                <a:cubicBezTo>
                  <a:pt x="21" y="27"/>
                  <a:pt x="21" y="27"/>
                  <a:pt x="21" y="27"/>
                </a:cubicBezTo>
                <a:cubicBezTo>
                  <a:pt x="21" y="28"/>
                  <a:pt x="21" y="28"/>
                  <a:pt x="21" y="28"/>
                </a:cubicBezTo>
                <a:cubicBezTo>
                  <a:pt x="22" y="28"/>
                  <a:pt x="22" y="28"/>
                  <a:pt x="22" y="28"/>
                </a:cubicBezTo>
                <a:cubicBezTo>
                  <a:pt x="23" y="27"/>
                  <a:pt x="23" y="27"/>
                  <a:pt x="23" y="27"/>
                </a:cubicBezTo>
                <a:cubicBezTo>
                  <a:pt x="23" y="27"/>
                  <a:pt x="23" y="27"/>
                  <a:pt x="23" y="26"/>
                </a:cubicBezTo>
                <a:cubicBezTo>
                  <a:pt x="23" y="25"/>
                  <a:pt x="23" y="25"/>
                  <a:pt x="23" y="25"/>
                </a:cubicBezTo>
                <a:cubicBezTo>
                  <a:pt x="24" y="25"/>
                  <a:pt x="24" y="25"/>
                  <a:pt x="24" y="25"/>
                </a:cubicBezTo>
                <a:cubicBezTo>
                  <a:pt x="25" y="24"/>
                  <a:pt x="25" y="24"/>
                  <a:pt x="25" y="24"/>
                </a:cubicBezTo>
                <a:cubicBezTo>
                  <a:pt x="26" y="24"/>
                  <a:pt x="26" y="24"/>
                  <a:pt x="26" y="24"/>
                </a:cubicBezTo>
                <a:cubicBezTo>
                  <a:pt x="27" y="24"/>
                  <a:pt x="27" y="24"/>
                  <a:pt x="27" y="24"/>
                </a:cubicBezTo>
                <a:cubicBezTo>
                  <a:pt x="26" y="26"/>
                  <a:pt x="26" y="26"/>
                  <a:pt x="26" y="26"/>
                </a:cubicBezTo>
                <a:cubicBezTo>
                  <a:pt x="26" y="27"/>
                  <a:pt x="26" y="27"/>
                  <a:pt x="26" y="27"/>
                </a:cubicBezTo>
                <a:cubicBezTo>
                  <a:pt x="27" y="29"/>
                  <a:pt x="27" y="29"/>
                  <a:pt x="27" y="29"/>
                </a:cubicBezTo>
                <a:cubicBezTo>
                  <a:pt x="28" y="29"/>
                  <a:pt x="28" y="29"/>
                  <a:pt x="28" y="29"/>
                </a:cubicBezTo>
                <a:cubicBezTo>
                  <a:pt x="30" y="29"/>
                  <a:pt x="30" y="29"/>
                  <a:pt x="32" y="29"/>
                </a:cubicBezTo>
                <a:cubicBezTo>
                  <a:pt x="32" y="29"/>
                  <a:pt x="32" y="29"/>
                  <a:pt x="32" y="29"/>
                </a:cubicBezTo>
                <a:cubicBezTo>
                  <a:pt x="31" y="31"/>
                  <a:pt x="31" y="31"/>
                  <a:pt x="31" y="31"/>
                </a:cubicBezTo>
                <a:cubicBezTo>
                  <a:pt x="30" y="32"/>
                  <a:pt x="30" y="32"/>
                  <a:pt x="30" y="32"/>
                </a:cubicBezTo>
                <a:cubicBezTo>
                  <a:pt x="30" y="33"/>
                  <a:pt x="30" y="33"/>
                  <a:pt x="30" y="33"/>
                </a:cubicBezTo>
                <a:cubicBezTo>
                  <a:pt x="29" y="33"/>
                  <a:pt x="29" y="33"/>
                  <a:pt x="29" y="33"/>
                </a:cubicBezTo>
                <a:cubicBezTo>
                  <a:pt x="28" y="33"/>
                  <a:pt x="28" y="33"/>
                  <a:pt x="28" y="33"/>
                </a:cubicBezTo>
                <a:cubicBezTo>
                  <a:pt x="28" y="34"/>
                  <a:pt x="28" y="34"/>
                  <a:pt x="28" y="34"/>
                </a:cubicBezTo>
                <a:cubicBezTo>
                  <a:pt x="27" y="36"/>
                  <a:pt x="27" y="36"/>
                  <a:pt x="27" y="36"/>
                </a:cubicBezTo>
                <a:cubicBezTo>
                  <a:pt x="28" y="36"/>
                  <a:pt x="28" y="36"/>
                  <a:pt x="28" y="36"/>
                </a:cubicBezTo>
                <a:cubicBezTo>
                  <a:pt x="29" y="37"/>
                  <a:pt x="29" y="37"/>
                  <a:pt x="29" y="37"/>
                </a:cubicBezTo>
                <a:cubicBezTo>
                  <a:pt x="30" y="36"/>
                  <a:pt x="30" y="36"/>
                  <a:pt x="30" y="36"/>
                </a:cubicBezTo>
                <a:cubicBezTo>
                  <a:pt x="30" y="37"/>
                  <a:pt x="30" y="37"/>
                  <a:pt x="30" y="37"/>
                </a:cubicBezTo>
                <a:cubicBezTo>
                  <a:pt x="32" y="44"/>
                  <a:pt x="32" y="44"/>
                  <a:pt x="31" y="45"/>
                </a:cubicBezTo>
                <a:cubicBezTo>
                  <a:pt x="32" y="48"/>
                  <a:pt x="35" y="55"/>
                  <a:pt x="37" y="56"/>
                </a:cubicBezTo>
                <a:cubicBezTo>
                  <a:pt x="50" y="51"/>
                  <a:pt x="50" y="51"/>
                  <a:pt x="53" y="47"/>
                </a:cubicBezTo>
                <a:cubicBezTo>
                  <a:pt x="53" y="46"/>
                  <a:pt x="53" y="46"/>
                  <a:pt x="53" y="46"/>
                </a:cubicBezTo>
                <a:cubicBezTo>
                  <a:pt x="52" y="45"/>
                  <a:pt x="52" y="45"/>
                  <a:pt x="52" y="45"/>
                </a:cubicBezTo>
                <a:cubicBezTo>
                  <a:pt x="50" y="43"/>
                  <a:pt x="50" y="43"/>
                  <a:pt x="50" y="43"/>
                </a:cubicBezTo>
                <a:cubicBezTo>
                  <a:pt x="50" y="43"/>
                  <a:pt x="50" y="42"/>
                  <a:pt x="50" y="42"/>
                </a:cubicBezTo>
                <a:cubicBezTo>
                  <a:pt x="49" y="42"/>
                  <a:pt x="49" y="42"/>
                  <a:pt x="49" y="42"/>
                </a:cubicBezTo>
                <a:cubicBezTo>
                  <a:pt x="48" y="44"/>
                  <a:pt x="48" y="44"/>
                  <a:pt x="48" y="44"/>
                </a:cubicBezTo>
                <a:cubicBezTo>
                  <a:pt x="47" y="44"/>
                  <a:pt x="46" y="44"/>
                  <a:pt x="45" y="44"/>
                </a:cubicBezTo>
                <a:cubicBezTo>
                  <a:pt x="45" y="42"/>
                  <a:pt x="45" y="42"/>
                  <a:pt x="45" y="42"/>
                </a:cubicBezTo>
                <a:cubicBezTo>
                  <a:pt x="44" y="43"/>
                  <a:pt x="44" y="43"/>
                  <a:pt x="44" y="43"/>
                </a:cubicBezTo>
                <a:cubicBezTo>
                  <a:pt x="43" y="41"/>
                  <a:pt x="43" y="41"/>
                  <a:pt x="43" y="41"/>
                </a:cubicBezTo>
                <a:cubicBezTo>
                  <a:pt x="42" y="39"/>
                  <a:pt x="42" y="39"/>
                  <a:pt x="42" y="39"/>
                </a:cubicBezTo>
                <a:cubicBezTo>
                  <a:pt x="42" y="37"/>
                  <a:pt x="42" y="37"/>
                  <a:pt x="42" y="37"/>
                </a:cubicBezTo>
                <a:cubicBezTo>
                  <a:pt x="42" y="37"/>
                  <a:pt x="42" y="37"/>
                  <a:pt x="42" y="37"/>
                </a:cubicBezTo>
                <a:cubicBezTo>
                  <a:pt x="44" y="36"/>
                  <a:pt x="44" y="36"/>
                  <a:pt x="44" y="36"/>
                </a:cubicBezTo>
                <a:cubicBezTo>
                  <a:pt x="45" y="38"/>
                  <a:pt x="45" y="38"/>
                  <a:pt x="45" y="38"/>
                </a:cubicBezTo>
                <a:cubicBezTo>
                  <a:pt x="45" y="39"/>
                  <a:pt x="45" y="39"/>
                  <a:pt x="45" y="39"/>
                </a:cubicBezTo>
                <a:cubicBezTo>
                  <a:pt x="47" y="41"/>
                  <a:pt x="47" y="41"/>
                  <a:pt x="47" y="41"/>
                </a:cubicBezTo>
                <a:cubicBezTo>
                  <a:pt x="49" y="41"/>
                  <a:pt x="49" y="41"/>
                  <a:pt x="49" y="41"/>
                </a:cubicBezTo>
                <a:cubicBezTo>
                  <a:pt x="51" y="40"/>
                  <a:pt x="51" y="40"/>
                  <a:pt x="51" y="40"/>
                </a:cubicBezTo>
                <a:cubicBezTo>
                  <a:pt x="51" y="41"/>
                  <a:pt x="51" y="41"/>
                  <a:pt x="51" y="42"/>
                </a:cubicBezTo>
                <a:cubicBezTo>
                  <a:pt x="53" y="42"/>
                  <a:pt x="53" y="42"/>
                  <a:pt x="53" y="42"/>
                </a:cubicBezTo>
                <a:cubicBezTo>
                  <a:pt x="55" y="41"/>
                  <a:pt x="55" y="41"/>
                  <a:pt x="55" y="41"/>
                </a:cubicBezTo>
                <a:cubicBezTo>
                  <a:pt x="57" y="42"/>
                  <a:pt x="57" y="42"/>
                  <a:pt x="57" y="42"/>
                </a:cubicBezTo>
                <a:cubicBezTo>
                  <a:pt x="60" y="43"/>
                  <a:pt x="60" y="43"/>
                  <a:pt x="60" y="43"/>
                </a:cubicBezTo>
                <a:cubicBezTo>
                  <a:pt x="62" y="45"/>
                  <a:pt x="62" y="45"/>
                  <a:pt x="62" y="45"/>
                </a:cubicBezTo>
                <a:cubicBezTo>
                  <a:pt x="64" y="46"/>
                  <a:pt x="64" y="46"/>
                  <a:pt x="64" y="46"/>
                </a:cubicBezTo>
                <a:cubicBezTo>
                  <a:pt x="64" y="48"/>
                  <a:pt x="64" y="48"/>
                  <a:pt x="64" y="48"/>
                </a:cubicBezTo>
                <a:cubicBezTo>
                  <a:pt x="65" y="49"/>
                  <a:pt x="65" y="49"/>
                  <a:pt x="65" y="49"/>
                </a:cubicBezTo>
                <a:cubicBezTo>
                  <a:pt x="67" y="47"/>
                  <a:pt x="67" y="47"/>
                  <a:pt x="67" y="47"/>
                </a:cubicBezTo>
                <a:cubicBezTo>
                  <a:pt x="68" y="51"/>
                  <a:pt x="68" y="51"/>
                  <a:pt x="68" y="51"/>
                </a:cubicBezTo>
                <a:cubicBezTo>
                  <a:pt x="68" y="54"/>
                  <a:pt x="68" y="54"/>
                  <a:pt x="68" y="54"/>
                </a:cubicBezTo>
                <a:cubicBezTo>
                  <a:pt x="69" y="56"/>
                  <a:pt x="71" y="59"/>
                  <a:pt x="72" y="62"/>
                </a:cubicBezTo>
                <a:cubicBezTo>
                  <a:pt x="72" y="62"/>
                  <a:pt x="72" y="62"/>
                  <a:pt x="72" y="62"/>
                </a:cubicBezTo>
                <a:cubicBezTo>
                  <a:pt x="74" y="62"/>
                  <a:pt x="74" y="62"/>
                  <a:pt x="74" y="62"/>
                </a:cubicBezTo>
                <a:cubicBezTo>
                  <a:pt x="74" y="60"/>
                  <a:pt x="74" y="60"/>
                  <a:pt x="74" y="60"/>
                </a:cubicBezTo>
                <a:cubicBezTo>
                  <a:pt x="75" y="57"/>
                  <a:pt x="75" y="57"/>
                  <a:pt x="75" y="57"/>
                </a:cubicBezTo>
                <a:cubicBezTo>
                  <a:pt x="76" y="57"/>
                  <a:pt x="76" y="57"/>
                  <a:pt x="76" y="57"/>
                </a:cubicBezTo>
                <a:cubicBezTo>
                  <a:pt x="76" y="53"/>
                  <a:pt x="76" y="53"/>
                  <a:pt x="76" y="53"/>
                </a:cubicBezTo>
                <a:cubicBezTo>
                  <a:pt x="78" y="53"/>
                  <a:pt x="78" y="53"/>
                  <a:pt x="78" y="53"/>
                </a:cubicBezTo>
                <a:cubicBezTo>
                  <a:pt x="80" y="51"/>
                  <a:pt x="80" y="48"/>
                  <a:pt x="83" y="46"/>
                </a:cubicBezTo>
                <a:cubicBezTo>
                  <a:pt x="85" y="45"/>
                  <a:pt x="85" y="45"/>
                  <a:pt x="85" y="45"/>
                </a:cubicBezTo>
                <a:cubicBezTo>
                  <a:pt x="87" y="47"/>
                  <a:pt x="87" y="47"/>
                  <a:pt x="87" y="47"/>
                </a:cubicBezTo>
                <a:lnTo>
                  <a:pt x="89" y="49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1097" name="Freeform 36"/>
          <p:cNvSpPr>
            <a:spLocks/>
          </p:cNvSpPr>
          <p:nvPr/>
        </p:nvSpPr>
        <p:spPr bwMode="auto">
          <a:xfrm>
            <a:off x="2679700" y="4414838"/>
            <a:ext cx="104775" cy="120650"/>
          </a:xfrm>
          <a:custGeom>
            <a:avLst/>
            <a:gdLst>
              <a:gd name="T0" fmla="*/ 19 w 19"/>
              <a:gd name="T1" fmla="*/ 0 h 22"/>
              <a:gd name="T2" fmla="*/ 19 w 19"/>
              <a:gd name="T3" fmla="*/ 1 h 22"/>
              <a:gd name="T4" fmla="*/ 19 w 19"/>
              <a:gd name="T5" fmla="*/ 1 h 22"/>
              <a:gd name="T6" fmla="*/ 18 w 19"/>
              <a:gd name="T7" fmla="*/ 2 h 22"/>
              <a:gd name="T8" fmla="*/ 17 w 19"/>
              <a:gd name="T9" fmla="*/ 3 h 22"/>
              <a:gd name="T10" fmla="*/ 17 w 19"/>
              <a:gd name="T11" fmla="*/ 3 h 22"/>
              <a:gd name="T12" fmla="*/ 16 w 19"/>
              <a:gd name="T13" fmla="*/ 4 h 22"/>
              <a:gd name="T14" fmla="*/ 16 w 19"/>
              <a:gd name="T15" fmla="*/ 5 h 22"/>
              <a:gd name="T16" fmla="*/ 16 w 19"/>
              <a:gd name="T17" fmla="*/ 5 h 22"/>
              <a:gd name="T18" fmla="*/ 16 w 19"/>
              <a:gd name="T19" fmla="*/ 4 h 22"/>
              <a:gd name="T20" fmla="*/ 17 w 19"/>
              <a:gd name="T21" fmla="*/ 4 h 22"/>
              <a:gd name="T22" fmla="*/ 16 w 19"/>
              <a:gd name="T23" fmla="*/ 5 h 22"/>
              <a:gd name="T24" fmla="*/ 15 w 19"/>
              <a:gd name="T25" fmla="*/ 6 h 22"/>
              <a:gd name="T26" fmla="*/ 14 w 19"/>
              <a:gd name="T27" fmla="*/ 7 h 22"/>
              <a:gd name="T28" fmla="*/ 14 w 19"/>
              <a:gd name="T29" fmla="*/ 8 h 22"/>
              <a:gd name="T30" fmla="*/ 14 w 19"/>
              <a:gd name="T31" fmla="*/ 7 h 22"/>
              <a:gd name="T32" fmla="*/ 13 w 19"/>
              <a:gd name="T33" fmla="*/ 8 h 22"/>
              <a:gd name="T34" fmla="*/ 13 w 19"/>
              <a:gd name="T35" fmla="*/ 8 h 22"/>
              <a:gd name="T36" fmla="*/ 8 w 19"/>
              <a:gd name="T37" fmla="*/ 13 h 22"/>
              <a:gd name="T38" fmla="*/ 6 w 19"/>
              <a:gd name="T39" fmla="*/ 16 h 22"/>
              <a:gd name="T40" fmla="*/ 6 w 19"/>
              <a:gd name="T41" fmla="*/ 16 h 22"/>
              <a:gd name="T42" fmla="*/ 5 w 19"/>
              <a:gd name="T43" fmla="*/ 16 h 22"/>
              <a:gd name="T44" fmla="*/ 5 w 19"/>
              <a:gd name="T45" fmla="*/ 17 h 22"/>
              <a:gd name="T46" fmla="*/ 1 w 19"/>
              <a:gd name="T47" fmla="*/ 21 h 22"/>
              <a:gd name="T48" fmla="*/ 0 w 19"/>
              <a:gd name="T49" fmla="*/ 21 h 22"/>
              <a:gd name="T50" fmla="*/ 0 w 19"/>
              <a:gd name="T51" fmla="*/ 22 h 22"/>
              <a:gd name="T52" fmla="*/ 2 w 19"/>
              <a:gd name="T53" fmla="*/ 20 h 22"/>
              <a:gd name="T54" fmla="*/ 3 w 19"/>
              <a:gd name="T55" fmla="*/ 20 h 22"/>
              <a:gd name="T56" fmla="*/ 4 w 19"/>
              <a:gd name="T57" fmla="*/ 19 h 22"/>
              <a:gd name="T58" fmla="*/ 4 w 19"/>
              <a:gd name="T59" fmla="*/ 19 h 22"/>
              <a:gd name="T60" fmla="*/ 5 w 19"/>
              <a:gd name="T61" fmla="*/ 18 h 22"/>
              <a:gd name="T62" fmla="*/ 5 w 19"/>
              <a:gd name="T63" fmla="*/ 18 h 22"/>
              <a:gd name="T64" fmla="*/ 11 w 19"/>
              <a:gd name="T65" fmla="*/ 12 h 22"/>
              <a:gd name="T66" fmla="*/ 17 w 19"/>
              <a:gd name="T67" fmla="*/ 4 h 22"/>
              <a:gd name="T68" fmla="*/ 17 w 19"/>
              <a:gd name="T69" fmla="*/ 3 h 22"/>
              <a:gd name="T70" fmla="*/ 17 w 19"/>
              <a:gd name="T71" fmla="*/ 3 h 22"/>
              <a:gd name="T72" fmla="*/ 18 w 19"/>
              <a:gd name="T73" fmla="*/ 3 h 22"/>
              <a:gd name="T74" fmla="*/ 18 w 19"/>
              <a:gd name="T75" fmla="*/ 2 h 22"/>
              <a:gd name="T76" fmla="*/ 18 w 19"/>
              <a:gd name="T77" fmla="*/ 2 h 22"/>
              <a:gd name="T78" fmla="*/ 19 w 19"/>
              <a:gd name="T79" fmla="*/ 1 h 22"/>
              <a:gd name="T80" fmla="*/ 19 w 19"/>
              <a:gd name="T81" fmla="*/ 0 h 22"/>
              <a:gd name="T82" fmla="*/ 19 w 19"/>
              <a:gd name="T83" fmla="*/ 0 h 22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9"/>
              <a:gd name="T127" fmla="*/ 0 h 22"/>
              <a:gd name="T128" fmla="*/ 19 w 19"/>
              <a:gd name="T129" fmla="*/ 22 h 22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9" h="22">
                <a:moveTo>
                  <a:pt x="19" y="0"/>
                </a:moveTo>
                <a:cubicBezTo>
                  <a:pt x="19" y="1"/>
                  <a:pt x="19" y="1"/>
                  <a:pt x="19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8" y="2"/>
                  <a:pt x="18" y="2"/>
                  <a:pt x="18" y="2"/>
                </a:cubicBezTo>
                <a:cubicBezTo>
                  <a:pt x="17" y="3"/>
                  <a:pt x="17" y="3"/>
                  <a:pt x="17" y="3"/>
                </a:cubicBezTo>
                <a:cubicBezTo>
                  <a:pt x="17" y="3"/>
                  <a:pt x="17" y="3"/>
                  <a:pt x="17" y="3"/>
                </a:cubicBezTo>
                <a:cubicBezTo>
                  <a:pt x="16" y="4"/>
                  <a:pt x="16" y="4"/>
                  <a:pt x="16" y="4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5"/>
                  <a:pt x="16" y="5"/>
                  <a:pt x="16" y="5"/>
                </a:cubicBezTo>
                <a:cubicBezTo>
                  <a:pt x="16" y="4"/>
                  <a:pt x="16" y="4"/>
                  <a:pt x="16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6" y="5"/>
                  <a:pt x="16" y="5"/>
                  <a:pt x="16" y="5"/>
                </a:cubicBezTo>
                <a:cubicBezTo>
                  <a:pt x="15" y="6"/>
                  <a:pt x="15" y="6"/>
                  <a:pt x="15" y="6"/>
                </a:cubicBezTo>
                <a:cubicBezTo>
                  <a:pt x="14" y="7"/>
                  <a:pt x="14" y="7"/>
                  <a:pt x="14" y="7"/>
                </a:cubicBezTo>
                <a:cubicBezTo>
                  <a:pt x="14" y="8"/>
                  <a:pt x="14" y="8"/>
                  <a:pt x="14" y="8"/>
                </a:cubicBezTo>
                <a:cubicBezTo>
                  <a:pt x="14" y="7"/>
                  <a:pt x="14" y="7"/>
                  <a:pt x="14" y="7"/>
                </a:cubicBezTo>
                <a:cubicBezTo>
                  <a:pt x="13" y="8"/>
                  <a:pt x="13" y="8"/>
                  <a:pt x="13" y="8"/>
                </a:cubicBezTo>
                <a:cubicBezTo>
                  <a:pt x="13" y="8"/>
                  <a:pt x="13" y="8"/>
                  <a:pt x="13" y="8"/>
                </a:cubicBezTo>
                <a:cubicBezTo>
                  <a:pt x="12" y="9"/>
                  <a:pt x="12" y="9"/>
                  <a:pt x="8" y="13"/>
                </a:cubicBezTo>
                <a:cubicBezTo>
                  <a:pt x="7" y="14"/>
                  <a:pt x="7" y="14"/>
                  <a:pt x="6" y="16"/>
                </a:cubicBezTo>
                <a:cubicBezTo>
                  <a:pt x="6" y="16"/>
                  <a:pt x="6" y="16"/>
                  <a:pt x="6" y="16"/>
                </a:cubicBezTo>
                <a:cubicBezTo>
                  <a:pt x="5" y="16"/>
                  <a:pt x="5" y="16"/>
                  <a:pt x="5" y="16"/>
                </a:cubicBezTo>
                <a:cubicBezTo>
                  <a:pt x="5" y="17"/>
                  <a:pt x="5" y="17"/>
                  <a:pt x="5" y="17"/>
                </a:cubicBezTo>
                <a:cubicBezTo>
                  <a:pt x="3" y="19"/>
                  <a:pt x="2" y="20"/>
                  <a:pt x="1" y="21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22"/>
                  <a:pt x="0" y="22"/>
                  <a:pt x="0" y="22"/>
                </a:cubicBezTo>
                <a:cubicBezTo>
                  <a:pt x="2" y="20"/>
                  <a:pt x="2" y="20"/>
                  <a:pt x="2" y="20"/>
                </a:cubicBezTo>
                <a:cubicBezTo>
                  <a:pt x="3" y="20"/>
                  <a:pt x="3" y="20"/>
                  <a:pt x="3" y="20"/>
                </a:cubicBezTo>
                <a:cubicBezTo>
                  <a:pt x="4" y="19"/>
                  <a:pt x="4" y="19"/>
                  <a:pt x="4" y="19"/>
                </a:cubicBezTo>
                <a:cubicBezTo>
                  <a:pt x="4" y="19"/>
                  <a:pt x="4" y="19"/>
                  <a:pt x="4" y="19"/>
                </a:cubicBezTo>
                <a:cubicBezTo>
                  <a:pt x="5" y="18"/>
                  <a:pt x="5" y="18"/>
                  <a:pt x="5" y="18"/>
                </a:cubicBezTo>
                <a:cubicBezTo>
                  <a:pt x="5" y="18"/>
                  <a:pt x="5" y="18"/>
                  <a:pt x="5" y="18"/>
                </a:cubicBezTo>
                <a:cubicBezTo>
                  <a:pt x="7" y="16"/>
                  <a:pt x="10" y="14"/>
                  <a:pt x="11" y="12"/>
                </a:cubicBezTo>
                <a:cubicBezTo>
                  <a:pt x="15" y="7"/>
                  <a:pt x="15" y="7"/>
                  <a:pt x="17" y="4"/>
                </a:cubicBezTo>
                <a:cubicBezTo>
                  <a:pt x="17" y="3"/>
                  <a:pt x="17" y="3"/>
                  <a:pt x="17" y="3"/>
                </a:cubicBezTo>
                <a:cubicBezTo>
                  <a:pt x="17" y="3"/>
                  <a:pt x="17" y="3"/>
                  <a:pt x="17" y="3"/>
                </a:cubicBezTo>
                <a:cubicBezTo>
                  <a:pt x="18" y="3"/>
                  <a:pt x="18" y="3"/>
                  <a:pt x="18" y="3"/>
                </a:cubicBezTo>
                <a:cubicBezTo>
                  <a:pt x="18" y="2"/>
                  <a:pt x="18" y="2"/>
                  <a:pt x="18" y="2"/>
                </a:cubicBezTo>
                <a:cubicBezTo>
                  <a:pt x="18" y="2"/>
                  <a:pt x="18" y="2"/>
                  <a:pt x="18" y="2"/>
                </a:cubicBezTo>
                <a:cubicBezTo>
                  <a:pt x="19" y="1"/>
                  <a:pt x="19" y="1"/>
                  <a:pt x="19" y="1"/>
                </a:cubicBezTo>
                <a:cubicBezTo>
                  <a:pt x="19" y="0"/>
                  <a:pt x="19" y="0"/>
                  <a:pt x="19" y="0"/>
                </a:cubicBezTo>
                <a:cubicBezTo>
                  <a:pt x="19" y="0"/>
                  <a:pt x="19" y="0"/>
                  <a:pt x="19" y="0"/>
                </a:cubicBez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09" name="Freeform 37"/>
          <p:cNvSpPr>
            <a:spLocks/>
          </p:cNvSpPr>
          <p:nvPr/>
        </p:nvSpPr>
        <p:spPr bwMode="auto">
          <a:xfrm>
            <a:off x="2274888" y="4064000"/>
            <a:ext cx="26987" cy="158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3" y="2"/>
              </a:cxn>
              <a:cxn ang="0">
                <a:pos x="5" y="1"/>
              </a:cxn>
              <a:cxn ang="0">
                <a:pos x="4" y="0"/>
              </a:cxn>
              <a:cxn ang="0">
                <a:pos x="3" y="1"/>
              </a:cxn>
              <a:cxn ang="0">
                <a:pos x="2" y="1"/>
              </a:cxn>
              <a:cxn ang="0">
                <a:pos x="1" y="1"/>
              </a:cxn>
              <a:cxn ang="0">
                <a:pos x="1" y="1"/>
              </a:cxn>
              <a:cxn ang="0">
                <a:pos x="0" y="2"/>
              </a:cxn>
              <a:cxn ang="0">
                <a:pos x="0" y="2"/>
              </a:cxn>
              <a:cxn ang="0">
                <a:pos x="0" y="3"/>
              </a:cxn>
              <a:cxn ang="0">
                <a:pos x="2" y="2"/>
              </a:cxn>
            </a:cxnLst>
            <a:rect l="0" t="0" r="r" b="b"/>
            <a:pathLst>
              <a:path w="5" h="3">
                <a:moveTo>
                  <a:pt x="2" y="2"/>
                </a:moveTo>
                <a:cubicBezTo>
                  <a:pt x="3" y="2"/>
                  <a:pt x="3" y="2"/>
                  <a:pt x="3" y="2"/>
                </a:cubicBezTo>
                <a:cubicBezTo>
                  <a:pt x="5" y="1"/>
                  <a:pt x="5" y="1"/>
                  <a:pt x="5" y="1"/>
                </a:cubicBezTo>
                <a:cubicBezTo>
                  <a:pt x="4" y="0"/>
                  <a:pt x="4" y="0"/>
                  <a:pt x="4" y="0"/>
                </a:cubicBezTo>
                <a:cubicBezTo>
                  <a:pt x="3" y="1"/>
                  <a:pt x="3" y="1"/>
                  <a:pt x="3" y="1"/>
                </a:cubicBezTo>
                <a:cubicBezTo>
                  <a:pt x="2" y="1"/>
                  <a:pt x="2" y="1"/>
                  <a:pt x="2" y="1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1"/>
                  <a:pt x="1" y="1"/>
                </a:cubicBezTo>
                <a:cubicBezTo>
                  <a:pt x="0" y="2"/>
                  <a:pt x="0" y="2"/>
                  <a:pt x="0" y="2"/>
                </a:cubicBezTo>
                <a:cubicBezTo>
                  <a:pt x="0" y="2"/>
                  <a:pt x="0" y="2"/>
                  <a:pt x="0" y="2"/>
                </a:cubicBezTo>
                <a:cubicBezTo>
                  <a:pt x="0" y="3"/>
                  <a:pt x="0" y="3"/>
                  <a:pt x="0" y="3"/>
                </a:cubicBezTo>
                <a:lnTo>
                  <a:pt x="2" y="2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10" name="Freeform 38"/>
          <p:cNvSpPr>
            <a:spLocks/>
          </p:cNvSpPr>
          <p:nvPr/>
        </p:nvSpPr>
        <p:spPr bwMode="auto">
          <a:xfrm>
            <a:off x="2279650" y="4057650"/>
            <a:ext cx="44450" cy="26988"/>
          </a:xfrm>
          <a:custGeom>
            <a:avLst/>
            <a:gdLst/>
            <a:ahLst/>
            <a:cxnLst>
              <a:cxn ang="0">
                <a:pos x="3" y="3"/>
              </a:cxn>
              <a:cxn ang="0">
                <a:pos x="3" y="3"/>
              </a:cxn>
              <a:cxn ang="0">
                <a:pos x="2" y="3"/>
              </a:cxn>
              <a:cxn ang="0">
                <a:pos x="1" y="3"/>
              </a:cxn>
              <a:cxn ang="0">
                <a:pos x="2" y="4"/>
              </a:cxn>
              <a:cxn ang="0">
                <a:pos x="1" y="4"/>
              </a:cxn>
              <a:cxn ang="0">
                <a:pos x="0" y="4"/>
              </a:cxn>
              <a:cxn ang="0">
                <a:pos x="0" y="4"/>
              </a:cxn>
              <a:cxn ang="0">
                <a:pos x="0" y="5"/>
              </a:cxn>
              <a:cxn ang="0">
                <a:pos x="0" y="5"/>
              </a:cxn>
              <a:cxn ang="0">
                <a:pos x="1" y="5"/>
              </a:cxn>
              <a:cxn ang="0">
                <a:pos x="2" y="5"/>
              </a:cxn>
              <a:cxn ang="0">
                <a:pos x="3" y="5"/>
              </a:cxn>
              <a:cxn ang="0">
                <a:pos x="4" y="5"/>
              </a:cxn>
              <a:cxn ang="0">
                <a:pos x="4" y="4"/>
              </a:cxn>
              <a:cxn ang="0">
                <a:pos x="4" y="4"/>
              </a:cxn>
              <a:cxn ang="0">
                <a:pos x="5" y="3"/>
              </a:cxn>
              <a:cxn ang="0">
                <a:pos x="5" y="3"/>
              </a:cxn>
              <a:cxn ang="0">
                <a:pos x="6" y="1"/>
              </a:cxn>
              <a:cxn ang="0">
                <a:pos x="6" y="1"/>
              </a:cxn>
              <a:cxn ang="0">
                <a:pos x="7" y="1"/>
              </a:cxn>
              <a:cxn ang="0">
                <a:pos x="7" y="0"/>
              </a:cxn>
              <a:cxn ang="0">
                <a:pos x="8" y="0"/>
              </a:cxn>
              <a:cxn ang="0">
                <a:pos x="7" y="0"/>
              </a:cxn>
              <a:cxn ang="0">
                <a:pos x="7" y="0"/>
              </a:cxn>
              <a:cxn ang="0">
                <a:pos x="6" y="0"/>
              </a:cxn>
              <a:cxn ang="0">
                <a:pos x="5" y="1"/>
              </a:cxn>
              <a:cxn ang="0">
                <a:pos x="5" y="1"/>
              </a:cxn>
              <a:cxn ang="0">
                <a:pos x="4" y="2"/>
              </a:cxn>
              <a:cxn ang="0">
                <a:pos x="4" y="3"/>
              </a:cxn>
              <a:cxn ang="0">
                <a:pos x="3" y="3"/>
              </a:cxn>
            </a:cxnLst>
            <a:rect l="0" t="0" r="r" b="b"/>
            <a:pathLst>
              <a:path w="8" h="5">
                <a:moveTo>
                  <a:pt x="3" y="3"/>
                </a:moveTo>
                <a:cubicBezTo>
                  <a:pt x="3" y="3"/>
                  <a:pt x="3" y="3"/>
                  <a:pt x="3" y="3"/>
                </a:cubicBezTo>
                <a:cubicBezTo>
                  <a:pt x="2" y="3"/>
                  <a:pt x="2" y="3"/>
                  <a:pt x="2" y="3"/>
                </a:cubicBezTo>
                <a:cubicBezTo>
                  <a:pt x="1" y="3"/>
                  <a:pt x="1" y="3"/>
                  <a:pt x="1" y="3"/>
                </a:cubicBezTo>
                <a:cubicBezTo>
                  <a:pt x="2" y="4"/>
                  <a:pt x="2" y="4"/>
                  <a:pt x="2" y="4"/>
                </a:cubicBezTo>
                <a:cubicBezTo>
                  <a:pt x="1" y="4"/>
                  <a:pt x="1" y="4"/>
                  <a:pt x="1" y="4"/>
                </a:cubicBezTo>
                <a:cubicBezTo>
                  <a:pt x="0" y="4"/>
                  <a:pt x="0" y="4"/>
                  <a:pt x="0" y="4"/>
                </a:cubicBezTo>
                <a:cubicBezTo>
                  <a:pt x="0" y="4"/>
                  <a:pt x="0" y="4"/>
                  <a:pt x="0" y="4"/>
                </a:cubicBezTo>
                <a:cubicBezTo>
                  <a:pt x="0" y="5"/>
                  <a:pt x="0" y="5"/>
                  <a:pt x="0" y="5"/>
                </a:cubicBezTo>
                <a:cubicBezTo>
                  <a:pt x="0" y="5"/>
                  <a:pt x="0" y="5"/>
                  <a:pt x="0" y="5"/>
                </a:cubicBezTo>
                <a:cubicBezTo>
                  <a:pt x="1" y="5"/>
                  <a:pt x="1" y="5"/>
                  <a:pt x="1" y="5"/>
                </a:cubicBezTo>
                <a:cubicBezTo>
                  <a:pt x="2" y="5"/>
                  <a:pt x="2" y="5"/>
                  <a:pt x="2" y="5"/>
                </a:cubicBezTo>
                <a:cubicBezTo>
                  <a:pt x="3" y="5"/>
                  <a:pt x="3" y="5"/>
                  <a:pt x="3" y="5"/>
                </a:cubicBezTo>
                <a:cubicBezTo>
                  <a:pt x="4" y="5"/>
                  <a:pt x="4" y="5"/>
                  <a:pt x="4" y="5"/>
                </a:cubicBezTo>
                <a:cubicBezTo>
                  <a:pt x="4" y="4"/>
                  <a:pt x="4" y="4"/>
                  <a:pt x="4" y="4"/>
                </a:cubicBezTo>
                <a:cubicBezTo>
                  <a:pt x="4" y="4"/>
                  <a:pt x="4" y="4"/>
                  <a:pt x="4" y="4"/>
                </a:cubicBezTo>
                <a:cubicBezTo>
                  <a:pt x="5" y="3"/>
                  <a:pt x="5" y="3"/>
                  <a:pt x="5" y="3"/>
                </a:cubicBezTo>
                <a:cubicBezTo>
                  <a:pt x="5" y="3"/>
                  <a:pt x="5" y="3"/>
                  <a:pt x="5" y="3"/>
                </a:cubicBezTo>
                <a:cubicBezTo>
                  <a:pt x="6" y="1"/>
                  <a:pt x="6" y="1"/>
                  <a:pt x="6" y="1"/>
                </a:cubicBezTo>
                <a:cubicBezTo>
                  <a:pt x="6" y="1"/>
                  <a:pt x="6" y="1"/>
                  <a:pt x="6" y="1"/>
                </a:cubicBezTo>
                <a:cubicBezTo>
                  <a:pt x="7" y="1"/>
                  <a:pt x="7" y="1"/>
                  <a:pt x="7" y="1"/>
                </a:cubicBezTo>
                <a:cubicBezTo>
                  <a:pt x="7" y="0"/>
                  <a:pt x="7" y="0"/>
                  <a:pt x="7" y="0"/>
                </a:cubicBezTo>
                <a:cubicBezTo>
                  <a:pt x="8" y="0"/>
                  <a:pt x="8" y="0"/>
                  <a:pt x="8" y="0"/>
                </a:cubicBezTo>
                <a:cubicBezTo>
                  <a:pt x="7" y="0"/>
                  <a:pt x="7" y="0"/>
                  <a:pt x="7" y="0"/>
                </a:cubicBezTo>
                <a:cubicBezTo>
                  <a:pt x="7" y="0"/>
                  <a:pt x="7" y="0"/>
                  <a:pt x="7" y="0"/>
                </a:cubicBezTo>
                <a:cubicBezTo>
                  <a:pt x="6" y="0"/>
                  <a:pt x="6" y="0"/>
                  <a:pt x="6" y="0"/>
                </a:cubicBezTo>
                <a:cubicBezTo>
                  <a:pt x="5" y="1"/>
                  <a:pt x="5" y="1"/>
                  <a:pt x="5" y="1"/>
                </a:cubicBezTo>
                <a:cubicBezTo>
                  <a:pt x="5" y="1"/>
                  <a:pt x="5" y="1"/>
                  <a:pt x="5" y="1"/>
                </a:cubicBezTo>
                <a:cubicBezTo>
                  <a:pt x="4" y="2"/>
                  <a:pt x="4" y="2"/>
                  <a:pt x="4" y="2"/>
                </a:cubicBezTo>
                <a:cubicBezTo>
                  <a:pt x="4" y="3"/>
                  <a:pt x="4" y="3"/>
                  <a:pt x="4" y="3"/>
                </a:cubicBezTo>
                <a:cubicBezTo>
                  <a:pt x="3" y="3"/>
                  <a:pt x="3" y="3"/>
                  <a:pt x="3" y="3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11" name="Freeform 39"/>
          <p:cNvSpPr>
            <a:spLocks/>
          </p:cNvSpPr>
          <p:nvPr/>
        </p:nvSpPr>
        <p:spPr bwMode="auto">
          <a:xfrm>
            <a:off x="2312988" y="4030663"/>
            <a:ext cx="26987" cy="4762"/>
          </a:xfrm>
          <a:custGeom>
            <a:avLst/>
            <a:gdLst/>
            <a:ahLst/>
            <a:cxnLst>
              <a:cxn ang="0">
                <a:pos x="2" y="1"/>
              </a:cxn>
              <a:cxn ang="0">
                <a:pos x="3" y="1"/>
              </a:cxn>
              <a:cxn ang="0">
                <a:pos x="4" y="1"/>
              </a:cxn>
              <a:cxn ang="0">
                <a:pos x="4" y="0"/>
              </a:cxn>
              <a:cxn ang="0">
                <a:pos x="5" y="0"/>
              </a:cxn>
              <a:cxn ang="0">
                <a:pos x="4" y="0"/>
              </a:cxn>
              <a:cxn ang="0">
                <a:pos x="3" y="0"/>
              </a:cxn>
              <a:cxn ang="0">
                <a:pos x="2" y="0"/>
              </a:cxn>
              <a:cxn ang="0">
                <a:pos x="2" y="0"/>
              </a:cxn>
              <a:cxn ang="0">
                <a:pos x="1" y="0"/>
              </a:cxn>
              <a:cxn ang="0">
                <a:pos x="1" y="0"/>
              </a:cxn>
              <a:cxn ang="0">
                <a:pos x="0" y="1"/>
              </a:cxn>
              <a:cxn ang="0">
                <a:pos x="1" y="1"/>
              </a:cxn>
              <a:cxn ang="0">
                <a:pos x="2" y="1"/>
              </a:cxn>
            </a:cxnLst>
            <a:rect l="0" t="0" r="r" b="b"/>
            <a:pathLst>
              <a:path w="5" h="1">
                <a:moveTo>
                  <a:pt x="2" y="1"/>
                </a:moveTo>
                <a:cubicBezTo>
                  <a:pt x="3" y="1"/>
                  <a:pt x="3" y="1"/>
                  <a:pt x="3" y="1"/>
                </a:cubicBezTo>
                <a:cubicBezTo>
                  <a:pt x="4" y="1"/>
                  <a:pt x="4" y="1"/>
                  <a:pt x="4" y="1"/>
                </a:cubicBezTo>
                <a:cubicBezTo>
                  <a:pt x="4" y="0"/>
                  <a:pt x="4" y="0"/>
                  <a:pt x="4" y="0"/>
                </a:cubicBezTo>
                <a:cubicBezTo>
                  <a:pt x="5" y="0"/>
                  <a:pt x="5" y="0"/>
                  <a:pt x="5" y="0"/>
                </a:cubicBezTo>
                <a:cubicBezTo>
                  <a:pt x="5" y="0"/>
                  <a:pt x="4" y="0"/>
                  <a:pt x="4" y="0"/>
                </a:cubicBezTo>
                <a:cubicBezTo>
                  <a:pt x="3" y="0"/>
                  <a:pt x="3" y="0"/>
                  <a:pt x="3" y="0"/>
                </a:cubicBezTo>
                <a:cubicBezTo>
                  <a:pt x="2" y="0"/>
                  <a:pt x="2" y="0"/>
                  <a:pt x="2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1" y="0"/>
                  <a:pt x="1" y="0"/>
                </a:cubicBezTo>
                <a:cubicBezTo>
                  <a:pt x="1" y="0"/>
                  <a:pt x="1" y="0"/>
                  <a:pt x="1" y="0"/>
                </a:cubicBezTo>
                <a:cubicBezTo>
                  <a:pt x="0" y="1"/>
                  <a:pt x="0" y="1"/>
                  <a:pt x="0" y="1"/>
                </a:cubicBezTo>
                <a:cubicBezTo>
                  <a:pt x="1" y="1"/>
                  <a:pt x="1" y="1"/>
                  <a:pt x="1" y="1"/>
                </a:cubicBezTo>
                <a:lnTo>
                  <a:pt x="2" y="1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12" name="Oval 40"/>
          <p:cNvSpPr>
            <a:spLocks noChangeArrowheads="1"/>
          </p:cNvSpPr>
          <p:nvPr/>
        </p:nvSpPr>
        <p:spPr bwMode="auto">
          <a:xfrm>
            <a:off x="2132013" y="3925888"/>
            <a:ext cx="685800" cy="685800"/>
          </a:xfrm>
          <a:prstGeom prst="ellipse">
            <a:avLst/>
          </a:prstGeom>
          <a:noFill/>
          <a:ln w="12700" cap="flat" cmpd="sng">
            <a:solidFill>
              <a:schemeClr val="tx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131102" name="Group 9"/>
          <p:cNvGrpSpPr>
            <a:grpSpLocks/>
          </p:cNvGrpSpPr>
          <p:nvPr/>
        </p:nvGrpSpPr>
        <p:grpSpPr bwMode="auto">
          <a:xfrm>
            <a:off x="1871663" y="5156200"/>
            <a:ext cx="1206500" cy="527050"/>
            <a:chOff x="1808163" y="5018088"/>
            <a:chExt cx="1493837" cy="652463"/>
          </a:xfrm>
        </p:grpSpPr>
        <p:sp>
          <p:nvSpPr>
            <p:cNvPr id="131104" name="Freeform 44"/>
            <p:cNvSpPr>
              <a:spLocks/>
            </p:cNvSpPr>
            <p:nvPr/>
          </p:nvSpPr>
          <p:spPr bwMode="auto">
            <a:xfrm>
              <a:off x="2560638" y="5027613"/>
              <a:ext cx="741362" cy="642938"/>
            </a:xfrm>
            <a:custGeom>
              <a:avLst/>
              <a:gdLst>
                <a:gd name="T0" fmla="*/ 160 w 321"/>
                <a:gd name="T1" fmla="*/ 25 h 278"/>
                <a:gd name="T2" fmla="*/ 3 w 321"/>
                <a:gd name="T3" fmla="*/ 13 h 278"/>
                <a:gd name="T4" fmla="*/ 32 w 321"/>
                <a:gd name="T5" fmla="*/ 26 h 278"/>
                <a:gd name="T6" fmla="*/ 153 w 321"/>
                <a:gd name="T7" fmla="*/ 42 h 278"/>
                <a:gd name="T8" fmla="*/ 270 w 321"/>
                <a:gd name="T9" fmla="*/ 163 h 278"/>
                <a:gd name="T10" fmla="*/ 102 w 321"/>
                <a:gd name="T11" fmla="*/ 178 h 278"/>
                <a:gd name="T12" fmla="*/ 49 w 321"/>
                <a:gd name="T13" fmla="*/ 153 h 278"/>
                <a:gd name="T14" fmla="*/ 0 w 321"/>
                <a:gd name="T15" fmla="*/ 198 h 278"/>
                <a:gd name="T16" fmla="*/ 79 w 321"/>
                <a:gd name="T17" fmla="*/ 241 h 278"/>
                <a:gd name="T18" fmla="*/ 299 w 321"/>
                <a:gd name="T19" fmla="*/ 200 h 278"/>
                <a:gd name="T20" fmla="*/ 160 w 321"/>
                <a:gd name="T21" fmla="*/ 25 h 27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1"/>
                <a:gd name="T34" fmla="*/ 0 h 278"/>
                <a:gd name="T35" fmla="*/ 321 w 321"/>
                <a:gd name="T36" fmla="*/ 278 h 27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1" h="278">
                  <a:moveTo>
                    <a:pt x="160" y="25"/>
                  </a:moveTo>
                  <a:cubicBezTo>
                    <a:pt x="102" y="3"/>
                    <a:pt x="46" y="0"/>
                    <a:pt x="3" y="13"/>
                  </a:cubicBezTo>
                  <a:cubicBezTo>
                    <a:pt x="14" y="16"/>
                    <a:pt x="23" y="21"/>
                    <a:pt x="32" y="26"/>
                  </a:cubicBezTo>
                  <a:cubicBezTo>
                    <a:pt x="64" y="20"/>
                    <a:pt x="108" y="25"/>
                    <a:pt x="153" y="42"/>
                  </a:cubicBezTo>
                  <a:cubicBezTo>
                    <a:pt x="232" y="71"/>
                    <a:pt x="284" y="126"/>
                    <a:pt x="270" y="163"/>
                  </a:cubicBezTo>
                  <a:cubicBezTo>
                    <a:pt x="256" y="201"/>
                    <a:pt x="181" y="208"/>
                    <a:pt x="102" y="178"/>
                  </a:cubicBezTo>
                  <a:cubicBezTo>
                    <a:pt x="83" y="171"/>
                    <a:pt x="65" y="162"/>
                    <a:pt x="49" y="153"/>
                  </a:cubicBezTo>
                  <a:cubicBezTo>
                    <a:pt x="37" y="169"/>
                    <a:pt x="21" y="184"/>
                    <a:pt x="0" y="198"/>
                  </a:cubicBezTo>
                  <a:cubicBezTo>
                    <a:pt x="22" y="215"/>
                    <a:pt x="49" y="230"/>
                    <a:pt x="79" y="241"/>
                  </a:cubicBezTo>
                  <a:cubicBezTo>
                    <a:pt x="178" y="278"/>
                    <a:pt x="277" y="260"/>
                    <a:pt x="299" y="200"/>
                  </a:cubicBezTo>
                  <a:cubicBezTo>
                    <a:pt x="321" y="140"/>
                    <a:pt x="259" y="62"/>
                    <a:pt x="160" y="25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1105" name="Freeform 45"/>
            <p:cNvSpPr>
              <a:spLocks/>
            </p:cNvSpPr>
            <p:nvPr/>
          </p:nvSpPr>
          <p:spPr bwMode="auto">
            <a:xfrm>
              <a:off x="2393950" y="5114925"/>
              <a:ext cx="120650" cy="201613"/>
            </a:xfrm>
            <a:custGeom>
              <a:avLst/>
              <a:gdLst>
                <a:gd name="T0" fmla="*/ 39 w 52"/>
                <a:gd name="T1" fmla="*/ 23 h 87"/>
                <a:gd name="T2" fmla="*/ 52 w 52"/>
                <a:gd name="T3" fmla="*/ 8 h 87"/>
                <a:gd name="T4" fmla="*/ 32 w 52"/>
                <a:gd name="T5" fmla="*/ 0 h 87"/>
                <a:gd name="T6" fmla="*/ 7 w 52"/>
                <a:gd name="T7" fmla="*/ 29 h 87"/>
                <a:gd name="T8" fmla="*/ 17 w 52"/>
                <a:gd name="T9" fmla="*/ 87 h 87"/>
                <a:gd name="T10" fmla="*/ 51 w 52"/>
                <a:gd name="T11" fmla="*/ 63 h 87"/>
                <a:gd name="T12" fmla="*/ 39 w 52"/>
                <a:gd name="T13" fmla="*/ 23 h 8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87"/>
                <a:gd name="T23" fmla="*/ 52 w 52"/>
                <a:gd name="T24" fmla="*/ 87 h 8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87">
                  <a:moveTo>
                    <a:pt x="39" y="23"/>
                  </a:moveTo>
                  <a:cubicBezTo>
                    <a:pt x="41" y="17"/>
                    <a:pt x="46" y="12"/>
                    <a:pt x="52" y="8"/>
                  </a:cubicBezTo>
                  <a:cubicBezTo>
                    <a:pt x="46" y="5"/>
                    <a:pt x="40" y="2"/>
                    <a:pt x="32" y="0"/>
                  </a:cubicBezTo>
                  <a:cubicBezTo>
                    <a:pt x="20" y="7"/>
                    <a:pt x="11" y="17"/>
                    <a:pt x="7" y="29"/>
                  </a:cubicBezTo>
                  <a:cubicBezTo>
                    <a:pt x="0" y="47"/>
                    <a:pt x="4" y="68"/>
                    <a:pt x="17" y="87"/>
                  </a:cubicBezTo>
                  <a:cubicBezTo>
                    <a:pt x="31" y="80"/>
                    <a:pt x="43" y="72"/>
                    <a:pt x="51" y="63"/>
                  </a:cubicBezTo>
                  <a:cubicBezTo>
                    <a:pt x="40" y="49"/>
                    <a:pt x="34" y="35"/>
                    <a:pt x="39" y="23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1106" name="Freeform 46"/>
            <p:cNvSpPr>
              <a:spLocks noEditPoints="1"/>
            </p:cNvSpPr>
            <p:nvPr/>
          </p:nvSpPr>
          <p:spPr bwMode="auto">
            <a:xfrm>
              <a:off x="1808163" y="5018088"/>
              <a:ext cx="882650" cy="596900"/>
            </a:xfrm>
            <a:custGeom>
              <a:avLst/>
              <a:gdLst>
                <a:gd name="T0" fmla="*/ 375 w 382"/>
                <a:gd name="T1" fmla="*/ 72 h 258"/>
                <a:gd name="T2" fmla="*/ 338 w 382"/>
                <a:gd name="T3" fmla="*/ 27 h 258"/>
                <a:gd name="T4" fmla="*/ 311 w 382"/>
                <a:gd name="T5" fmla="*/ 14 h 258"/>
                <a:gd name="T6" fmla="*/ 166 w 382"/>
                <a:gd name="T7" fmla="*/ 15 h 258"/>
                <a:gd name="T8" fmla="*/ 17 w 382"/>
                <a:gd name="T9" fmla="*/ 172 h 258"/>
                <a:gd name="T10" fmla="*/ 226 w 382"/>
                <a:gd name="T11" fmla="*/ 230 h 258"/>
                <a:gd name="T12" fmla="*/ 308 w 382"/>
                <a:gd name="T13" fmla="*/ 193 h 258"/>
                <a:gd name="T14" fmla="*/ 355 w 382"/>
                <a:gd name="T15" fmla="*/ 149 h 258"/>
                <a:gd name="T16" fmla="*/ 375 w 382"/>
                <a:gd name="T17" fmla="*/ 72 h 258"/>
                <a:gd name="T18" fmla="*/ 263 w 382"/>
                <a:gd name="T19" fmla="*/ 146 h 258"/>
                <a:gd name="T20" fmla="*/ 208 w 382"/>
                <a:gd name="T21" fmla="*/ 168 h 258"/>
                <a:gd name="T22" fmla="*/ 48 w 382"/>
                <a:gd name="T23" fmla="*/ 139 h 258"/>
                <a:gd name="T24" fmla="*/ 170 w 382"/>
                <a:gd name="T25" fmla="*/ 32 h 258"/>
                <a:gd name="T26" fmla="*/ 283 w 382"/>
                <a:gd name="T27" fmla="*/ 25 h 258"/>
                <a:gd name="T28" fmla="*/ 311 w 382"/>
                <a:gd name="T29" fmla="*/ 36 h 258"/>
                <a:gd name="T30" fmla="*/ 331 w 382"/>
                <a:gd name="T31" fmla="*/ 60 h 258"/>
                <a:gd name="T32" fmla="*/ 311 w 382"/>
                <a:gd name="T33" fmla="*/ 112 h 258"/>
                <a:gd name="T34" fmla="*/ 263 w 382"/>
                <a:gd name="T35" fmla="*/ 146 h 25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82"/>
                <a:gd name="T55" fmla="*/ 0 h 258"/>
                <a:gd name="T56" fmla="*/ 382 w 382"/>
                <a:gd name="T57" fmla="*/ 258 h 25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82" h="258">
                  <a:moveTo>
                    <a:pt x="375" y="72"/>
                  </a:moveTo>
                  <a:cubicBezTo>
                    <a:pt x="369" y="54"/>
                    <a:pt x="357" y="38"/>
                    <a:pt x="338" y="27"/>
                  </a:cubicBezTo>
                  <a:cubicBezTo>
                    <a:pt x="330" y="22"/>
                    <a:pt x="321" y="17"/>
                    <a:pt x="311" y="14"/>
                  </a:cubicBezTo>
                  <a:cubicBezTo>
                    <a:pt x="272" y="0"/>
                    <a:pt x="219" y="0"/>
                    <a:pt x="166" y="15"/>
                  </a:cubicBezTo>
                  <a:cubicBezTo>
                    <a:pt x="67" y="42"/>
                    <a:pt x="0" y="113"/>
                    <a:pt x="17" y="172"/>
                  </a:cubicBezTo>
                  <a:cubicBezTo>
                    <a:pt x="33" y="232"/>
                    <a:pt x="127" y="258"/>
                    <a:pt x="226" y="230"/>
                  </a:cubicBezTo>
                  <a:cubicBezTo>
                    <a:pt x="257" y="221"/>
                    <a:pt x="285" y="209"/>
                    <a:pt x="308" y="193"/>
                  </a:cubicBezTo>
                  <a:cubicBezTo>
                    <a:pt x="327" y="180"/>
                    <a:pt x="344" y="165"/>
                    <a:pt x="355" y="149"/>
                  </a:cubicBezTo>
                  <a:cubicBezTo>
                    <a:pt x="374" y="124"/>
                    <a:pt x="382" y="97"/>
                    <a:pt x="375" y="72"/>
                  </a:cubicBezTo>
                  <a:close/>
                  <a:moveTo>
                    <a:pt x="263" y="146"/>
                  </a:moveTo>
                  <a:cubicBezTo>
                    <a:pt x="247" y="155"/>
                    <a:pt x="228" y="162"/>
                    <a:pt x="208" y="168"/>
                  </a:cubicBezTo>
                  <a:cubicBezTo>
                    <a:pt x="130" y="189"/>
                    <a:pt x="58" y="177"/>
                    <a:pt x="48" y="139"/>
                  </a:cubicBezTo>
                  <a:cubicBezTo>
                    <a:pt x="38" y="102"/>
                    <a:pt x="92" y="54"/>
                    <a:pt x="170" y="32"/>
                  </a:cubicBezTo>
                  <a:cubicBezTo>
                    <a:pt x="213" y="20"/>
                    <a:pt x="254" y="19"/>
                    <a:pt x="283" y="25"/>
                  </a:cubicBezTo>
                  <a:cubicBezTo>
                    <a:pt x="294" y="28"/>
                    <a:pt x="304" y="32"/>
                    <a:pt x="311" y="36"/>
                  </a:cubicBezTo>
                  <a:cubicBezTo>
                    <a:pt x="321" y="43"/>
                    <a:pt x="328" y="51"/>
                    <a:pt x="331" y="60"/>
                  </a:cubicBezTo>
                  <a:cubicBezTo>
                    <a:pt x="335" y="77"/>
                    <a:pt x="328" y="95"/>
                    <a:pt x="311" y="112"/>
                  </a:cubicBezTo>
                  <a:cubicBezTo>
                    <a:pt x="299" y="124"/>
                    <a:pt x="283" y="136"/>
                    <a:pt x="263" y="14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02" name="TextBox 7"/>
          <p:cNvSpPr txBox="1">
            <a:spLocks noChangeArrowheads="1"/>
          </p:cNvSpPr>
          <p:nvPr/>
        </p:nvSpPr>
        <p:spPr bwMode="auto">
          <a:xfrm>
            <a:off x="558800" y="6435725"/>
            <a:ext cx="622300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/>
          <a:p>
            <a:pPr>
              <a:lnSpc>
                <a:spcPct val="95000"/>
              </a:lnSpc>
              <a:tabLst>
                <a:tab pos="395288" algn="l"/>
              </a:tabLst>
              <a:defRPr/>
            </a:pPr>
            <a:r>
              <a:rPr lang="hu-HU" sz="800" smtClean="0">
                <a:solidFill>
                  <a:srgbClr val="7D7D7D"/>
                </a:solidFill>
                <a:ea typeface="Arial Unicode MS" pitchFamily="34" charset="-128"/>
                <a:cs typeface="Arial Unicode MS" pitchFamily="34" charset="-128"/>
              </a:rPr>
              <a:t>Alapja:	Okostelefon-használók, akik az internetet általánosságban használják, n=1000 </a:t>
            </a:r>
          </a:p>
          <a:p>
            <a:pPr>
              <a:lnSpc>
                <a:spcPct val="95000"/>
              </a:lnSpc>
              <a:tabLst>
                <a:tab pos="395288" algn="l"/>
              </a:tabLst>
              <a:defRPr/>
            </a:pPr>
            <a:r>
              <a:rPr lang="hu-HU" sz="800" smtClean="0">
                <a:solidFill>
                  <a:srgbClr val="7D7D7D"/>
                </a:solidFill>
                <a:ea typeface="Arial Unicode MS" pitchFamily="34" charset="-128"/>
                <a:cs typeface="Arial Unicode MS" pitchFamily="34" charset="-128"/>
              </a:rPr>
              <a:t>	S2. Adja meg a nemét. / S1. Életkora? / D3. Hol él? D2. Mi a családi állapota? </a:t>
            </a:r>
            <a:endParaRPr lang="hu-HU" sz="800">
              <a:solidFill>
                <a:srgbClr val="7D7D7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46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2786580"/>
              </p:ext>
            </p:extLst>
          </p:nvPr>
        </p:nvGraphicFramePr>
        <p:xfrm>
          <a:off x="4242817" y="1765809"/>
          <a:ext cx="4443984" cy="42412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09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133475"/>
            <a:ext cx="9144000" cy="496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2098" name="Title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476250"/>
          </a:xfrm>
        </p:spPr>
        <p:txBody>
          <a:bodyPr>
            <a:noAutofit/>
          </a:bodyPr>
          <a:lstStyle/>
          <a:p>
            <a:r>
              <a:rPr lang="hu-HU" smtClean="0"/>
              <a:t>Demográfia</a:t>
            </a:r>
          </a:p>
        </p:txBody>
      </p:sp>
      <p:sp>
        <p:nvSpPr>
          <p:cNvPr id="132099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3F4E82F0-1E52-41DD-8800-9E54175B6381}" type="slidenum">
              <a:rPr lang="hu-HU">
                <a:solidFill>
                  <a:srgbClr val="7D7D7D"/>
                </a:solidFill>
              </a:rPr>
              <a:pPr/>
              <a:t>29</a:t>
            </a:fld>
            <a:endParaRPr lang="hu-HU">
              <a:solidFill>
                <a:srgbClr val="7D7D7D"/>
              </a:solidFill>
            </a:endParaRPr>
          </a:p>
        </p:txBody>
      </p:sp>
      <p:sp>
        <p:nvSpPr>
          <p:cNvPr id="132101" name="TextBox 76"/>
          <p:cNvSpPr txBox="1">
            <a:spLocks noChangeArrowheads="1"/>
          </p:cNvSpPr>
          <p:nvPr/>
        </p:nvSpPr>
        <p:spPr bwMode="auto">
          <a:xfrm>
            <a:off x="1525414" y="2986088"/>
            <a:ext cx="2076450" cy="534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1550" spc="-2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Foglalkoztatási</a:t>
            </a:r>
          </a:p>
          <a:p>
            <a:pPr algn="r">
              <a:lnSpc>
                <a:spcPct val="90000"/>
              </a:lnSpc>
            </a:pPr>
            <a:r>
              <a:rPr lang="hu-HU" sz="155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állapot</a:t>
            </a:r>
          </a:p>
        </p:txBody>
      </p:sp>
      <p:sp>
        <p:nvSpPr>
          <p:cNvPr id="132102" name="TextBox 78"/>
          <p:cNvSpPr txBox="1">
            <a:spLocks noChangeArrowheads="1"/>
          </p:cNvSpPr>
          <p:nvPr/>
        </p:nvSpPr>
        <p:spPr bwMode="auto">
          <a:xfrm>
            <a:off x="1525414" y="1944688"/>
            <a:ext cx="2076450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155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Végzettség</a:t>
            </a:r>
          </a:p>
        </p:txBody>
      </p:sp>
      <p:sp>
        <p:nvSpPr>
          <p:cNvPr id="132103" name="Freeform 6"/>
          <p:cNvSpPr>
            <a:spLocks/>
          </p:cNvSpPr>
          <p:nvPr/>
        </p:nvSpPr>
        <p:spPr bwMode="auto">
          <a:xfrm>
            <a:off x="3580279" y="1631950"/>
            <a:ext cx="217487" cy="939800"/>
          </a:xfrm>
          <a:custGeom>
            <a:avLst/>
            <a:gdLst>
              <a:gd name="T0" fmla="*/ 402 w 402"/>
              <a:gd name="T1" fmla="*/ 2287 h 2287"/>
              <a:gd name="T2" fmla="*/ 0 w 402"/>
              <a:gd name="T3" fmla="*/ 2287 h 2287"/>
              <a:gd name="T4" fmla="*/ 0 w 402"/>
              <a:gd name="T5" fmla="*/ 0 h 2287"/>
              <a:gd name="T6" fmla="*/ 402 w 402"/>
              <a:gd name="T7" fmla="*/ 0 h 2287"/>
              <a:gd name="T8" fmla="*/ 0 60000 65536"/>
              <a:gd name="T9" fmla="*/ 0 60000 65536"/>
              <a:gd name="T10" fmla="*/ 0 60000 65536"/>
              <a:gd name="T11" fmla="*/ 0 60000 65536"/>
              <a:gd name="T12" fmla="*/ 0 w 402"/>
              <a:gd name="T13" fmla="*/ 0 h 2287"/>
              <a:gd name="T14" fmla="*/ 402 w 402"/>
              <a:gd name="T15" fmla="*/ 2287 h 228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02" h="2287">
                <a:moveTo>
                  <a:pt x="402" y="2287"/>
                </a:moveTo>
                <a:lnTo>
                  <a:pt x="0" y="2287"/>
                </a:lnTo>
                <a:lnTo>
                  <a:pt x="0" y="0"/>
                </a:lnTo>
                <a:lnTo>
                  <a:pt x="402" y="0"/>
                </a:lnTo>
              </a:path>
            </a:pathLst>
          </a:custGeom>
          <a:noFill/>
          <a:ln w="12700" cap="flat">
            <a:solidFill>
              <a:schemeClr val="accent2"/>
            </a:solidFill>
            <a:prstDash val="sysDot"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2104" name="Freeform 6"/>
          <p:cNvSpPr>
            <a:spLocks/>
          </p:cNvSpPr>
          <p:nvPr/>
        </p:nvSpPr>
        <p:spPr bwMode="auto">
          <a:xfrm>
            <a:off x="3569166" y="2784475"/>
            <a:ext cx="228600" cy="936625"/>
          </a:xfrm>
          <a:custGeom>
            <a:avLst/>
            <a:gdLst>
              <a:gd name="T0" fmla="*/ 402 w 402"/>
              <a:gd name="T1" fmla="*/ 2287 h 2287"/>
              <a:gd name="T2" fmla="*/ 0 w 402"/>
              <a:gd name="T3" fmla="*/ 2287 h 2287"/>
              <a:gd name="T4" fmla="*/ 0 w 402"/>
              <a:gd name="T5" fmla="*/ 0 h 2287"/>
              <a:gd name="T6" fmla="*/ 402 w 402"/>
              <a:gd name="T7" fmla="*/ 0 h 2287"/>
              <a:gd name="T8" fmla="*/ 0 60000 65536"/>
              <a:gd name="T9" fmla="*/ 0 60000 65536"/>
              <a:gd name="T10" fmla="*/ 0 60000 65536"/>
              <a:gd name="T11" fmla="*/ 0 60000 65536"/>
              <a:gd name="T12" fmla="*/ 0 w 402"/>
              <a:gd name="T13" fmla="*/ 0 h 2287"/>
              <a:gd name="T14" fmla="*/ 402 w 402"/>
              <a:gd name="T15" fmla="*/ 2287 h 228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02" h="2287">
                <a:moveTo>
                  <a:pt x="402" y="2287"/>
                </a:moveTo>
                <a:lnTo>
                  <a:pt x="0" y="2287"/>
                </a:lnTo>
                <a:lnTo>
                  <a:pt x="0" y="0"/>
                </a:lnTo>
                <a:lnTo>
                  <a:pt x="402" y="0"/>
                </a:lnTo>
              </a:path>
            </a:pathLst>
          </a:custGeom>
          <a:noFill/>
          <a:ln w="12700" cap="flat">
            <a:solidFill>
              <a:schemeClr val="accent1"/>
            </a:solidFill>
            <a:prstDash val="sysDot"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9" name="Freeform 6"/>
          <p:cNvSpPr>
            <a:spLocks/>
          </p:cNvSpPr>
          <p:nvPr/>
        </p:nvSpPr>
        <p:spPr bwMode="auto">
          <a:xfrm>
            <a:off x="3580279" y="4035425"/>
            <a:ext cx="217487" cy="1906588"/>
          </a:xfrm>
          <a:custGeom>
            <a:avLst/>
            <a:gdLst/>
            <a:ahLst/>
            <a:cxnLst>
              <a:cxn ang="0">
                <a:pos x="402" y="2287"/>
              </a:cxn>
              <a:cxn ang="0">
                <a:pos x="0" y="2287"/>
              </a:cxn>
              <a:cxn ang="0">
                <a:pos x="0" y="0"/>
              </a:cxn>
              <a:cxn ang="0">
                <a:pos x="402" y="0"/>
              </a:cxn>
            </a:cxnLst>
            <a:rect l="0" t="0" r="r" b="b"/>
            <a:pathLst>
              <a:path w="402" h="2287">
                <a:moveTo>
                  <a:pt x="402" y="2287"/>
                </a:moveTo>
                <a:lnTo>
                  <a:pt x="0" y="2287"/>
                </a:lnTo>
                <a:lnTo>
                  <a:pt x="0" y="0"/>
                </a:lnTo>
                <a:lnTo>
                  <a:pt x="402" y="0"/>
                </a:lnTo>
              </a:path>
            </a:pathLst>
          </a:custGeom>
          <a:noFill/>
          <a:ln w="12700" cap="flat">
            <a:solidFill>
              <a:schemeClr val="accent3"/>
            </a:solidFill>
            <a:prstDash val="sysDot"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2106" name="TextBox 8"/>
          <p:cNvSpPr txBox="1">
            <a:spLocks noChangeArrowheads="1"/>
          </p:cNvSpPr>
          <p:nvPr/>
        </p:nvSpPr>
        <p:spPr bwMode="auto">
          <a:xfrm>
            <a:off x="1525414" y="4832350"/>
            <a:ext cx="2076450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155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Jövedelem</a:t>
            </a:r>
          </a:p>
        </p:txBody>
      </p:sp>
      <p:grpSp>
        <p:nvGrpSpPr>
          <p:cNvPr id="132107" name="Group 62"/>
          <p:cNvGrpSpPr>
            <a:grpSpLocks/>
          </p:cNvGrpSpPr>
          <p:nvPr/>
        </p:nvGrpSpPr>
        <p:grpSpPr bwMode="auto">
          <a:xfrm>
            <a:off x="1313329" y="1706563"/>
            <a:ext cx="885825" cy="790575"/>
            <a:chOff x="-2224088" y="1055687"/>
            <a:chExt cx="2227263" cy="1984376"/>
          </a:xfrm>
        </p:grpSpPr>
        <p:sp>
          <p:nvSpPr>
            <p:cNvPr id="132155" name="Freeform 5"/>
            <p:cNvSpPr>
              <a:spLocks/>
            </p:cNvSpPr>
            <p:nvPr/>
          </p:nvSpPr>
          <p:spPr bwMode="auto">
            <a:xfrm>
              <a:off x="-2208213" y="1862138"/>
              <a:ext cx="220663" cy="142875"/>
            </a:xfrm>
            <a:custGeom>
              <a:avLst/>
              <a:gdLst>
                <a:gd name="T0" fmla="*/ 2 w 59"/>
                <a:gd name="T1" fmla="*/ 29 h 38"/>
                <a:gd name="T2" fmla="*/ 8 w 59"/>
                <a:gd name="T3" fmla="*/ 38 h 38"/>
                <a:gd name="T4" fmla="*/ 51 w 59"/>
                <a:gd name="T5" fmla="*/ 38 h 38"/>
                <a:gd name="T6" fmla="*/ 58 w 59"/>
                <a:gd name="T7" fmla="*/ 29 h 38"/>
                <a:gd name="T8" fmla="*/ 52 w 59"/>
                <a:gd name="T9" fmla="*/ 7 h 38"/>
                <a:gd name="T10" fmla="*/ 42 w 59"/>
                <a:gd name="T11" fmla="*/ 3 h 38"/>
                <a:gd name="T12" fmla="*/ 30 w 59"/>
                <a:gd name="T13" fmla="*/ 5 h 38"/>
                <a:gd name="T14" fmla="*/ 17 w 59"/>
                <a:gd name="T15" fmla="*/ 3 h 38"/>
                <a:gd name="T16" fmla="*/ 7 w 59"/>
                <a:gd name="T17" fmla="*/ 7 h 38"/>
                <a:gd name="T18" fmla="*/ 2 w 59"/>
                <a:gd name="T19" fmla="*/ 29 h 3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"/>
                <a:gd name="T31" fmla="*/ 0 h 38"/>
                <a:gd name="T32" fmla="*/ 59 w 59"/>
                <a:gd name="T33" fmla="*/ 38 h 3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" h="38">
                  <a:moveTo>
                    <a:pt x="2" y="29"/>
                  </a:moveTo>
                  <a:cubicBezTo>
                    <a:pt x="0" y="34"/>
                    <a:pt x="3" y="38"/>
                    <a:pt x="8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6" y="38"/>
                    <a:pt x="59" y="34"/>
                    <a:pt x="58" y="29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1" y="2"/>
                    <a:pt x="46" y="0"/>
                    <a:pt x="42" y="3"/>
                  </a:cubicBezTo>
                  <a:cubicBezTo>
                    <a:pt x="42" y="3"/>
                    <a:pt x="37" y="5"/>
                    <a:pt x="30" y="5"/>
                  </a:cubicBezTo>
                  <a:cubicBezTo>
                    <a:pt x="22" y="5"/>
                    <a:pt x="17" y="3"/>
                    <a:pt x="17" y="3"/>
                  </a:cubicBezTo>
                  <a:cubicBezTo>
                    <a:pt x="13" y="0"/>
                    <a:pt x="9" y="2"/>
                    <a:pt x="7" y="7"/>
                  </a:cubicBezTo>
                  <a:lnTo>
                    <a:pt x="2" y="29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56" name="Freeform 6"/>
            <p:cNvSpPr>
              <a:spLocks/>
            </p:cNvSpPr>
            <p:nvPr/>
          </p:nvSpPr>
          <p:spPr bwMode="auto">
            <a:xfrm>
              <a:off x="-2155825" y="1708150"/>
              <a:ext cx="115888" cy="117475"/>
            </a:xfrm>
            <a:custGeom>
              <a:avLst/>
              <a:gdLst>
                <a:gd name="T0" fmla="*/ 16 w 31"/>
                <a:gd name="T1" fmla="*/ 31 h 31"/>
                <a:gd name="T2" fmla="*/ 29 w 31"/>
                <a:gd name="T3" fmla="*/ 22 h 31"/>
                <a:gd name="T4" fmla="*/ 31 w 31"/>
                <a:gd name="T5" fmla="*/ 15 h 31"/>
                <a:gd name="T6" fmla="*/ 16 w 31"/>
                <a:gd name="T7" fmla="*/ 0 h 31"/>
                <a:gd name="T8" fmla="*/ 0 w 31"/>
                <a:gd name="T9" fmla="*/ 15 h 31"/>
                <a:gd name="T10" fmla="*/ 2 w 31"/>
                <a:gd name="T11" fmla="*/ 22 h 31"/>
                <a:gd name="T12" fmla="*/ 16 w 31"/>
                <a:gd name="T13" fmla="*/ 31 h 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1"/>
                <a:gd name="T22" fmla="*/ 0 h 31"/>
                <a:gd name="T23" fmla="*/ 31 w 31"/>
                <a:gd name="T24" fmla="*/ 31 h 3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1" h="31">
                  <a:moveTo>
                    <a:pt x="16" y="31"/>
                  </a:moveTo>
                  <a:cubicBezTo>
                    <a:pt x="22" y="31"/>
                    <a:pt x="27" y="27"/>
                    <a:pt x="29" y="22"/>
                  </a:cubicBezTo>
                  <a:cubicBezTo>
                    <a:pt x="30" y="20"/>
                    <a:pt x="31" y="18"/>
                    <a:pt x="31" y="15"/>
                  </a:cubicBezTo>
                  <a:cubicBezTo>
                    <a:pt x="31" y="7"/>
                    <a:pt x="24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8"/>
                    <a:pt x="1" y="20"/>
                    <a:pt x="2" y="22"/>
                  </a:cubicBezTo>
                  <a:cubicBezTo>
                    <a:pt x="4" y="27"/>
                    <a:pt x="10" y="31"/>
                    <a:pt x="16" y="31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57" name="Freeform 8"/>
            <p:cNvSpPr>
              <a:spLocks/>
            </p:cNvSpPr>
            <p:nvPr/>
          </p:nvSpPr>
          <p:spPr bwMode="auto">
            <a:xfrm>
              <a:off x="-1852613" y="1366838"/>
              <a:ext cx="839788" cy="300038"/>
            </a:xfrm>
            <a:custGeom>
              <a:avLst/>
              <a:gdLst>
                <a:gd name="T0" fmla="*/ 222 w 224"/>
                <a:gd name="T1" fmla="*/ 74 h 80"/>
                <a:gd name="T2" fmla="*/ 223 w 224"/>
                <a:gd name="T3" fmla="*/ 64 h 80"/>
                <a:gd name="T4" fmla="*/ 224 w 224"/>
                <a:gd name="T5" fmla="*/ 54 h 80"/>
                <a:gd name="T6" fmla="*/ 224 w 224"/>
                <a:gd name="T7" fmla="*/ 49 h 80"/>
                <a:gd name="T8" fmla="*/ 222 w 224"/>
                <a:gd name="T9" fmla="*/ 35 h 80"/>
                <a:gd name="T10" fmla="*/ 222 w 224"/>
                <a:gd name="T11" fmla="*/ 30 h 80"/>
                <a:gd name="T12" fmla="*/ 220 w 224"/>
                <a:gd name="T13" fmla="*/ 26 h 80"/>
                <a:gd name="T14" fmla="*/ 220 w 224"/>
                <a:gd name="T15" fmla="*/ 26 h 80"/>
                <a:gd name="T16" fmla="*/ 220 w 224"/>
                <a:gd name="T17" fmla="*/ 25 h 80"/>
                <a:gd name="T18" fmla="*/ 219 w 224"/>
                <a:gd name="T19" fmla="*/ 25 h 80"/>
                <a:gd name="T20" fmla="*/ 218 w 224"/>
                <a:gd name="T21" fmla="*/ 24 h 80"/>
                <a:gd name="T22" fmla="*/ 210 w 224"/>
                <a:gd name="T23" fmla="*/ 20 h 80"/>
                <a:gd name="T24" fmla="*/ 185 w 224"/>
                <a:gd name="T25" fmla="*/ 12 h 80"/>
                <a:gd name="T26" fmla="*/ 111 w 224"/>
                <a:gd name="T27" fmla="*/ 1 h 80"/>
                <a:gd name="T28" fmla="*/ 104 w 224"/>
                <a:gd name="T29" fmla="*/ 0 h 80"/>
                <a:gd name="T30" fmla="*/ 14 w 224"/>
                <a:gd name="T31" fmla="*/ 19 h 80"/>
                <a:gd name="T32" fmla="*/ 8 w 224"/>
                <a:gd name="T33" fmla="*/ 22 h 80"/>
                <a:gd name="T34" fmla="*/ 3 w 224"/>
                <a:gd name="T35" fmla="*/ 26 h 80"/>
                <a:gd name="T36" fmla="*/ 3 w 224"/>
                <a:gd name="T37" fmla="*/ 26 h 80"/>
                <a:gd name="T38" fmla="*/ 3 w 224"/>
                <a:gd name="T39" fmla="*/ 26 h 80"/>
                <a:gd name="T40" fmla="*/ 2 w 224"/>
                <a:gd name="T41" fmla="*/ 27 h 80"/>
                <a:gd name="T42" fmla="*/ 1 w 224"/>
                <a:gd name="T43" fmla="*/ 33 h 80"/>
                <a:gd name="T44" fmla="*/ 0 w 224"/>
                <a:gd name="T45" fmla="*/ 48 h 80"/>
                <a:gd name="T46" fmla="*/ 0 w 224"/>
                <a:gd name="T47" fmla="*/ 51 h 80"/>
                <a:gd name="T48" fmla="*/ 1 w 224"/>
                <a:gd name="T49" fmla="*/ 67 h 80"/>
                <a:gd name="T50" fmla="*/ 2 w 224"/>
                <a:gd name="T51" fmla="*/ 72 h 80"/>
                <a:gd name="T52" fmla="*/ 3 w 224"/>
                <a:gd name="T53" fmla="*/ 75 h 80"/>
                <a:gd name="T54" fmla="*/ 13 w 224"/>
                <a:gd name="T55" fmla="*/ 79 h 80"/>
                <a:gd name="T56" fmla="*/ 57 w 224"/>
                <a:gd name="T57" fmla="*/ 69 h 80"/>
                <a:gd name="T58" fmla="*/ 111 w 224"/>
                <a:gd name="T59" fmla="*/ 65 h 80"/>
                <a:gd name="T60" fmla="*/ 164 w 224"/>
                <a:gd name="T61" fmla="*/ 69 h 80"/>
                <a:gd name="T62" fmla="*/ 211 w 224"/>
                <a:gd name="T63" fmla="*/ 79 h 80"/>
                <a:gd name="T64" fmla="*/ 221 w 224"/>
                <a:gd name="T65" fmla="*/ 77 h 80"/>
                <a:gd name="T66" fmla="*/ 222 w 224"/>
                <a:gd name="T67" fmla="*/ 74 h 8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24"/>
                <a:gd name="T103" fmla="*/ 0 h 80"/>
                <a:gd name="T104" fmla="*/ 224 w 224"/>
                <a:gd name="T105" fmla="*/ 80 h 8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24" h="80">
                  <a:moveTo>
                    <a:pt x="222" y="74"/>
                  </a:moveTo>
                  <a:cubicBezTo>
                    <a:pt x="222" y="71"/>
                    <a:pt x="223" y="68"/>
                    <a:pt x="223" y="64"/>
                  </a:cubicBezTo>
                  <a:cubicBezTo>
                    <a:pt x="224" y="61"/>
                    <a:pt x="224" y="57"/>
                    <a:pt x="224" y="54"/>
                  </a:cubicBezTo>
                  <a:cubicBezTo>
                    <a:pt x="224" y="52"/>
                    <a:pt x="224" y="51"/>
                    <a:pt x="224" y="49"/>
                  </a:cubicBezTo>
                  <a:cubicBezTo>
                    <a:pt x="223" y="44"/>
                    <a:pt x="223" y="39"/>
                    <a:pt x="222" y="35"/>
                  </a:cubicBezTo>
                  <a:cubicBezTo>
                    <a:pt x="222" y="30"/>
                    <a:pt x="222" y="30"/>
                    <a:pt x="222" y="30"/>
                  </a:cubicBezTo>
                  <a:cubicBezTo>
                    <a:pt x="221" y="28"/>
                    <a:pt x="220" y="26"/>
                    <a:pt x="220" y="26"/>
                  </a:cubicBezTo>
                  <a:cubicBezTo>
                    <a:pt x="220" y="26"/>
                    <a:pt x="220" y="26"/>
                    <a:pt x="220" y="26"/>
                  </a:cubicBezTo>
                  <a:cubicBezTo>
                    <a:pt x="220" y="26"/>
                    <a:pt x="220" y="25"/>
                    <a:pt x="220" y="25"/>
                  </a:cubicBezTo>
                  <a:cubicBezTo>
                    <a:pt x="220" y="25"/>
                    <a:pt x="220" y="25"/>
                    <a:pt x="219" y="25"/>
                  </a:cubicBezTo>
                  <a:cubicBezTo>
                    <a:pt x="219" y="25"/>
                    <a:pt x="218" y="24"/>
                    <a:pt x="218" y="24"/>
                  </a:cubicBezTo>
                  <a:cubicBezTo>
                    <a:pt x="216" y="23"/>
                    <a:pt x="213" y="21"/>
                    <a:pt x="210" y="20"/>
                  </a:cubicBezTo>
                  <a:cubicBezTo>
                    <a:pt x="204" y="17"/>
                    <a:pt x="195" y="14"/>
                    <a:pt x="185" y="12"/>
                  </a:cubicBezTo>
                  <a:cubicBezTo>
                    <a:pt x="164" y="6"/>
                    <a:pt x="137" y="1"/>
                    <a:pt x="111" y="1"/>
                  </a:cubicBezTo>
                  <a:cubicBezTo>
                    <a:pt x="109" y="0"/>
                    <a:pt x="107" y="0"/>
                    <a:pt x="104" y="0"/>
                  </a:cubicBezTo>
                  <a:cubicBezTo>
                    <a:pt x="67" y="0"/>
                    <a:pt x="32" y="11"/>
                    <a:pt x="14" y="19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5" y="24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3" y="27"/>
                    <a:pt x="2" y="27"/>
                  </a:cubicBezTo>
                  <a:cubicBezTo>
                    <a:pt x="2" y="29"/>
                    <a:pt x="2" y="30"/>
                    <a:pt x="1" y="33"/>
                  </a:cubicBezTo>
                  <a:cubicBezTo>
                    <a:pt x="1" y="37"/>
                    <a:pt x="0" y="42"/>
                    <a:pt x="0" y="48"/>
                  </a:cubicBezTo>
                  <a:cubicBezTo>
                    <a:pt x="0" y="49"/>
                    <a:pt x="0" y="50"/>
                    <a:pt x="0" y="51"/>
                  </a:cubicBezTo>
                  <a:cubicBezTo>
                    <a:pt x="0" y="56"/>
                    <a:pt x="1" y="62"/>
                    <a:pt x="1" y="67"/>
                  </a:cubicBezTo>
                  <a:cubicBezTo>
                    <a:pt x="2" y="69"/>
                    <a:pt x="2" y="70"/>
                    <a:pt x="2" y="72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4" y="79"/>
                    <a:pt x="8" y="80"/>
                    <a:pt x="13" y="79"/>
                  </a:cubicBezTo>
                  <a:cubicBezTo>
                    <a:pt x="13" y="79"/>
                    <a:pt x="33" y="73"/>
                    <a:pt x="57" y="69"/>
                  </a:cubicBezTo>
                  <a:cubicBezTo>
                    <a:pt x="73" y="67"/>
                    <a:pt x="92" y="65"/>
                    <a:pt x="111" y="65"/>
                  </a:cubicBezTo>
                  <a:cubicBezTo>
                    <a:pt x="130" y="65"/>
                    <a:pt x="148" y="66"/>
                    <a:pt x="164" y="69"/>
                  </a:cubicBezTo>
                  <a:cubicBezTo>
                    <a:pt x="190" y="73"/>
                    <a:pt x="211" y="79"/>
                    <a:pt x="211" y="79"/>
                  </a:cubicBezTo>
                  <a:cubicBezTo>
                    <a:pt x="216" y="80"/>
                    <a:pt x="220" y="80"/>
                    <a:pt x="221" y="77"/>
                  </a:cubicBezTo>
                  <a:cubicBezTo>
                    <a:pt x="221" y="77"/>
                    <a:pt x="221" y="77"/>
                    <a:pt x="222" y="74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58" name="Freeform 9"/>
            <p:cNvSpPr>
              <a:spLocks/>
            </p:cNvSpPr>
            <p:nvPr/>
          </p:nvSpPr>
          <p:spPr bwMode="auto">
            <a:xfrm>
              <a:off x="-2224088" y="1055687"/>
              <a:ext cx="1544638" cy="593725"/>
            </a:xfrm>
            <a:custGeom>
              <a:avLst/>
              <a:gdLst>
                <a:gd name="T0" fmla="*/ 4 w 412"/>
                <a:gd name="T1" fmla="*/ 92 h 158"/>
                <a:gd name="T2" fmla="*/ 4 w 412"/>
                <a:gd name="T3" fmla="*/ 98 h 158"/>
                <a:gd name="T4" fmla="*/ 18 w 412"/>
                <a:gd name="T5" fmla="*/ 105 h 158"/>
                <a:gd name="T6" fmla="*/ 26 w 412"/>
                <a:gd name="T7" fmla="*/ 108 h 158"/>
                <a:gd name="T8" fmla="*/ 26 w 412"/>
                <a:gd name="T9" fmla="*/ 116 h 158"/>
                <a:gd name="T10" fmla="*/ 26 w 412"/>
                <a:gd name="T11" fmla="*/ 150 h 158"/>
                <a:gd name="T12" fmla="*/ 31 w 412"/>
                <a:gd name="T13" fmla="*/ 158 h 158"/>
                <a:gd name="T14" fmla="*/ 34 w 412"/>
                <a:gd name="T15" fmla="*/ 158 h 158"/>
                <a:gd name="T16" fmla="*/ 36 w 412"/>
                <a:gd name="T17" fmla="*/ 158 h 158"/>
                <a:gd name="T18" fmla="*/ 41 w 412"/>
                <a:gd name="T19" fmla="*/ 150 h 158"/>
                <a:gd name="T20" fmla="*/ 41 w 412"/>
                <a:gd name="T21" fmla="*/ 121 h 158"/>
                <a:gd name="T22" fmla="*/ 41 w 412"/>
                <a:gd name="T23" fmla="*/ 113 h 158"/>
                <a:gd name="T24" fmla="*/ 49 w 412"/>
                <a:gd name="T25" fmla="*/ 115 h 158"/>
                <a:gd name="T26" fmla="*/ 75 w 412"/>
                <a:gd name="T27" fmla="*/ 126 h 158"/>
                <a:gd name="T28" fmla="*/ 84 w 412"/>
                <a:gd name="T29" fmla="*/ 120 h 158"/>
                <a:gd name="T30" fmla="*/ 85 w 412"/>
                <a:gd name="T31" fmla="*/ 113 h 158"/>
                <a:gd name="T32" fmla="*/ 86 w 412"/>
                <a:gd name="T33" fmla="*/ 107 h 158"/>
                <a:gd name="T34" fmla="*/ 96 w 412"/>
                <a:gd name="T35" fmla="*/ 94 h 158"/>
                <a:gd name="T36" fmla="*/ 104 w 412"/>
                <a:gd name="T37" fmla="*/ 89 h 158"/>
                <a:gd name="T38" fmla="*/ 129 w 412"/>
                <a:gd name="T39" fmla="*/ 79 h 158"/>
                <a:gd name="T40" fmla="*/ 203 w 412"/>
                <a:gd name="T41" fmla="*/ 68 h 158"/>
                <a:gd name="T42" fmla="*/ 211 w 412"/>
                <a:gd name="T43" fmla="*/ 68 h 158"/>
                <a:gd name="T44" fmla="*/ 315 w 412"/>
                <a:gd name="T45" fmla="*/ 89 h 158"/>
                <a:gd name="T46" fmla="*/ 325 w 412"/>
                <a:gd name="T47" fmla="*/ 94 h 158"/>
                <a:gd name="T48" fmla="*/ 335 w 412"/>
                <a:gd name="T49" fmla="*/ 108 h 158"/>
                <a:gd name="T50" fmla="*/ 337 w 412"/>
                <a:gd name="T51" fmla="*/ 116 h 158"/>
                <a:gd name="T52" fmla="*/ 337 w 412"/>
                <a:gd name="T53" fmla="*/ 119 h 158"/>
                <a:gd name="T54" fmla="*/ 346 w 412"/>
                <a:gd name="T55" fmla="*/ 124 h 158"/>
                <a:gd name="T56" fmla="*/ 407 w 412"/>
                <a:gd name="T57" fmla="*/ 98 h 158"/>
                <a:gd name="T58" fmla="*/ 408 w 412"/>
                <a:gd name="T59" fmla="*/ 92 h 158"/>
                <a:gd name="T60" fmla="*/ 217 w 412"/>
                <a:gd name="T61" fmla="*/ 2 h 158"/>
                <a:gd name="T62" fmla="*/ 201 w 412"/>
                <a:gd name="T63" fmla="*/ 2 h 158"/>
                <a:gd name="T64" fmla="*/ 4 w 412"/>
                <a:gd name="T65" fmla="*/ 92 h 15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12"/>
                <a:gd name="T100" fmla="*/ 0 h 158"/>
                <a:gd name="T101" fmla="*/ 412 w 412"/>
                <a:gd name="T102" fmla="*/ 158 h 15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12" h="158">
                  <a:moveTo>
                    <a:pt x="4" y="92"/>
                  </a:moveTo>
                  <a:cubicBezTo>
                    <a:pt x="0" y="94"/>
                    <a:pt x="0" y="96"/>
                    <a:pt x="4" y="98"/>
                  </a:cubicBezTo>
                  <a:cubicBezTo>
                    <a:pt x="18" y="105"/>
                    <a:pt x="18" y="105"/>
                    <a:pt x="18" y="105"/>
                  </a:cubicBezTo>
                  <a:cubicBezTo>
                    <a:pt x="20" y="105"/>
                    <a:pt x="25" y="107"/>
                    <a:pt x="26" y="108"/>
                  </a:cubicBezTo>
                  <a:cubicBezTo>
                    <a:pt x="27" y="108"/>
                    <a:pt x="26" y="114"/>
                    <a:pt x="26" y="116"/>
                  </a:cubicBezTo>
                  <a:cubicBezTo>
                    <a:pt x="26" y="150"/>
                    <a:pt x="26" y="150"/>
                    <a:pt x="26" y="150"/>
                  </a:cubicBezTo>
                  <a:cubicBezTo>
                    <a:pt x="26" y="155"/>
                    <a:pt x="29" y="158"/>
                    <a:pt x="31" y="158"/>
                  </a:cubicBezTo>
                  <a:cubicBezTo>
                    <a:pt x="31" y="158"/>
                    <a:pt x="31" y="158"/>
                    <a:pt x="34" y="158"/>
                  </a:cubicBezTo>
                  <a:cubicBezTo>
                    <a:pt x="36" y="158"/>
                    <a:pt x="36" y="158"/>
                    <a:pt x="36" y="158"/>
                  </a:cubicBezTo>
                  <a:cubicBezTo>
                    <a:pt x="39" y="158"/>
                    <a:pt x="41" y="155"/>
                    <a:pt x="41" y="150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19"/>
                    <a:pt x="41" y="114"/>
                    <a:pt x="41" y="113"/>
                  </a:cubicBezTo>
                  <a:cubicBezTo>
                    <a:pt x="42" y="113"/>
                    <a:pt x="47" y="114"/>
                    <a:pt x="49" y="115"/>
                  </a:cubicBezTo>
                  <a:cubicBezTo>
                    <a:pt x="75" y="126"/>
                    <a:pt x="75" y="126"/>
                    <a:pt x="75" y="126"/>
                  </a:cubicBezTo>
                  <a:cubicBezTo>
                    <a:pt x="80" y="127"/>
                    <a:pt x="84" y="124"/>
                    <a:pt x="84" y="120"/>
                  </a:cubicBezTo>
                  <a:cubicBezTo>
                    <a:pt x="84" y="120"/>
                    <a:pt x="84" y="118"/>
                    <a:pt x="85" y="113"/>
                  </a:cubicBezTo>
                  <a:cubicBezTo>
                    <a:pt x="86" y="108"/>
                    <a:pt x="86" y="107"/>
                    <a:pt x="86" y="107"/>
                  </a:cubicBezTo>
                  <a:cubicBezTo>
                    <a:pt x="87" y="101"/>
                    <a:pt x="92" y="96"/>
                    <a:pt x="96" y="94"/>
                  </a:cubicBezTo>
                  <a:cubicBezTo>
                    <a:pt x="96" y="94"/>
                    <a:pt x="97" y="93"/>
                    <a:pt x="104" y="89"/>
                  </a:cubicBezTo>
                  <a:cubicBezTo>
                    <a:pt x="111" y="86"/>
                    <a:pt x="119" y="82"/>
                    <a:pt x="129" y="79"/>
                  </a:cubicBezTo>
                  <a:cubicBezTo>
                    <a:pt x="149" y="73"/>
                    <a:pt x="175" y="68"/>
                    <a:pt x="203" y="68"/>
                  </a:cubicBezTo>
                  <a:cubicBezTo>
                    <a:pt x="206" y="68"/>
                    <a:pt x="208" y="68"/>
                    <a:pt x="211" y="68"/>
                  </a:cubicBezTo>
                  <a:cubicBezTo>
                    <a:pt x="252" y="69"/>
                    <a:pt x="293" y="79"/>
                    <a:pt x="315" y="89"/>
                  </a:cubicBezTo>
                  <a:cubicBezTo>
                    <a:pt x="323" y="92"/>
                    <a:pt x="325" y="94"/>
                    <a:pt x="325" y="94"/>
                  </a:cubicBezTo>
                  <a:cubicBezTo>
                    <a:pt x="329" y="97"/>
                    <a:pt x="334" y="102"/>
                    <a:pt x="335" y="108"/>
                  </a:cubicBezTo>
                  <a:cubicBezTo>
                    <a:pt x="335" y="108"/>
                    <a:pt x="336" y="109"/>
                    <a:pt x="337" y="116"/>
                  </a:cubicBezTo>
                  <a:cubicBezTo>
                    <a:pt x="337" y="119"/>
                    <a:pt x="337" y="119"/>
                    <a:pt x="337" y="119"/>
                  </a:cubicBezTo>
                  <a:cubicBezTo>
                    <a:pt x="338" y="124"/>
                    <a:pt x="342" y="126"/>
                    <a:pt x="346" y="124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412" y="96"/>
                    <a:pt x="412" y="94"/>
                    <a:pt x="408" y="92"/>
                  </a:cubicBezTo>
                  <a:cubicBezTo>
                    <a:pt x="217" y="2"/>
                    <a:pt x="217" y="2"/>
                    <a:pt x="217" y="2"/>
                  </a:cubicBezTo>
                  <a:cubicBezTo>
                    <a:pt x="213" y="0"/>
                    <a:pt x="206" y="0"/>
                    <a:pt x="201" y="2"/>
                  </a:cubicBezTo>
                  <a:lnTo>
                    <a:pt x="4" y="9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59" name="Freeform 10"/>
            <p:cNvSpPr>
              <a:spLocks noEditPoints="1"/>
            </p:cNvSpPr>
            <p:nvPr/>
          </p:nvSpPr>
          <p:spPr bwMode="auto">
            <a:xfrm>
              <a:off x="-1373188" y="1690688"/>
              <a:ext cx="442913" cy="1349375"/>
            </a:xfrm>
            <a:custGeom>
              <a:avLst/>
              <a:gdLst>
                <a:gd name="T0" fmla="*/ 100 w 118"/>
                <a:gd name="T1" fmla="*/ 0 h 360"/>
                <a:gd name="T2" fmla="*/ 18 w 118"/>
                <a:gd name="T3" fmla="*/ 0 h 360"/>
                <a:gd name="T4" fmla="*/ 0 w 118"/>
                <a:gd name="T5" fmla="*/ 5 h 360"/>
                <a:gd name="T6" fmla="*/ 0 w 118"/>
                <a:gd name="T7" fmla="*/ 355 h 360"/>
                <a:gd name="T8" fmla="*/ 18 w 118"/>
                <a:gd name="T9" fmla="*/ 360 h 360"/>
                <a:gd name="T10" fmla="*/ 100 w 118"/>
                <a:gd name="T11" fmla="*/ 360 h 360"/>
                <a:gd name="T12" fmla="*/ 118 w 118"/>
                <a:gd name="T13" fmla="*/ 355 h 360"/>
                <a:gd name="T14" fmla="*/ 118 w 118"/>
                <a:gd name="T15" fmla="*/ 5 h 360"/>
                <a:gd name="T16" fmla="*/ 100 w 118"/>
                <a:gd name="T17" fmla="*/ 0 h 360"/>
                <a:gd name="T18" fmla="*/ 107 w 118"/>
                <a:gd name="T19" fmla="*/ 318 h 360"/>
                <a:gd name="T20" fmla="*/ 105 w 118"/>
                <a:gd name="T21" fmla="*/ 320 h 360"/>
                <a:gd name="T22" fmla="*/ 17 w 118"/>
                <a:gd name="T23" fmla="*/ 320 h 360"/>
                <a:gd name="T24" fmla="*/ 16 w 118"/>
                <a:gd name="T25" fmla="*/ 318 h 360"/>
                <a:gd name="T26" fmla="*/ 16 w 118"/>
                <a:gd name="T27" fmla="*/ 308 h 360"/>
                <a:gd name="T28" fmla="*/ 17 w 118"/>
                <a:gd name="T29" fmla="*/ 306 h 360"/>
                <a:gd name="T30" fmla="*/ 105 w 118"/>
                <a:gd name="T31" fmla="*/ 306 h 360"/>
                <a:gd name="T32" fmla="*/ 107 w 118"/>
                <a:gd name="T33" fmla="*/ 308 h 360"/>
                <a:gd name="T34" fmla="*/ 107 w 118"/>
                <a:gd name="T35" fmla="*/ 318 h 360"/>
                <a:gd name="T36" fmla="*/ 107 w 118"/>
                <a:gd name="T37" fmla="*/ 104 h 360"/>
                <a:gd name="T38" fmla="*/ 105 w 118"/>
                <a:gd name="T39" fmla="*/ 106 h 360"/>
                <a:gd name="T40" fmla="*/ 17 w 118"/>
                <a:gd name="T41" fmla="*/ 106 h 360"/>
                <a:gd name="T42" fmla="*/ 16 w 118"/>
                <a:gd name="T43" fmla="*/ 104 h 360"/>
                <a:gd name="T44" fmla="*/ 16 w 118"/>
                <a:gd name="T45" fmla="*/ 94 h 360"/>
                <a:gd name="T46" fmla="*/ 17 w 118"/>
                <a:gd name="T47" fmla="*/ 92 h 360"/>
                <a:gd name="T48" fmla="*/ 105 w 118"/>
                <a:gd name="T49" fmla="*/ 92 h 360"/>
                <a:gd name="T50" fmla="*/ 107 w 118"/>
                <a:gd name="T51" fmla="*/ 94 h 360"/>
                <a:gd name="T52" fmla="*/ 107 w 118"/>
                <a:gd name="T53" fmla="*/ 104 h 360"/>
                <a:gd name="T54" fmla="*/ 107 w 118"/>
                <a:gd name="T55" fmla="*/ 61 h 360"/>
                <a:gd name="T56" fmla="*/ 105 w 118"/>
                <a:gd name="T57" fmla="*/ 63 h 360"/>
                <a:gd name="T58" fmla="*/ 17 w 118"/>
                <a:gd name="T59" fmla="*/ 63 h 360"/>
                <a:gd name="T60" fmla="*/ 16 w 118"/>
                <a:gd name="T61" fmla="*/ 61 h 360"/>
                <a:gd name="T62" fmla="*/ 16 w 118"/>
                <a:gd name="T63" fmla="*/ 51 h 360"/>
                <a:gd name="T64" fmla="*/ 17 w 118"/>
                <a:gd name="T65" fmla="*/ 49 h 360"/>
                <a:gd name="T66" fmla="*/ 105 w 118"/>
                <a:gd name="T67" fmla="*/ 49 h 360"/>
                <a:gd name="T68" fmla="*/ 107 w 118"/>
                <a:gd name="T69" fmla="*/ 51 h 360"/>
                <a:gd name="T70" fmla="*/ 107 w 118"/>
                <a:gd name="T71" fmla="*/ 61 h 36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8"/>
                <a:gd name="T109" fmla="*/ 0 h 360"/>
                <a:gd name="T110" fmla="*/ 118 w 118"/>
                <a:gd name="T111" fmla="*/ 360 h 36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8" h="360">
                  <a:moveTo>
                    <a:pt x="10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2"/>
                    <a:pt x="0" y="5"/>
                  </a:cubicBezTo>
                  <a:cubicBezTo>
                    <a:pt x="0" y="355"/>
                    <a:pt x="0" y="355"/>
                    <a:pt x="0" y="355"/>
                  </a:cubicBezTo>
                  <a:cubicBezTo>
                    <a:pt x="0" y="358"/>
                    <a:pt x="8" y="360"/>
                    <a:pt x="18" y="360"/>
                  </a:cubicBezTo>
                  <a:cubicBezTo>
                    <a:pt x="100" y="360"/>
                    <a:pt x="100" y="360"/>
                    <a:pt x="100" y="360"/>
                  </a:cubicBezTo>
                  <a:cubicBezTo>
                    <a:pt x="110" y="360"/>
                    <a:pt x="118" y="358"/>
                    <a:pt x="118" y="35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0" y="0"/>
                    <a:pt x="100" y="0"/>
                  </a:cubicBezTo>
                  <a:close/>
                  <a:moveTo>
                    <a:pt x="107" y="318"/>
                  </a:moveTo>
                  <a:cubicBezTo>
                    <a:pt x="105" y="320"/>
                    <a:pt x="105" y="320"/>
                    <a:pt x="105" y="320"/>
                  </a:cubicBezTo>
                  <a:cubicBezTo>
                    <a:pt x="17" y="320"/>
                    <a:pt x="17" y="320"/>
                    <a:pt x="17" y="320"/>
                  </a:cubicBezTo>
                  <a:cubicBezTo>
                    <a:pt x="16" y="318"/>
                    <a:pt x="16" y="318"/>
                    <a:pt x="16" y="318"/>
                  </a:cubicBezTo>
                  <a:cubicBezTo>
                    <a:pt x="16" y="308"/>
                    <a:pt x="16" y="308"/>
                    <a:pt x="16" y="308"/>
                  </a:cubicBezTo>
                  <a:cubicBezTo>
                    <a:pt x="17" y="306"/>
                    <a:pt x="17" y="306"/>
                    <a:pt x="17" y="306"/>
                  </a:cubicBezTo>
                  <a:cubicBezTo>
                    <a:pt x="105" y="306"/>
                    <a:pt x="105" y="306"/>
                    <a:pt x="105" y="306"/>
                  </a:cubicBezTo>
                  <a:cubicBezTo>
                    <a:pt x="107" y="308"/>
                    <a:pt x="107" y="308"/>
                    <a:pt x="107" y="308"/>
                  </a:cubicBezTo>
                  <a:lnTo>
                    <a:pt x="107" y="318"/>
                  </a:lnTo>
                  <a:close/>
                  <a:moveTo>
                    <a:pt x="107" y="104"/>
                  </a:moveTo>
                  <a:cubicBezTo>
                    <a:pt x="105" y="106"/>
                    <a:pt x="105" y="106"/>
                    <a:pt x="105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05" y="92"/>
                    <a:pt x="105" y="92"/>
                    <a:pt x="105" y="92"/>
                  </a:cubicBezTo>
                  <a:cubicBezTo>
                    <a:pt x="107" y="94"/>
                    <a:pt x="107" y="94"/>
                    <a:pt x="107" y="94"/>
                  </a:cubicBezTo>
                  <a:lnTo>
                    <a:pt x="107" y="104"/>
                  </a:lnTo>
                  <a:close/>
                  <a:moveTo>
                    <a:pt x="107" y="61"/>
                  </a:moveTo>
                  <a:cubicBezTo>
                    <a:pt x="105" y="63"/>
                    <a:pt x="105" y="63"/>
                    <a:pt x="105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7" y="51"/>
                    <a:pt x="107" y="51"/>
                    <a:pt x="107" y="51"/>
                  </a:cubicBezTo>
                  <a:lnTo>
                    <a:pt x="107" y="61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60" name="Freeform 11"/>
            <p:cNvSpPr>
              <a:spLocks noEditPoints="1"/>
            </p:cNvSpPr>
            <p:nvPr/>
          </p:nvSpPr>
          <p:spPr bwMode="auto">
            <a:xfrm>
              <a:off x="-1863725" y="1690688"/>
              <a:ext cx="442913" cy="1349375"/>
            </a:xfrm>
            <a:custGeom>
              <a:avLst/>
              <a:gdLst>
                <a:gd name="T0" fmla="*/ 100 w 118"/>
                <a:gd name="T1" fmla="*/ 0 h 360"/>
                <a:gd name="T2" fmla="*/ 18 w 118"/>
                <a:gd name="T3" fmla="*/ 0 h 360"/>
                <a:gd name="T4" fmla="*/ 0 w 118"/>
                <a:gd name="T5" fmla="*/ 5 h 360"/>
                <a:gd name="T6" fmla="*/ 0 w 118"/>
                <a:gd name="T7" fmla="*/ 355 h 360"/>
                <a:gd name="T8" fmla="*/ 18 w 118"/>
                <a:gd name="T9" fmla="*/ 360 h 360"/>
                <a:gd name="T10" fmla="*/ 100 w 118"/>
                <a:gd name="T11" fmla="*/ 360 h 360"/>
                <a:gd name="T12" fmla="*/ 118 w 118"/>
                <a:gd name="T13" fmla="*/ 355 h 360"/>
                <a:gd name="T14" fmla="*/ 118 w 118"/>
                <a:gd name="T15" fmla="*/ 5 h 360"/>
                <a:gd name="T16" fmla="*/ 100 w 118"/>
                <a:gd name="T17" fmla="*/ 0 h 360"/>
                <a:gd name="T18" fmla="*/ 107 w 118"/>
                <a:gd name="T19" fmla="*/ 318 h 360"/>
                <a:gd name="T20" fmla="*/ 105 w 118"/>
                <a:gd name="T21" fmla="*/ 320 h 360"/>
                <a:gd name="T22" fmla="*/ 17 w 118"/>
                <a:gd name="T23" fmla="*/ 320 h 360"/>
                <a:gd name="T24" fmla="*/ 16 w 118"/>
                <a:gd name="T25" fmla="*/ 318 h 360"/>
                <a:gd name="T26" fmla="*/ 16 w 118"/>
                <a:gd name="T27" fmla="*/ 308 h 360"/>
                <a:gd name="T28" fmla="*/ 17 w 118"/>
                <a:gd name="T29" fmla="*/ 306 h 360"/>
                <a:gd name="T30" fmla="*/ 105 w 118"/>
                <a:gd name="T31" fmla="*/ 306 h 360"/>
                <a:gd name="T32" fmla="*/ 107 w 118"/>
                <a:gd name="T33" fmla="*/ 308 h 360"/>
                <a:gd name="T34" fmla="*/ 107 w 118"/>
                <a:gd name="T35" fmla="*/ 318 h 360"/>
                <a:gd name="T36" fmla="*/ 107 w 118"/>
                <a:gd name="T37" fmla="*/ 104 h 360"/>
                <a:gd name="T38" fmla="*/ 105 w 118"/>
                <a:gd name="T39" fmla="*/ 106 h 360"/>
                <a:gd name="T40" fmla="*/ 17 w 118"/>
                <a:gd name="T41" fmla="*/ 106 h 360"/>
                <a:gd name="T42" fmla="*/ 16 w 118"/>
                <a:gd name="T43" fmla="*/ 104 h 360"/>
                <a:gd name="T44" fmla="*/ 16 w 118"/>
                <a:gd name="T45" fmla="*/ 94 h 360"/>
                <a:gd name="T46" fmla="*/ 17 w 118"/>
                <a:gd name="T47" fmla="*/ 92 h 360"/>
                <a:gd name="T48" fmla="*/ 105 w 118"/>
                <a:gd name="T49" fmla="*/ 92 h 360"/>
                <a:gd name="T50" fmla="*/ 107 w 118"/>
                <a:gd name="T51" fmla="*/ 94 h 360"/>
                <a:gd name="T52" fmla="*/ 107 w 118"/>
                <a:gd name="T53" fmla="*/ 104 h 360"/>
                <a:gd name="T54" fmla="*/ 107 w 118"/>
                <a:gd name="T55" fmla="*/ 61 h 360"/>
                <a:gd name="T56" fmla="*/ 105 w 118"/>
                <a:gd name="T57" fmla="*/ 63 h 360"/>
                <a:gd name="T58" fmla="*/ 17 w 118"/>
                <a:gd name="T59" fmla="*/ 63 h 360"/>
                <a:gd name="T60" fmla="*/ 16 w 118"/>
                <a:gd name="T61" fmla="*/ 61 h 360"/>
                <a:gd name="T62" fmla="*/ 16 w 118"/>
                <a:gd name="T63" fmla="*/ 51 h 360"/>
                <a:gd name="T64" fmla="*/ 17 w 118"/>
                <a:gd name="T65" fmla="*/ 49 h 360"/>
                <a:gd name="T66" fmla="*/ 105 w 118"/>
                <a:gd name="T67" fmla="*/ 49 h 360"/>
                <a:gd name="T68" fmla="*/ 107 w 118"/>
                <a:gd name="T69" fmla="*/ 51 h 360"/>
                <a:gd name="T70" fmla="*/ 107 w 118"/>
                <a:gd name="T71" fmla="*/ 61 h 36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8"/>
                <a:gd name="T109" fmla="*/ 0 h 360"/>
                <a:gd name="T110" fmla="*/ 118 w 118"/>
                <a:gd name="T111" fmla="*/ 360 h 36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8" h="360">
                  <a:moveTo>
                    <a:pt x="10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2"/>
                    <a:pt x="0" y="5"/>
                  </a:cubicBezTo>
                  <a:cubicBezTo>
                    <a:pt x="0" y="355"/>
                    <a:pt x="0" y="355"/>
                    <a:pt x="0" y="355"/>
                  </a:cubicBezTo>
                  <a:cubicBezTo>
                    <a:pt x="0" y="358"/>
                    <a:pt x="8" y="360"/>
                    <a:pt x="18" y="360"/>
                  </a:cubicBezTo>
                  <a:cubicBezTo>
                    <a:pt x="100" y="360"/>
                    <a:pt x="100" y="360"/>
                    <a:pt x="100" y="360"/>
                  </a:cubicBezTo>
                  <a:cubicBezTo>
                    <a:pt x="110" y="360"/>
                    <a:pt x="118" y="358"/>
                    <a:pt x="118" y="35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2"/>
                    <a:pt x="110" y="0"/>
                    <a:pt x="100" y="0"/>
                  </a:cubicBezTo>
                  <a:close/>
                  <a:moveTo>
                    <a:pt x="107" y="318"/>
                  </a:moveTo>
                  <a:cubicBezTo>
                    <a:pt x="105" y="320"/>
                    <a:pt x="105" y="320"/>
                    <a:pt x="105" y="320"/>
                  </a:cubicBezTo>
                  <a:cubicBezTo>
                    <a:pt x="17" y="320"/>
                    <a:pt x="17" y="320"/>
                    <a:pt x="17" y="320"/>
                  </a:cubicBezTo>
                  <a:cubicBezTo>
                    <a:pt x="16" y="318"/>
                    <a:pt x="16" y="318"/>
                    <a:pt x="16" y="318"/>
                  </a:cubicBezTo>
                  <a:cubicBezTo>
                    <a:pt x="16" y="308"/>
                    <a:pt x="16" y="308"/>
                    <a:pt x="16" y="308"/>
                  </a:cubicBezTo>
                  <a:cubicBezTo>
                    <a:pt x="17" y="306"/>
                    <a:pt x="17" y="306"/>
                    <a:pt x="17" y="306"/>
                  </a:cubicBezTo>
                  <a:cubicBezTo>
                    <a:pt x="105" y="306"/>
                    <a:pt x="105" y="306"/>
                    <a:pt x="105" y="306"/>
                  </a:cubicBezTo>
                  <a:cubicBezTo>
                    <a:pt x="107" y="308"/>
                    <a:pt x="107" y="308"/>
                    <a:pt x="107" y="308"/>
                  </a:cubicBezTo>
                  <a:lnTo>
                    <a:pt x="107" y="318"/>
                  </a:lnTo>
                  <a:close/>
                  <a:moveTo>
                    <a:pt x="107" y="104"/>
                  </a:moveTo>
                  <a:cubicBezTo>
                    <a:pt x="105" y="106"/>
                    <a:pt x="105" y="106"/>
                    <a:pt x="105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05" y="92"/>
                    <a:pt x="105" y="92"/>
                    <a:pt x="105" y="92"/>
                  </a:cubicBezTo>
                  <a:cubicBezTo>
                    <a:pt x="107" y="94"/>
                    <a:pt x="107" y="94"/>
                    <a:pt x="107" y="94"/>
                  </a:cubicBezTo>
                  <a:lnTo>
                    <a:pt x="107" y="104"/>
                  </a:lnTo>
                  <a:close/>
                  <a:moveTo>
                    <a:pt x="107" y="61"/>
                  </a:moveTo>
                  <a:cubicBezTo>
                    <a:pt x="105" y="63"/>
                    <a:pt x="105" y="63"/>
                    <a:pt x="105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7" y="51"/>
                    <a:pt x="107" y="51"/>
                    <a:pt x="107" y="51"/>
                  </a:cubicBezTo>
                  <a:lnTo>
                    <a:pt x="107" y="61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61" name="Freeform 12"/>
            <p:cNvSpPr>
              <a:spLocks noEditPoints="1"/>
            </p:cNvSpPr>
            <p:nvPr/>
          </p:nvSpPr>
          <p:spPr bwMode="auto">
            <a:xfrm>
              <a:off x="-919163" y="1625600"/>
              <a:ext cx="922338" cy="1403350"/>
            </a:xfrm>
            <a:custGeom>
              <a:avLst/>
              <a:gdLst>
                <a:gd name="T0" fmla="*/ 245 w 246"/>
                <a:gd name="T1" fmla="*/ 326 h 374"/>
                <a:gd name="T2" fmla="*/ 110 w 246"/>
                <a:gd name="T3" fmla="*/ 3 h 374"/>
                <a:gd name="T4" fmla="*/ 92 w 246"/>
                <a:gd name="T5" fmla="*/ 5 h 374"/>
                <a:gd name="T6" fmla="*/ 16 w 246"/>
                <a:gd name="T7" fmla="*/ 36 h 374"/>
                <a:gd name="T8" fmla="*/ 1 w 246"/>
                <a:gd name="T9" fmla="*/ 48 h 374"/>
                <a:gd name="T10" fmla="*/ 136 w 246"/>
                <a:gd name="T11" fmla="*/ 372 h 374"/>
                <a:gd name="T12" fmla="*/ 154 w 246"/>
                <a:gd name="T13" fmla="*/ 369 h 374"/>
                <a:gd name="T14" fmla="*/ 230 w 246"/>
                <a:gd name="T15" fmla="*/ 338 h 374"/>
                <a:gd name="T16" fmla="*/ 245 w 246"/>
                <a:gd name="T17" fmla="*/ 326 h 374"/>
                <a:gd name="T18" fmla="*/ 37 w 246"/>
                <a:gd name="T19" fmla="*/ 93 h 374"/>
                <a:gd name="T20" fmla="*/ 34 w 246"/>
                <a:gd name="T21" fmla="*/ 84 h 374"/>
                <a:gd name="T22" fmla="*/ 34 w 246"/>
                <a:gd name="T23" fmla="*/ 82 h 374"/>
                <a:gd name="T24" fmla="*/ 116 w 246"/>
                <a:gd name="T25" fmla="*/ 48 h 374"/>
                <a:gd name="T26" fmla="*/ 117 w 246"/>
                <a:gd name="T27" fmla="*/ 50 h 374"/>
                <a:gd name="T28" fmla="*/ 121 w 246"/>
                <a:gd name="T29" fmla="*/ 59 h 374"/>
                <a:gd name="T30" fmla="*/ 121 w 246"/>
                <a:gd name="T31" fmla="*/ 61 h 374"/>
                <a:gd name="T32" fmla="*/ 39 w 246"/>
                <a:gd name="T33" fmla="*/ 95 h 374"/>
                <a:gd name="T34" fmla="*/ 37 w 246"/>
                <a:gd name="T35" fmla="*/ 93 h 374"/>
                <a:gd name="T36" fmla="*/ 54 w 246"/>
                <a:gd name="T37" fmla="*/ 133 h 374"/>
                <a:gd name="T38" fmla="*/ 50 w 246"/>
                <a:gd name="T39" fmla="*/ 124 h 374"/>
                <a:gd name="T40" fmla="*/ 50 w 246"/>
                <a:gd name="T41" fmla="*/ 122 h 374"/>
                <a:gd name="T42" fmla="*/ 132 w 246"/>
                <a:gd name="T43" fmla="*/ 88 h 374"/>
                <a:gd name="T44" fmla="*/ 134 w 246"/>
                <a:gd name="T45" fmla="*/ 89 h 374"/>
                <a:gd name="T46" fmla="*/ 138 w 246"/>
                <a:gd name="T47" fmla="*/ 98 h 374"/>
                <a:gd name="T48" fmla="*/ 137 w 246"/>
                <a:gd name="T49" fmla="*/ 101 h 374"/>
                <a:gd name="T50" fmla="*/ 56 w 246"/>
                <a:gd name="T51" fmla="*/ 134 h 374"/>
                <a:gd name="T52" fmla="*/ 54 w 246"/>
                <a:gd name="T53" fmla="*/ 133 h 374"/>
                <a:gd name="T54" fmla="*/ 219 w 246"/>
                <a:gd name="T55" fmla="*/ 298 h 374"/>
                <a:gd name="T56" fmla="*/ 138 w 246"/>
                <a:gd name="T57" fmla="*/ 332 h 374"/>
                <a:gd name="T58" fmla="*/ 136 w 246"/>
                <a:gd name="T59" fmla="*/ 331 h 374"/>
                <a:gd name="T60" fmla="*/ 132 w 246"/>
                <a:gd name="T61" fmla="*/ 322 h 374"/>
                <a:gd name="T62" fmla="*/ 132 w 246"/>
                <a:gd name="T63" fmla="*/ 319 h 374"/>
                <a:gd name="T64" fmla="*/ 214 w 246"/>
                <a:gd name="T65" fmla="*/ 285 h 374"/>
                <a:gd name="T66" fmla="*/ 216 w 246"/>
                <a:gd name="T67" fmla="*/ 287 h 374"/>
                <a:gd name="T68" fmla="*/ 220 w 246"/>
                <a:gd name="T69" fmla="*/ 296 h 374"/>
                <a:gd name="T70" fmla="*/ 219 w 246"/>
                <a:gd name="T71" fmla="*/ 298 h 37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46"/>
                <a:gd name="T109" fmla="*/ 0 h 374"/>
                <a:gd name="T110" fmla="*/ 246 w 246"/>
                <a:gd name="T111" fmla="*/ 374 h 37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46" h="374">
                  <a:moveTo>
                    <a:pt x="245" y="326"/>
                  </a:moveTo>
                  <a:cubicBezTo>
                    <a:pt x="110" y="3"/>
                    <a:pt x="110" y="3"/>
                    <a:pt x="110" y="3"/>
                  </a:cubicBezTo>
                  <a:cubicBezTo>
                    <a:pt x="109" y="0"/>
                    <a:pt x="101" y="1"/>
                    <a:pt x="92" y="5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7" y="40"/>
                    <a:pt x="0" y="45"/>
                    <a:pt x="1" y="48"/>
                  </a:cubicBezTo>
                  <a:cubicBezTo>
                    <a:pt x="136" y="372"/>
                    <a:pt x="136" y="372"/>
                    <a:pt x="136" y="372"/>
                  </a:cubicBezTo>
                  <a:cubicBezTo>
                    <a:pt x="137" y="374"/>
                    <a:pt x="145" y="373"/>
                    <a:pt x="154" y="369"/>
                  </a:cubicBezTo>
                  <a:cubicBezTo>
                    <a:pt x="230" y="338"/>
                    <a:pt x="230" y="338"/>
                    <a:pt x="230" y="338"/>
                  </a:cubicBezTo>
                  <a:cubicBezTo>
                    <a:pt x="239" y="334"/>
                    <a:pt x="246" y="329"/>
                    <a:pt x="245" y="326"/>
                  </a:cubicBezTo>
                  <a:close/>
                  <a:moveTo>
                    <a:pt x="37" y="93"/>
                  </a:moveTo>
                  <a:cubicBezTo>
                    <a:pt x="34" y="84"/>
                    <a:pt x="34" y="84"/>
                    <a:pt x="34" y="84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117" y="50"/>
                    <a:pt x="117" y="50"/>
                    <a:pt x="117" y="50"/>
                  </a:cubicBezTo>
                  <a:cubicBezTo>
                    <a:pt x="121" y="59"/>
                    <a:pt x="121" y="59"/>
                    <a:pt x="121" y="59"/>
                  </a:cubicBezTo>
                  <a:cubicBezTo>
                    <a:pt x="121" y="61"/>
                    <a:pt x="121" y="61"/>
                    <a:pt x="121" y="61"/>
                  </a:cubicBezTo>
                  <a:cubicBezTo>
                    <a:pt x="39" y="95"/>
                    <a:pt x="39" y="95"/>
                    <a:pt x="39" y="95"/>
                  </a:cubicBezTo>
                  <a:lnTo>
                    <a:pt x="37" y="93"/>
                  </a:lnTo>
                  <a:close/>
                  <a:moveTo>
                    <a:pt x="54" y="133"/>
                  </a:moveTo>
                  <a:cubicBezTo>
                    <a:pt x="50" y="124"/>
                    <a:pt x="50" y="124"/>
                    <a:pt x="50" y="124"/>
                  </a:cubicBezTo>
                  <a:cubicBezTo>
                    <a:pt x="50" y="122"/>
                    <a:pt x="50" y="122"/>
                    <a:pt x="50" y="122"/>
                  </a:cubicBezTo>
                  <a:cubicBezTo>
                    <a:pt x="132" y="88"/>
                    <a:pt x="132" y="88"/>
                    <a:pt x="132" y="88"/>
                  </a:cubicBezTo>
                  <a:cubicBezTo>
                    <a:pt x="134" y="89"/>
                    <a:pt x="134" y="89"/>
                    <a:pt x="134" y="89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7" y="101"/>
                    <a:pt x="137" y="101"/>
                    <a:pt x="137" y="101"/>
                  </a:cubicBezTo>
                  <a:cubicBezTo>
                    <a:pt x="56" y="134"/>
                    <a:pt x="56" y="134"/>
                    <a:pt x="56" y="134"/>
                  </a:cubicBezTo>
                  <a:lnTo>
                    <a:pt x="54" y="133"/>
                  </a:lnTo>
                  <a:close/>
                  <a:moveTo>
                    <a:pt x="219" y="298"/>
                  </a:moveTo>
                  <a:cubicBezTo>
                    <a:pt x="138" y="332"/>
                    <a:pt x="138" y="332"/>
                    <a:pt x="138" y="332"/>
                  </a:cubicBezTo>
                  <a:cubicBezTo>
                    <a:pt x="136" y="331"/>
                    <a:pt x="136" y="331"/>
                    <a:pt x="136" y="331"/>
                  </a:cubicBezTo>
                  <a:cubicBezTo>
                    <a:pt x="132" y="322"/>
                    <a:pt x="132" y="322"/>
                    <a:pt x="132" y="322"/>
                  </a:cubicBezTo>
                  <a:cubicBezTo>
                    <a:pt x="132" y="319"/>
                    <a:pt x="132" y="319"/>
                    <a:pt x="132" y="319"/>
                  </a:cubicBezTo>
                  <a:cubicBezTo>
                    <a:pt x="214" y="285"/>
                    <a:pt x="214" y="285"/>
                    <a:pt x="214" y="285"/>
                  </a:cubicBezTo>
                  <a:cubicBezTo>
                    <a:pt x="216" y="287"/>
                    <a:pt x="216" y="287"/>
                    <a:pt x="216" y="287"/>
                  </a:cubicBezTo>
                  <a:cubicBezTo>
                    <a:pt x="220" y="296"/>
                    <a:pt x="220" y="296"/>
                    <a:pt x="220" y="296"/>
                  </a:cubicBezTo>
                  <a:lnTo>
                    <a:pt x="219" y="298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32108" name="Group 70"/>
          <p:cNvGrpSpPr>
            <a:grpSpLocks/>
          </p:cNvGrpSpPr>
          <p:nvPr/>
        </p:nvGrpSpPr>
        <p:grpSpPr bwMode="auto">
          <a:xfrm>
            <a:off x="1297454" y="2859088"/>
            <a:ext cx="917575" cy="788987"/>
            <a:chOff x="1398495" y="3365500"/>
            <a:chExt cx="916694" cy="789042"/>
          </a:xfrm>
        </p:grpSpPr>
        <p:sp>
          <p:nvSpPr>
            <p:cNvPr id="132129" name="Freeform 20"/>
            <p:cNvSpPr>
              <a:spLocks/>
            </p:cNvSpPr>
            <p:nvPr/>
          </p:nvSpPr>
          <p:spPr bwMode="auto">
            <a:xfrm>
              <a:off x="1505585" y="3729607"/>
              <a:ext cx="213324" cy="157637"/>
            </a:xfrm>
            <a:custGeom>
              <a:avLst/>
              <a:gdLst>
                <a:gd name="T0" fmla="*/ 105 w 105"/>
                <a:gd name="T1" fmla="*/ 78 h 78"/>
                <a:gd name="T2" fmla="*/ 105 w 105"/>
                <a:gd name="T3" fmla="*/ 21 h 78"/>
                <a:gd name="T4" fmla="*/ 83 w 105"/>
                <a:gd name="T5" fmla="*/ 0 h 78"/>
                <a:gd name="T6" fmla="*/ 21 w 105"/>
                <a:gd name="T7" fmla="*/ 0 h 78"/>
                <a:gd name="T8" fmla="*/ 0 w 105"/>
                <a:gd name="T9" fmla="*/ 21 h 78"/>
                <a:gd name="T10" fmla="*/ 0 w 105"/>
                <a:gd name="T11" fmla="*/ 78 h 78"/>
                <a:gd name="T12" fmla="*/ 105 w 105"/>
                <a:gd name="T13" fmla="*/ 78 h 7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5"/>
                <a:gd name="T22" fmla="*/ 0 h 78"/>
                <a:gd name="T23" fmla="*/ 105 w 105"/>
                <a:gd name="T24" fmla="*/ 78 h 7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5" h="78">
                  <a:moveTo>
                    <a:pt x="105" y="78"/>
                  </a:moveTo>
                  <a:cubicBezTo>
                    <a:pt x="105" y="21"/>
                    <a:pt x="105" y="21"/>
                    <a:pt x="105" y="21"/>
                  </a:cubicBezTo>
                  <a:cubicBezTo>
                    <a:pt x="105" y="10"/>
                    <a:pt x="95" y="0"/>
                    <a:pt x="83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78"/>
                    <a:pt x="0" y="78"/>
                    <a:pt x="0" y="78"/>
                  </a:cubicBezTo>
                  <a:lnTo>
                    <a:pt x="105" y="7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30" name="Freeform 21"/>
            <p:cNvSpPr>
              <a:spLocks/>
            </p:cNvSpPr>
            <p:nvPr/>
          </p:nvSpPr>
          <p:spPr bwMode="auto">
            <a:xfrm>
              <a:off x="1505585" y="3729607"/>
              <a:ext cx="213324" cy="157637"/>
            </a:xfrm>
            <a:custGeom>
              <a:avLst/>
              <a:gdLst>
                <a:gd name="T0" fmla="*/ 83 w 105"/>
                <a:gd name="T1" fmla="*/ 0 h 78"/>
                <a:gd name="T2" fmla="*/ 74 w 105"/>
                <a:gd name="T3" fmla="*/ 0 h 78"/>
                <a:gd name="T4" fmla="*/ 52 w 105"/>
                <a:gd name="T5" fmla="*/ 38 h 78"/>
                <a:gd name="T6" fmla="*/ 30 w 105"/>
                <a:gd name="T7" fmla="*/ 0 h 78"/>
                <a:gd name="T8" fmla="*/ 21 w 105"/>
                <a:gd name="T9" fmla="*/ 0 h 78"/>
                <a:gd name="T10" fmla="*/ 0 w 105"/>
                <a:gd name="T11" fmla="*/ 21 h 78"/>
                <a:gd name="T12" fmla="*/ 0 w 105"/>
                <a:gd name="T13" fmla="*/ 78 h 78"/>
                <a:gd name="T14" fmla="*/ 105 w 105"/>
                <a:gd name="T15" fmla="*/ 78 h 78"/>
                <a:gd name="T16" fmla="*/ 105 w 105"/>
                <a:gd name="T17" fmla="*/ 21 h 78"/>
                <a:gd name="T18" fmla="*/ 83 w 105"/>
                <a:gd name="T19" fmla="*/ 0 h 7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5"/>
                <a:gd name="T31" fmla="*/ 0 h 78"/>
                <a:gd name="T32" fmla="*/ 105 w 105"/>
                <a:gd name="T33" fmla="*/ 78 h 7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5" h="78">
                  <a:moveTo>
                    <a:pt x="83" y="0"/>
                  </a:moveTo>
                  <a:cubicBezTo>
                    <a:pt x="74" y="0"/>
                    <a:pt x="74" y="0"/>
                    <a:pt x="74" y="0"/>
                  </a:cubicBezTo>
                  <a:cubicBezTo>
                    <a:pt x="52" y="38"/>
                    <a:pt x="52" y="38"/>
                    <a:pt x="52" y="3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10"/>
                    <a:pt x="0" y="21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05" y="78"/>
                    <a:pt x="105" y="78"/>
                    <a:pt x="105" y="78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10"/>
                    <a:pt x="95" y="0"/>
                    <a:pt x="83" y="0"/>
                  </a:cubicBezTo>
                  <a:close/>
                </a:path>
              </a:pathLst>
            </a:custGeom>
            <a:solidFill>
              <a:srgbClr val="3369E8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31" name="Freeform 22"/>
            <p:cNvSpPr>
              <a:spLocks/>
            </p:cNvSpPr>
            <p:nvPr/>
          </p:nvSpPr>
          <p:spPr bwMode="auto">
            <a:xfrm>
              <a:off x="1603252" y="3729607"/>
              <a:ext cx="17991" cy="58257"/>
            </a:xfrm>
            <a:custGeom>
              <a:avLst/>
              <a:gdLst>
                <a:gd name="T0" fmla="*/ 12 w 21"/>
                <a:gd name="T1" fmla="*/ 9 h 68"/>
                <a:gd name="T2" fmla="*/ 14 w 21"/>
                <a:gd name="T3" fmla="*/ 5 h 68"/>
                <a:gd name="T4" fmla="*/ 9 w 21"/>
                <a:gd name="T5" fmla="*/ 0 h 68"/>
                <a:gd name="T6" fmla="*/ 5 w 21"/>
                <a:gd name="T7" fmla="*/ 5 h 68"/>
                <a:gd name="T8" fmla="*/ 9 w 21"/>
                <a:gd name="T9" fmla="*/ 9 h 68"/>
                <a:gd name="T10" fmla="*/ 0 w 21"/>
                <a:gd name="T11" fmla="*/ 59 h 68"/>
                <a:gd name="T12" fmla="*/ 0 w 21"/>
                <a:gd name="T13" fmla="*/ 59 h 68"/>
                <a:gd name="T14" fmla="*/ 0 w 21"/>
                <a:gd name="T15" fmla="*/ 59 h 68"/>
                <a:gd name="T16" fmla="*/ 9 w 21"/>
                <a:gd name="T17" fmla="*/ 68 h 68"/>
                <a:gd name="T18" fmla="*/ 21 w 21"/>
                <a:gd name="T19" fmla="*/ 59 h 68"/>
                <a:gd name="T20" fmla="*/ 21 w 21"/>
                <a:gd name="T21" fmla="*/ 59 h 68"/>
                <a:gd name="T22" fmla="*/ 21 w 21"/>
                <a:gd name="T23" fmla="*/ 59 h 68"/>
                <a:gd name="T24" fmla="*/ 12 w 21"/>
                <a:gd name="T25" fmla="*/ 9 h 6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1"/>
                <a:gd name="T40" fmla="*/ 0 h 68"/>
                <a:gd name="T41" fmla="*/ 21 w 21"/>
                <a:gd name="T42" fmla="*/ 68 h 6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1" h="68">
                  <a:moveTo>
                    <a:pt x="12" y="9"/>
                  </a:moveTo>
                  <a:lnTo>
                    <a:pt x="14" y="5"/>
                  </a:lnTo>
                  <a:lnTo>
                    <a:pt x="9" y="0"/>
                  </a:lnTo>
                  <a:lnTo>
                    <a:pt x="5" y="5"/>
                  </a:lnTo>
                  <a:lnTo>
                    <a:pt x="9" y="9"/>
                  </a:lnTo>
                  <a:lnTo>
                    <a:pt x="0" y="59"/>
                  </a:lnTo>
                  <a:lnTo>
                    <a:pt x="9" y="68"/>
                  </a:lnTo>
                  <a:lnTo>
                    <a:pt x="21" y="59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32" name="Oval 23"/>
            <p:cNvSpPr>
              <a:spLocks noChangeArrowheads="1"/>
            </p:cNvSpPr>
            <p:nvPr/>
          </p:nvSpPr>
          <p:spPr bwMode="auto">
            <a:xfrm>
              <a:off x="1550135" y="3603669"/>
              <a:ext cx="121655" cy="121655"/>
            </a:xfrm>
            <a:prstGeom prst="ellipse">
              <a:avLst/>
            </a:prstGeom>
            <a:solidFill>
              <a:srgbClr val="3369E8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33" name="Freeform 24"/>
            <p:cNvSpPr>
              <a:spLocks/>
            </p:cNvSpPr>
            <p:nvPr/>
          </p:nvSpPr>
          <p:spPr bwMode="auto">
            <a:xfrm>
              <a:off x="1965646" y="3854689"/>
              <a:ext cx="209897" cy="157637"/>
            </a:xfrm>
            <a:custGeom>
              <a:avLst/>
              <a:gdLst>
                <a:gd name="T0" fmla="*/ 104 w 104"/>
                <a:gd name="T1" fmla="*/ 78 h 78"/>
                <a:gd name="T2" fmla="*/ 104 w 104"/>
                <a:gd name="T3" fmla="*/ 21 h 78"/>
                <a:gd name="T4" fmla="*/ 83 w 104"/>
                <a:gd name="T5" fmla="*/ 0 h 78"/>
                <a:gd name="T6" fmla="*/ 21 w 104"/>
                <a:gd name="T7" fmla="*/ 0 h 78"/>
                <a:gd name="T8" fmla="*/ 0 w 104"/>
                <a:gd name="T9" fmla="*/ 21 h 78"/>
                <a:gd name="T10" fmla="*/ 0 w 104"/>
                <a:gd name="T11" fmla="*/ 78 h 78"/>
                <a:gd name="T12" fmla="*/ 104 w 104"/>
                <a:gd name="T13" fmla="*/ 78 h 7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4"/>
                <a:gd name="T22" fmla="*/ 0 h 78"/>
                <a:gd name="T23" fmla="*/ 104 w 104"/>
                <a:gd name="T24" fmla="*/ 78 h 7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4" h="78">
                  <a:moveTo>
                    <a:pt x="104" y="78"/>
                  </a:moveTo>
                  <a:cubicBezTo>
                    <a:pt x="104" y="21"/>
                    <a:pt x="104" y="21"/>
                    <a:pt x="104" y="21"/>
                  </a:cubicBezTo>
                  <a:cubicBezTo>
                    <a:pt x="104" y="9"/>
                    <a:pt x="95" y="0"/>
                    <a:pt x="83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9"/>
                    <a:pt x="0" y="21"/>
                  </a:cubicBezTo>
                  <a:cubicBezTo>
                    <a:pt x="0" y="78"/>
                    <a:pt x="0" y="78"/>
                    <a:pt x="0" y="78"/>
                  </a:cubicBezTo>
                  <a:lnTo>
                    <a:pt x="104" y="7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34" name="Freeform 25"/>
            <p:cNvSpPr>
              <a:spLocks/>
            </p:cNvSpPr>
            <p:nvPr/>
          </p:nvSpPr>
          <p:spPr bwMode="auto">
            <a:xfrm>
              <a:off x="1965646" y="3854689"/>
              <a:ext cx="209897" cy="157637"/>
            </a:xfrm>
            <a:custGeom>
              <a:avLst/>
              <a:gdLst>
                <a:gd name="T0" fmla="*/ 83 w 104"/>
                <a:gd name="T1" fmla="*/ 0 h 78"/>
                <a:gd name="T2" fmla="*/ 74 w 104"/>
                <a:gd name="T3" fmla="*/ 0 h 78"/>
                <a:gd name="T4" fmla="*/ 52 w 104"/>
                <a:gd name="T5" fmla="*/ 38 h 78"/>
                <a:gd name="T6" fmla="*/ 30 w 104"/>
                <a:gd name="T7" fmla="*/ 0 h 78"/>
                <a:gd name="T8" fmla="*/ 21 w 104"/>
                <a:gd name="T9" fmla="*/ 0 h 78"/>
                <a:gd name="T10" fmla="*/ 0 w 104"/>
                <a:gd name="T11" fmla="*/ 21 h 78"/>
                <a:gd name="T12" fmla="*/ 0 w 104"/>
                <a:gd name="T13" fmla="*/ 78 h 78"/>
                <a:gd name="T14" fmla="*/ 104 w 104"/>
                <a:gd name="T15" fmla="*/ 78 h 78"/>
                <a:gd name="T16" fmla="*/ 104 w 104"/>
                <a:gd name="T17" fmla="*/ 21 h 78"/>
                <a:gd name="T18" fmla="*/ 83 w 104"/>
                <a:gd name="T19" fmla="*/ 0 h 7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4"/>
                <a:gd name="T31" fmla="*/ 0 h 78"/>
                <a:gd name="T32" fmla="*/ 104 w 104"/>
                <a:gd name="T33" fmla="*/ 78 h 7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4" h="78">
                  <a:moveTo>
                    <a:pt x="83" y="0"/>
                  </a:moveTo>
                  <a:cubicBezTo>
                    <a:pt x="74" y="0"/>
                    <a:pt x="74" y="0"/>
                    <a:pt x="74" y="0"/>
                  </a:cubicBezTo>
                  <a:cubicBezTo>
                    <a:pt x="52" y="38"/>
                    <a:pt x="52" y="38"/>
                    <a:pt x="52" y="3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9"/>
                    <a:pt x="0" y="21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04" y="9"/>
                    <a:pt x="95" y="0"/>
                    <a:pt x="83" y="0"/>
                  </a:cubicBezTo>
                  <a:close/>
                </a:path>
              </a:pathLst>
            </a:custGeom>
            <a:solidFill>
              <a:srgbClr val="3369E8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35" name="Freeform 26"/>
            <p:cNvSpPr>
              <a:spLocks/>
            </p:cNvSpPr>
            <p:nvPr/>
          </p:nvSpPr>
          <p:spPr bwMode="auto">
            <a:xfrm>
              <a:off x="2060742" y="3854689"/>
              <a:ext cx="19705" cy="56544"/>
            </a:xfrm>
            <a:custGeom>
              <a:avLst/>
              <a:gdLst>
                <a:gd name="T0" fmla="*/ 14 w 23"/>
                <a:gd name="T1" fmla="*/ 7 h 66"/>
                <a:gd name="T2" fmla="*/ 16 w 23"/>
                <a:gd name="T3" fmla="*/ 3 h 66"/>
                <a:gd name="T4" fmla="*/ 12 w 23"/>
                <a:gd name="T5" fmla="*/ 0 h 66"/>
                <a:gd name="T6" fmla="*/ 7 w 23"/>
                <a:gd name="T7" fmla="*/ 3 h 66"/>
                <a:gd name="T8" fmla="*/ 12 w 23"/>
                <a:gd name="T9" fmla="*/ 7 h 66"/>
                <a:gd name="T10" fmla="*/ 0 w 23"/>
                <a:gd name="T11" fmla="*/ 57 h 66"/>
                <a:gd name="T12" fmla="*/ 0 w 23"/>
                <a:gd name="T13" fmla="*/ 57 h 66"/>
                <a:gd name="T14" fmla="*/ 0 w 23"/>
                <a:gd name="T15" fmla="*/ 57 h 66"/>
                <a:gd name="T16" fmla="*/ 12 w 23"/>
                <a:gd name="T17" fmla="*/ 66 h 66"/>
                <a:gd name="T18" fmla="*/ 23 w 23"/>
                <a:gd name="T19" fmla="*/ 57 h 66"/>
                <a:gd name="T20" fmla="*/ 23 w 23"/>
                <a:gd name="T21" fmla="*/ 57 h 66"/>
                <a:gd name="T22" fmla="*/ 23 w 23"/>
                <a:gd name="T23" fmla="*/ 57 h 66"/>
                <a:gd name="T24" fmla="*/ 14 w 23"/>
                <a:gd name="T25" fmla="*/ 7 h 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3"/>
                <a:gd name="T40" fmla="*/ 0 h 66"/>
                <a:gd name="T41" fmla="*/ 23 w 23"/>
                <a:gd name="T42" fmla="*/ 66 h 6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3" h="66">
                  <a:moveTo>
                    <a:pt x="14" y="7"/>
                  </a:moveTo>
                  <a:lnTo>
                    <a:pt x="16" y="3"/>
                  </a:lnTo>
                  <a:lnTo>
                    <a:pt x="12" y="0"/>
                  </a:lnTo>
                  <a:lnTo>
                    <a:pt x="7" y="3"/>
                  </a:lnTo>
                  <a:lnTo>
                    <a:pt x="12" y="7"/>
                  </a:lnTo>
                  <a:lnTo>
                    <a:pt x="0" y="57"/>
                  </a:lnTo>
                  <a:lnTo>
                    <a:pt x="12" y="66"/>
                  </a:lnTo>
                  <a:lnTo>
                    <a:pt x="23" y="57"/>
                  </a:lnTo>
                  <a:lnTo>
                    <a:pt x="14" y="7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36" name="Oval 27"/>
            <p:cNvSpPr>
              <a:spLocks noChangeArrowheads="1"/>
            </p:cNvSpPr>
            <p:nvPr/>
          </p:nvSpPr>
          <p:spPr bwMode="auto">
            <a:xfrm>
              <a:off x="2010195" y="3729607"/>
              <a:ext cx="120798" cy="119085"/>
            </a:xfrm>
            <a:prstGeom prst="ellipse">
              <a:avLst/>
            </a:prstGeom>
            <a:solidFill>
              <a:srgbClr val="3369E8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37" name="Freeform 28"/>
            <p:cNvSpPr>
              <a:spLocks/>
            </p:cNvSpPr>
            <p:nvPr/>
          </p:nvSpPr>
          <p:spPr bwMode="auto">
            <a:xfrm>
              <a:off x="1398495" y="3974630"/>
              <a:ext cx="210754" cy="157637"/>
            </a:xfrm>
            <a:custGeom>
              <a:avLst/>
              <a:gdLst>
                <a:gd name="T0" fmla="*/ 104 w 104"/>
                <a:gd name="T1" fmla="*/ 78 h 78"/>
                <a:gd name="T2" fmla="*/ 104 w 104"/>
                <a:gd name="T3" fmla="*/ 21 h 78"/>
                <a:gd name="T4" fmla="*/ 83 w 104"/>
                <a:gd name="T5" fmla="*/ 0 h 78"/>
                <a:gd name="T6" fmla="*/ 21 w 104"/>
                <a:gd name="T7" fmla="*/ 0 h 78"/>
                <a:gd name="T8" fmla="*/ 0 w 104"/>
                <a:gd name="T9" fmla="*/ 21 h 78"/>
                <a:gd name="T10" fmla="*/ 0 w 104"/>
                <a:gd name="T11" fmla="*/ 78 h 78"/>
                <a:gd name="T12" fmla="*/ 104 w 104"/>
                <a:gd name="T13" fmla="*/ 78 h 7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4"/>
                <a:gd name="T22" fmla="*/ 0 h 78"/>
                <a:gd name="T23" fmla="*/ 104 w 104"/>
                <a:gd name="T24" fmla="*/ 78 h 7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4" h="78">
                  <a:moveTo>
                    <a:pt x="104" y="78"/>
                  </a:moveTo>
                  <a:cubicBezTo>
                    <a:pt x="104" y="21"/>
                    <a:pt x="104" y="21"/>
                    <a:pt x="104" y="21"/>
                  </a:cubicBezTo>
                  <a:cubicBezTo>
                    <a:pt x="104" y="9"/>
                    <a:pt x="94" y="0"/>
                    <a:pt x="83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9"/>
                    <a:pt x="0" y="21"/>
                  </a:cubicBezTo>
                  <a:cubicBezTo>
                    <a:pt x="0" y="78"/>
                    <a:pt x="0" y="78"/>
                    <a:pt x="0" y="78"/>
                  </a:cubicBezTo>
                  <a:lnTo>
                    <a:pt x="104" y="7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38" name="Freeform 29"/>
            <p:cNvSpPr>
              <a:spLocks/>
            </p:cNvSpPr>
            <p:nvPr/>
          </p:nvSpPr>
          <p:spPr bwMode="auto">
            <a:xfrm>
              <a:off x="1398495" y="3974630"/>
              <a:ext cx="210754" cy="157637"/>
            </a:xfrm>
            <a:custGeom>
              <a:avLst/>
              <a:gdLst>
                <a:gd name="T0" fmla="*/ 83 w 104"/>
                <a:gd name="T1" fmla="*/ 0 h 78"/>
                <a:gd name="T2" fmla="*/ 74 w 104"/>
                <a:gd name="T3" fmla="*/ 0 h 78"/>
                <a:gd name="T4" fmla="*/ 52 w 104"/>
                <a:gd name="T5" fmla="*/ 38 h 78"/>
                <a:gd name="T6" fmla="*/ 30 w 104"/>
                <a:gd name="T7" fmla="*/ 0 h 78"/>
                <a:gd name="T8" fmla="*/ 21 w 104"/>
                <a:gd name="T9" fmla="*/ 0 h 78"/>
                <a:gd name="T10" fmla="*/ 0 w 104"/>
                <a:gd name="T11" fmla="*/ 21 h 78"/>
                <a:gd name="T12" fmla="*/ 0 w 104"/>
                <a:gd name="T13" fmla="*/ 78 h 78"/>
                <a:gd name="T14" fmla="*/ 104 w 104"/>
                <a:gd name="T15" fmla="*/ 78 h 78"/>
                <a:gd name="T16" fmla="*/ 104 w 104"/>
                <a:gd name="T17" fmla="*/ 21 h 78"/>
                <a:gd name="T18" fmla="*/ 83 w 104"/>
                <a:gd name="T19" fmla="*/ 0 h 7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4"/>
                <a:gd name="T31" fmla="*/ 0 h 78"/>
                <a:gd name="T32" fmla="*/ 104 w 104"/>
                <a:gd name="T33" fmla="*/ 78 h 7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4" h="78">
                  <a:moveTo>
                    <a:pt x="83" y="0"/>
                  </a:moveTo>
                  <a:cubicBezTo>
                    <a:pt x="74" y="0"/>
                    <a:pt x="74" y="0"/>
                    <a:pt x="74" y="0"/>
                  </a:cubicBezTo>
                  <a:cubicBezTo>
                    <a:pt x="52" y="38"/>
                    <a:pt x="52" y="38"/>
                    <a:pt x="52" y="38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9"/>
                    <a:pt x="0" y="21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04" y="9"/>
                    <a:pt x="94" y="0"/>
                    <a:pt x="83" y="0"/>
                  </a:cubicBezTo>
                  <a:close/>
                </a:path>
              </a:pathLst>
            </a:custGeom>
            <a:solidFill>
              <a:srgbClr val="3369E8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39" name="Freeform 30"/>
            <p:cNvSpPr>
              <a:spLocks/>
            </p:cNvSpPr>
            <p:nvPr/>
          </p:nvSpPr>
          <p:spPr bwMode="auto">
            <a:xfrm>
              <a:off x="1493591" y="3974630"/>
              <a:ext cx="20561" cy="56544"/>
            </a:xfrm>
            <a:custGeom>
              <a:avLst/>
              <a:gdLst>
                <a:gd name="T0" fmla="*/ 12 w 24"/>
                <a:gd name="T1" fmla="*/ 7 h 66"/>
                <a:gd name="T2" fmla="*/ 17 w 24"/>
                <a:gd name="T3" fmla="*/ 4 h 66"/>
                <a:gd name="T4" fmla="*/ 12 w 24"/>
                <a:gd name="T5" fmla="*/ 0 h 66"/>
                <a:gd name="T6" fmla="*/ 7 w 24"/>
                <a:gd name="T7" fmla="*/ 4 h 66"/>
                <a:gd name="T8" fmla="*/ 10 w 24"/>
                <a:gd name="T9" fmla="*/ 7 h 66"/>
                <a:gd name="T10" fmla="*/ 0 w 24"/>
                <a:gd name="T11" fmla="*/ 59 h 66"/>
                <a:gd name="T12" fmla="*/ 0 w 24"/>
                <a:gd name="T13" fmla="*/ 59 h 66"/>
                <a:gd name="T14" fmla="*/ 0 w 24"/>
                <a:gd name="T15" fmla="*/ 59 h 66"/>
                <a:gd name="T16" fmla="*/ 12 w 24"/>
                <a:gd name="T17" fmla="*/ 66 h 66"/>
                <a:gd name="T18" fmla="*/ 24 w 24"/>
                <a:gd name="T19" fmla="*/ 59 h 66"/>
                <a:gd name="T20" fmla="*/ 24 w 24"/>
                <a:gd name="T21" fmla="*/ 59 h 66"/>
                <a:gd name="T22" fmla="*/ 24 w 24"/>
                <a:gd name="T23" fmla="*/ 59 h 66"/>
                <a:gd name="T24" fmla="*/ 12 w 24"/>
                <a:gd name="T25" fmla="*/ 7 h 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4"/>
                <a:gd name="T40" fmla="*/ 0 h 66"/>
                <a:gd name="T41" fmla="*/ 24 w 24"/>
                <a:gd name="T42" fmla="*/ 66 h 6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4" h="66">
                  <a:moveTo>
                    <a:pt x="12" y="7"/>
                  </a:moveTo>
                  <a:lnTo>
                    <a:pt x="17" y="4"/>
                  </a:lnTo>
                  <a:lnTo>
                    <a:pt x="12" y="0"/>
                  </a:lnTo>
                  <a:lnTo>
                    <a:pt x="7" y="4"/>
                  </a:lnTo>
                  <a:lnTo>
                    <a:pt x="10" y="7"/>
                  </a:lnTo>
                  <a:lnTo>
                    <a:pt x="0" y="59"/>
                  </a:lnTo>
                  <a:lnTo>
                    <a:pt x="12" y="66"/>
                  </a:lnTo>
                  <a:lnTo>
                    <a:pt x="24" y="59"/>
                  </a:lnTo>
                  <a:lnTo>
                    <a:pt x="12" y="7"/>
                  </a:ln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40" name="Oval 31"/>
            <p:cNvSpPr>
              <a:spLocks noChangeArrowheads="1"/>
            </p:cNvSpPr>
            <p:nvPr/>
          </p:nvSpPr>
          <p:spPr bwMode="auto">
            <a:xfrm>
              <a:off x="1435334" y="3842695"/>
              <a:ext cx="135362" cy="133649"/>
            </a:xfrm>
            <a:prstGeom prst="ellipse">
              <a:avLst/>
            </a:prstGeom>
            <a:solidFill>
              <a:srgbClr val="3369E8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41" name="Oval 32"/>
            <p:cNvSpPr>
              <a:spLocks noChangeArrowheads="1"/>
            </p:cNvSpPr>
            <p:nvPr/>
          </p:nvSpPr>
          <p:spPr bwMode="auto">
            <a:xfrm>
              <a:off x="1443045" y="3848692"/>
              <a:ext cx="121655" cy="121655"/>
            </a:xfrm>
            <a:prstGeom prst="ellipse">
              <a:avLst/>
            </a:prstGeom>
            <a:solidFill>
              <a:srgbClr val="3369E8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42" name="Freeform 33"/>
            <p:cNvSpPr>
              <a:spLocks/>
            </p:cNvSpPr>
            <p:nvPr/>
          </p:nvSpPr>
          <p:spPr bwMode="auto">
            <a:xfrm>
              <a:off x="1586974" y="3796432"/>
              <a:ext cx="467771" cy="352113"/>
            </a:xfrm>
            <a:custGeom>
              <a:avLst/>
              <a:gdLst>
                <a:gd name="T0" fmla="*/ 231 w 231"/>
                <a:gd name="T1" fmla="*/ 174 h 174"/>
                <a:gd name="T2" fmla="*/ 231 w 231"/>
                <a:gd name="T3" fmla="*/ 47 h 174"/>
                <a:gd name="T4" fmla="*/ 185 w 231"/>
                <a:gd name="T5" fmla="*/ 0 h 174"/>
                <a:gd name="T6" fmla="*/ 47 w 231"/>
                <a:gd name="T7" fmla="*/ 0 h 174"/>
                <a:gd name="T8" fmla="*/ 0 w 231"/>
                <a:gd name="T9" fmla="*/ 47 h 174"/>
                <a:gd name="T10" fmla="*/ 0 w 231"/>
                <a:gd name="T11" fmla="*/ 174 h 174"/>
                <a:gd name="T12" fmla="*/ 231 w 231"/>
                <a:gd name="T13" fmla="*/ 174 h 17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1"/>
                <a:gd name="T22" fmla="*/ 0 h 174"/>
                <a:gd name="T23" fmla="*/ 231 w 231"/>
                <a:gd name="T24" fmla="*/ 174 h 17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1" h="174">
                  <a:moveTo>
                    <a:pt x="231" y="174"/>
                  </a:moveTo>
                  <a:cubicBezTo>
                    <a:pt x="231" y="47"/>
                    <a:pt x="231" y="47"/>
                    <a:pt x="231" y="47"/>
                  </a:cubicBezTo>
                  <a:cubicBezTo>
                    <a:pt x="231" y="21"/>
                    <a:pt x="211" y="0"/>
                    <a:pt x="185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1"/>
                    <a:pt x="0" y="47"/>
                  </a:cubicBezTo>
                  <a:cubicBezTo>
                    <a:pt x="0" y="174"/>
                    <a:pt x="0" y="174"/>
                    <a:pt x="0" y="174"/>
                  </a:cubicBezTo>
                  <a:lnTo>
                    <a:pt x="231" y="17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43" name="Freeform 34"/>
            <p:cNvSpPr>
              <a:spLocks/>
            </p:cNvSpPr>
            <p:nvPr/>
          </p:nvSpPr>
          <p:spPr bwMode="auto">
            <a:xfrm>
              <a:off x="1579263" y="3790435"/>
              <a:ext cx="483192" cy="364107"/>
            </a:xfrm>
            <a:custGeom>
              <a:avLst/>
              <a:gdLst>
                <a:gd name="T0" fmla="*/ 239 w 239"/>
                <a:gd name="T1" fmla="*/ 180 h 180"/>
                <a:gd name="T2" fmla="*/ 235 w 239"/>
                <a:gd name="T3" fmla="*/ 180 h 180"/>
                <a:gd name="T4" fmla="*/ 4 w 239"/>
                <a:gd name="T5" fmla="*/ 180 h 180"/>
                <a:gd name="T6" fmla="*/ 0 w 239"/>
                <a:gd name="T7" fmla="*/ 180 h 180"/>
                <a:gd name="T8" fmla="*/ 0 w 239"/>
                <a:gd name="T9" fmla="*/ 177 h 180"/>
                <a:gd name="T10" fmla="*/ 0 w 239"/>
                <a:gd name="T11" fmla="*/ 50 h 180"/>
                <a:gd name="T12" fmla="*/ 51 w 239"/>
                <a:gd name="T13" fmla="*/ 0 h 180"/>
                <a:gd name="T14" fmla="*/ 71 w 239"/>
                <a:gd name="T15" fmla="*/ 0 h 180"/>
                <a:gd name="T16" fmla="*/ 73 w 239"/>
                <a:gd name="T17" fmla="*/ 0 h 180"/>
                <a:gd name="T18" fmla="*/ 74 w 239"/>
                <a:gd name="T19" fmla="*/ 2 h 180"/>
                <a:gd name="T20" fmla="*/ 120 w 239"/>
                <a:gd name="T21" fmla="*/ 81 h 180"/>
                <a:gd name="T22" fmla="*/ 165 w 239"/>
                <a:gd name="T23" fmla="*/ 2 h 180"/>
                <a:gd name="T24" fmla="*/ 166 w 239"/>
                <a:gd name="T25" fmla="*/ 0 h 180"/>
                <a:gd name="T26" fmla="*/ 168 w 239"/>
                <a:gd name="T27" fmla="*/ 0 h 180"/>
                <a:gd name="T28" fmla="*/ 189 w 239"/>
                <a:gd name="T29" fmla="*/ 0 h 180"/>
                <a:gd name="T30" fmla="*/ 239 w 239"/>
                <a:gd name="T31" fmla="*/ 50 h 180"/>
                <a:gd name="T32" fmla="*/ 239 w 239"/>
                <a:gd name="T33" fmla="*/ 177 h 180"/>
                <a:gd name="T34" fmla="*/ 239 w 239"/>
                <a:gd name="T35" fmla="*/ 180 h 18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39"/>
                <a:gd name="T55" fmla="*/ 0 h 180"/>
                <a:gd name="T56" fmla="*/ 239 w 239"/>
                <a:gd name="T57" fmla="*/ 180 h 18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39" h="180">
                  <a:moveTo>
                    <a:pt x="239" y="180"/>
                  </a:moveTo>
                  <a:cubicBezTo>
                    <a:pt x="235" y="180"/>
                    <a:pt x="235" y="180"/>
                    <a:pt x="235" y="180"/>
                  </a:cubicBezTo>
                  <a:cubicBezTo>
                    <a:pt x="4" y="180"/>
                    <a:pt x="4" y="180"/>
                    <a:pt x="4" y="18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22"/>
                    <a:pt x="23" y="0"/>
                    <a:pt x="51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4" y="2"/>
                    <a:pt x="74" y="2"/>
                    <a:pt x="74" y="2"/>
                  </a:cubicBezTo>
                  <a:cubicBezTo>
                    <a:pt x="120" y="81"/>
                    <a:pt x="120" y="81"/>
                    <a:pt x="120" y="81"/>
                  </a:cubicBezTo>
                  <a:cubicBezTo>
                    <a:pt x="165" y="2"/>
                    <a:pt x="165" y="2"/>
                    <a:pt x="165" y="2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216" y="0"/>
                    <a:pt x="239" y="22"/>
                    <a:pt x="239" y="50"/>
                  </a:cubicBezTo>
                  <a:cubicBezTo>
                    <a:pt x="239" y="177"/>
                    <a:pt x="239" y="177"/>
                    <a:pt x="239" y="177"/>
                  </a:cubicBezTo>
                  <a:cubicBezTo>
                    <a:pt x="239" y="180"/>
                    <a:pt x="239" y="180"/>
                    <a:pt x="239" y="18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44" name="Freeform 35"/>
            <p:cNvSpPr>
              <a:spLocks/>
            </p:cNvSpPr>
            <p:nvPr/>
          </p:nvSpPr>
          <p:spPr bwMode="auto">
            <a:xfrm>
              <a:off x="1586974" y="3796432"/>
              <a:ext cx="467771" cy="352113"/>
            </a:xfrm>
            <a:custGeom>
              <a:avLst/>
              <a:gdLst>
                <a:gd name="T0" fmla="*/ 185 w 231"/>
                <a:gd name="T1" fmla="*/ 0 h 174"/>
                <a:gd name="T2" fmla="*/ 164 w 231"/>
                <a:gd name="T3" fmla="*/ 0 h 174"/>
                <a:gd name="T4" fmla="*/ 116 w 231"/>
                <a:gd name="T5" fmla="*/ 85 h 174"/>
                <a:gd name="T6" fmla="*/ 67 w 231"/>
                <a:gd name="T7" fmla="*/ 0 h 174"/>
                <a:gd name="T8" fmla="*/ 47 w 231"/>
                <a:gd name="T9" fmla="*/ 0 h 174"/>
                <a:gd name="T10" fmla="*/ 0 w 231"/>
                <a:gd name="T11" fmla="*/ 47 h 174"/>
                <a:gd name="T12" fmla="*/ 0 w 231"/>
                <a:gd name="T13" fmla="*/ 174 h 174"/>
                <a:gd name="T14" fmla="*/ 231 w 231"/>
                <a:gd name="T15" fmla="*/ 174 h 174"/>
                <a:gd name="T16" fmla="*/ 231 w 231"/>
                <a:gd name="T17" fmla="*/ 47 h 174"/>
                <a:gd name="T18" fmla="*/ 185 w 231"/>
                <a:gd name="T19" fmla="*/ 0 h 17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1"/>
                <a:gd name="T31" fmla="*/ 0 h 174"/>
                <a:gd name="T32" fmla="*/ 231 w 231"/>
                <a:gd name="T33" fmla="*/ 174 h 17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1" h="174">
                  <a:moveTo>
                    <a:pt x="185" y="0"/>
                  </a:moveTo>
                  <a:cubicBezTo>
                    <a:pt x="164" y="0"/>
                    <a:pt x="164" y="0"/>
                    <a:pt x="164" y="0"/>
                  </a:cubicBezTo>
                  <a:cubicBezTo>
                    <a:pt x="116" y="85"/>
                    <a:pt x="116" y="85"/>
                    <a:pt x="116" y="85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1" y="0"/>
                    <a:pt x="0" y="21"/>
                    <a:pt x="0" y="47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231" y="174"/>
                    <a:pt x="231" y="174"/>
                    <a:pt x="231" y="174"/>
                  </a:cubicBezTo>
                  <a:cubicBezTo>
                    <a:pt x="231" y="47"/>
                    <a:pt x="231" y="47"/>
                    <a:pt x="231" y="47"/>
                  </a:cubicBezTo>
                  <a:cubicBezTo>
                    <a:pt x="231" y="21"/>
                    <a:pt x="211" y="0"/>
                    <a:pt x="185" y="0"/>
                  </a:cubicBezTo>
                  <a:close/>
                </a:path>
              </a:pathLst>
            </a:cu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45" name="Rectangle 36"/>
            <p:cNvSpPr>
              <a:spLocks noChangeArrowheads="1"/>
            </p:cNvSpPr>
            <p:nvPr/>
          </p:nvSpPr>
          <p:spPr bwMode="auto">
            <a:xfrm>
              <a:off x="1637521" y="3961779"/>
              <a:ext cx="119085" cy="63397"/>
            </a:xfrm>
            <a:prstGeom prst="rect">
              <a:avLst/>
            </a:prstGeom>
            <a:solidFill>
              <a:srgbClr val="3369E8"/>
            </a:soli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46" name="Freeform 37"/>
            <p:cNvSpPr>
              <a:spLocks/>
            </p:cNvSpPr>
            <p:nvPr/>
          </p:nvSpPr>
          <p:spPr bwMode="auto">
            <a:xfrm>
              <a:off x="1641804" y="3966063"/>
              <a:ext cx="111374" cy="56544"/>
            </a:xfrm>
            <a:custGeom>
              <a:avLst/>
              <a:gdLst>
                <a:gd name="T0" fmla="*/ 130 w 130"/>
                <a:gd name="T1" fmla="*/ 66 h 66"/>
                <a:gd name="T2" fmla="*/ 0 w 130"/>
                <a:gd name="T3" fmla="*/ 66 h 66"/>
                <a:gd name="T4" fmla="*/ 0 w 130"/>
                <a:gd name="T5" fmla="*/ 0 h 66"/>
                <a:gd name="T6" fmla="*/ 130 w 130"/>
                <a:gd name="T7" fmla="*/ 0 h 66"/>
                <a:gd name="T8" fmla="*/ 130 w 130"/>
                <a:gd name="T9" fmla="*/ 66 h 66"/>
                <a:gd name="T10" fmla="*/ 130 w 130"/>
                <a:gd name="T11" fmla="*/ 66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0"/>
                <a:gd name="T19" fmla="*/ 0 h 66"/>
                <a:gd name="T20" fmla="*/ 130 w 130"/>
                <a:gd name="T21" fmla="*/ 66 h 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0" h="66">
                  <a:moveTo>
                    <a:pt x="130" y="66"/>
                  </a:moveTo>
                  <a:lnTo>
                    <a:pt x="0" y="66"/>
                  </a:lnTo>
                  <a:lnTo>
                    <a:pt x="0" y="0"/>
                  </a:lnTo>
                  <a:lnTo>
                    <a:pt x="130" y="0"/>
                  </a:lnTo>
                  <a:lnTo>
                    <a:pt x="130" y="66"/>
                  </a:lnTo>
                  <a:close/>
                </a:path>
              </a:pathLst>
            </a:custGeom>
            <a:solidFill>
              <a:srgbClr val="3369E8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47" name="Freeform 38"/>
            <p:cNvSpPr>
              <a:spLocks/>
            </p:cNvSpPr>
            <p:nvPr/>
          </p:nvSpPr>
          <p:spPr bwMode="auto">
            <a:xfrm>
              <a:off x="1645231" y="3970346"/>
              <a:ext cx="103664" cy="47976"/>
            </a:xfrm>
            <a:custGeom>
              <a:avLst/>
              <a:gdLst>
                <a:gd name="T0" fmla="*/ 121 w 121"/>
                <a:gd name="T1" fmla="*/ 56 h 56"/>
                <a:gd name="T2" fmla="*/ 0 w 121"/>
                <a:gd name="T3" fmla="*/ 56 h 56"/>
                <a:gd name="T4" fmla="*/ 0 w 121"/>
                <a:gd name="T5" fmla="*/ 0 h 56"/>
                <a:gd name="T6" fmla="*/ 121 w 121"/>
                <a:gd name="T7" fmla="*/ 0 h 56"/>
                <a:gd name="T8" fmla="*/ 121 w 121"/>
                <a:gd name="T9" fmla="*/ 56 h 56"/>
                <a:gd name="T10" fmla="*/ 121 w 121"/>
                <a:gd name="T11" fmla="*/ 56 h 5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1"/>
                <a:gd name="T19" fmla="*/ 0 h 56"/>
                <a:gd name="T20" fmla="*/ 121 w 121"/>
                <a:gd name="T21" fmla="*/ 56 h 5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1" h="56">
                  <a:moveTo>
                    <a:pt x="121" y="56"/>
                  </a:moveTo>
                  <a:lnTo>
                    <a:pt x="0" y="56"/>
                  </a:lnTo>
                  <a:lnTo>
                    <a:pt x="0" y="0"/>
                  </a:lnTo>
                  <a:lnTo>
                    <a:pt x="121" y="0"/>
                  </a:lnTo>
                  <a:lnTo>
                    <a:pt x="121" y="56"/>
                  </a:lnTo>
                  <a:close/>
                </a:path>
              </a:pathLst>
            </a:custGeom>
            <a:solidFill>
              <a:srgbClr val="3369E8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48" name="Freeform 39"/>
            <p:cNvSpPr>
              <a:spLocks/>
            </p:cNvSpPr>
            <p:nvPr/>
          </p:nvSpPr>
          <p:spPr bwMode="auto">
            <a:xfrm>
              <a:off x="1645231" y="3980627"/>
              <a:ext cx="103664" cy="13708"/>
            </a:xfrm>
            <a:custGeom>
              <a:avLst/>
              <a:gdLst>
                <a:gd name="T0" fmla="*/ 121 w 121"/>
                <a:gd name="T1" fmla="*/ 16 h 16"/>
                <a:gd name="T2" fmla="*/ 0 w 121"/>
                <a:gd name="T3" fmla="*/ 16 h 16"/>
                <a:gd name="T4" fmla="*/ 0 w 121"/>
                <a:gd name="T5" fmla="*/ 0 h 16"/>
                <a:gd name="T6" fmla="*/ 121 w 121"/>
                <a:gd name="T7" fmla="*/ 0 h 16"/>
                <a:gd name="T8" fmla="*/ 121 w 121"/>
                <a:gd name="T9" fmla="*/ 16 h 16"/>
                <a:gd name="T10" fmla="*/ 121 w 121"/>
                <a:gd name="T11" fmla="*/ 16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1"/>
                <a:gd name="T19" fmla="*/ 0 h 16"/>
                <a:gd name="T20" fmla="*/ 121 w 121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1" h="16">
                  <a:moveTo>
                    <a:pt x="121" y="16"/>
                  </a:moveTo>
                  <a:lnTo>
                    <a:pt x="0" y="16"/>
                  </a:lnTo>
                  <a:lnTo>
                    <a:pt x="0" y="0"/>
                  </a:lnTo>
                  <a:lnTo>
                    <a:pt x="121" y="0"/>
                  </a:lnTo>
                  <a:lnTo>
                    <a:pt x="121" y="16"/>
                  </a:lnTo>
                  <a:close/>
                </a:path>
              </a:pathLst>
            </a:custGeom>
            <a:solidFill>
              <a:srgbClr val="3369E8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49" name="Freeform 40"/>
            <p:cNvSpPr>
              <a:spLocks/>
            </p:cNvSpPr>
            <p:nvPr/>
          </p:nvSpPr>
          <p:spPr bwMode="auto">
            <a:xfrm>
              <a:off x="1799442" y="3796432"/>
              <a:ext cx="42836" cy="126795"/>
            </a:xfrm>
            <a:custGeom>
              <a:avLst/>
              <a:gdLst>
                <a:gd name="T0" fmla="*/ 28 w 50"/>
                <a:gd name="T1" fmla="*/ 19 h 148"/>
                <a:gd name="T2" fmla="*/ 35 w 50"/>
                <a:gd name="T3" fmla="*/ 12 h 148"/>
                <a:gd name="T4" fmla="*/ 26 w 50"/>
                <a:gd name="T5" fmla="*/ 0 h 148"/>
                <a:gd name="T6" fmla="*/ 14 w 50"/>
                <a:gd name="T7" fmla="*/ 12 h 148"/>
                <a:gd name="T8" fmla="*/ 21 w 50"/>
                <a:gd name="T9" fmla="*/ 19 h 148"/>
                <a:gd name="T10" fmla="*/ 0 w 50"/>
                <a:gd name="T11" fmla="*/ 130 h 148"/>
                <a:gd name="T12" fmla="*/ 0 w 50"/>
                <a:gd name="T13" fmla="*/ 130 h 148"/>
                <a:gd name="T14" fmla="*/ 0 w 50"/>
                <a:gd name="T15" fmla="*/ 130 h 148"/>
                <a:gd name="T16" fmla="*/ 26 w 50"/>
                <a:gd name="T17" fmla="*/ 148 h 148"/>
                <a:gd name="T18" fmla="*/ 50 w 50"/>
                <a:gd name="T19" fmla="*/ 130 h 148"/>
                <a:gd name="T20" fmla="*/ 50 w 50"/>
                <a:gd name="T21" fmla="*/ 130 h 148"/>
                <a:gd name="T22" fmla="*/ 50 w 50"/>
                <a:gd name="T23" fmla="*/ 130 h 148"/>
                <a:gd name="T24" fmla="*/ 28 w 50"/>
                <a:gd name="T25" fmla="*/ 19 h 1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0"/>
                <a:gd name="T40" fmla="*/ 0 h 148"/>
                <a:gd name="T41" fmla="*/ 50 w 50"/>
                <a:gd name="T42" fmla="*/ 148 h 14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0" h="148">
                  <a:moveTo>
                    <a:pt x="28" y="19"/>
                  </a:moveTo>
                  <a:lnTo>
                    <a:pt x="35" y="12"/>
                  </a:lnTo>
                  <a:lnTo>
                    <a:pt x="26" y="0"/>
                  </a:lnTo>
                  <a:lnTo>
                    <a:pt x="14" y="12"/>
                  </a:lnTo>
                  <a:lnTo>
                    <a:pt x="21" y="19"/>
                  </a:lnTo>
                  <a:lnTo>
                    <a:pt x="0" y="130"/>
                  </a:lnTo>
                  <a:lnTo>
                    <a:pt x="26" y="148"/>
                  </a:lnTo>
                  <a:lnTo>
                    <a:pt x="50" y="130"/>
                  </a:lnTo>
                  <a:lnTo>
                    <a:pt x="28" y="19"/>
                  </a:lnTo>
                  <a:close/>
                </a:path>
              </a:pathLst>
            </a:custGeom>
            <a:solidFill>
              <a:srgbClr val="3369E8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50" name="Oval 41"/>
            <p:cNvSpPr>
              <a:spLocks noChangeArrowheads="1"/>
            </p:cNvSpPr>
            <p:nvPr/>
          </p:nvSpPr>
          <p:spPr bwMode="auto">
            <a:xfrm>
              <a:off x="1680357" y="3511143"/>
              <a:ext cx="281005" cy="282719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51" name="Oval 42"/>
            <p:cNvSpPr>
              <a:spLocks noChangeArrowheads="1"/>
            </p:cNvSpPr>
            <p:nvPr/>
          </p:nvSpPr>
          <p:spPr bwMode="auto">
            <a:xfrm>
              <a:off x="1686354" y="3518854"/>
              <a:ext cx="269011" cy="267298"/>
            </a:xfrm>
            <a:prstGeom prst="ellipse">
              <a:avLst/>
            </a:prstGeom>
            <a:solidFill>
              <a:srgbClr val="666666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52" name="Freeform 43"/>
            <p:cNvSpPr>
              <a:spLocks/>
            </p:cNvSpPr>
            <p:nvPr/>
          </p:nvSpPr>
          <p:spPr bwMode="auto">
            <a:xfrm>
              <a:off x="1566413" y="3365500"/>
              <a:ext cx="748776" cy="358110"/>
            </a:xfrm>
            <a:custGeom>
              <a:avLst/>
              <a:gdLst>
                <a:gd name="T0" fmla="*/ 185 w 370"/>
                <a:gd name="T1" fmla="*/ 0 h 177"/>
                <a:gd name="T2" fmla="*/ 0 w 370"/>
                <a:gd name="T3" fmla="*/ 67 h 177"/>
                <a:gd name="T4" fmla="*/ 38 w 370"/>
                <a:gd name="T5" fmla="*/ 108 h 177"/>
                <a:gd name="T6" fmla="*/ 41 w 370"/>
                <a:gd name="T7" fmla="*/ 105 h 177"/>
                <a:gd name="T8" fmla="*/ 41 w 370"/>
                <a:gd name="T9" fmla="*/ 101 h 177"/>
                <a:gd name="T10" fmla="*/ 7 w 370"/>
                <a:gd name="T11" fmla="*/ 67 h 177"/>
                <a:gd name="T12" fmla="*/ 185 w 370"/>
                <a:gd name="T13" fmla="*/ 7 h 177"/>
                <a:gd name="T14" fmla="*/ 363 w 370"/>
                <a:gd name="T15" fmla="*/ 67 h 177"/>
                <a:gd name="T16" fmla="*/ 216 w 370"/>
                <a:gd name="T17" fmla="*/ 127 h 177"/>
                <a:gd name="T18" fmla="*/ 214 w 370"/>
                <a:gd name="T19" fmla="*/ 130 h 177"/>
                <a:gd name="T20" fmla="*/ 216 w 370"/>
                <a:gd name="T21" fmla="*/ 133 h 177"/>
                <a:gd name="T22" fmla="*/ 256 w 370"/>
                <a:gd name="T23" fmla="*/ 129 h 177"/>
                <a:gd name="T24" fmla="*/ 220 w 370"/>
                <a:gd name="T25" fmla="*/ 176 h 177"/>
                <a:gd name="T26" fmla="*/ 272 w 370"/>
                <a:gd name="T27" fmla="*/ 135 h 177"/>
                <a:gd name="T28" fmla="*/ 277 w 370"/>
                <a:gd name="T29" fmla="*/ 126 h 177"/>
                <a:gd name="T30" fmla="*/ 370 w 370"/>
                <a:gd name="T31" fmla="*/ 67 h 177"/>
                <a:gd name="T32" fmla="*/ 185 w 370"/>
                <a:gd name="T33" fmla="*/ 0 h 17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70"/>
                <a:gd name="T52" fmla="*/ 0 h 177"/>
                <a:gd name="T53" fmla="*/ 370 w 370"/>
                <a:gd name="T54" fmla="*/ 177 h 17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70" h="177">
                  <a:moveTo>
                    <a:pt x="185" y="0"/>
                  </a:moveTo>
                  <a:cubicBezTo>
                    <a:pt x="83" y="0"/>
                    <a:pt x="0" y="30"/>
                    <a:pt x="0" y="67"/>
                  </a:cubicBezTo>
                  <a:cubicBezTo>
                    <a:pt x="0" y="83"/>
                    <a:pt x="14" y="97"/>
                    <a:pt x="38" y="108"/>
                  </a:cubicBezTo>
                  <a:cubicBezTo>
                    <a:pt x="40" y="107"/>
                    <a:pt x="41" y="107"/>
                    <a:pt x="41" y="105"/>
                  </a:cubicBezTo>
                  <a:cubicBezTo>
                    <a:pt x="42" y="104"/>
                    <a:pt x="41" y="103"/>
                    <a:pt x="41" y="101"/>
                  </a:cubicBezTo>
                  <a:cubicBezTo>
                    <a:pt x="19" y="91"/>
                    <a:pt x="7" y="79"/>
                    <a:pt x="7" y="67"/>
                  </a:cubicBezTo>
                  <a:cubicBezTo>
                    <a:pt x="7" y="38"/>
                    <a:pt x="80" y="7"/>
                    <a:pt x="185" y="7"/>
                  </a:cubicBezTo>
                  <a:cubicBezTo>
                    <a:pt x="290" y="7"/>
                    <a:pt x="363" y="38"/>
                    <a:pt x="363" y="67"/>
                  </a:cubicBezTo>
                  <a:cubicBezTo>
                    <a:pt x="363" y="93"/>
                    <a:pt x="304" y="121"/>
                    <a:pt x="216" y="127"/>
                  </a:cubicBezTo>
                  <a:cubicBezTo>
                    <a:pt x="215" y="128"/>
                    <a:pt x="214" y="129"/>
                    <a:pt x="214" y="130"/>
                  </a:cubicBezTo>
                  <a:cubicBezTo>
                    <a:pt x="214" y="131"/>
                    <a:pt x="215" y="133"/>
                    <a:pt x="216" y="133"/>
                  </a:cubicBezTo>
                  <a:cubicBezTo>
                    <a:pt x="230" y="133"/>
                    <a:pt x="243" y="131"/>
                    <a:pt x="256" y="129"/>
                  </a:cubicBezTo>
                  <a:cubicBezTo>
                    <a:pt x="252" y="148"/>
                    <a:pt x="215" y="175"/>
                    <a:pt x="220" y="176"/>
                  </a:cubicBezTo>
                  <a:cubicBezTo>
                    <a:pt x="226" y="177"/>
                    <a:pt x="262" y="151"/>
                    <a:pt x="272" y="135"/>
                  </a:cubicBezTo>
                  <a:cubicBezTo>
                    <a:pt x="275" y="132"/>
                    <a:pt x="276" y="129"/>
                    <a:pt x="277" y="126"/>
                  </a:cubicBezTo>
                  <a:cubicBezTo>
                    <a:pt x="333" y="114"/>
                    <a:pt x="370" y="92"/>
                    <a:pt x="370" y="67"/>
                  </a:cubicBezTo>
                  <a:cubicBezTo>
                    <a:pt x="370" y="30"/>
                    <a:pt x="287" y="0"/>
                    <a:pt x="185" y="0"/>
                  </a:cubicBezTo>
                  <a:close/>
                </a:path>
              </a:pathLst>
            </a:custGeom>
            <a:solidFill>
              <a:srgbClr val="3369E8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53" name="Rectangle 44"/>
            <p:cNvSpPr>
              <a:spLocks noChangeArrowheads="1"/>
            </p:cNvSpPr>
            <p:nvPr/>
          </p:nvSpPr>
          <p:spPr bwMode="auto">
            <a:xfrm>
              <a:off x="1873976" y="3450316"/>
              <a:ext cx="263871" cy="13708"/>
            </a:xfrm>
            <a:prstGeom prst="rect">
              <a:avLst/>
            </a:prstGeom>
            <a:solidFill>
              <a:srgbClr val="3369E8"/>
            </a:soli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54" name="Rectangle 45"/>
            <p:cNvSpPr>
              <a:spLocks noChangeArrowheads="1"/>
            </p:cNvSpPr>
            <p:nvPr/>
          </p:nvSpPr>
          <p:spPr bwMode="auto">
            <a:xfrm>
              <a:off x="1873976" y="3486298"/>
              <a:ext cx="376958" cy="14565"/>
            </a:xfrm>
            <a:prstGeom prst="rect">
              <a:avLst/>
            </a:prstGeom>
            <a:solidFill>
              <a:srgbClr val="3369E8"/>
            </a:soli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32109" name="Group 101"/>
          <p:cNvGrpSpPr>
            <a:grpSpLocks/>
          </p:cNvGrpSpPr>
          <p:nvPr/>
        </p:nvGrpSpPr>
        <p:grpSpPr bwMode="auto">
          <a:xfrm>
            <a:off x="1297454" y="4551363"/>
            <a:ext cx="917575" cy="874712"/>
            <a:chOff x="1375153" y="4809065"/>
            <a:chExt cx="917122" cy="873657"/>
          </a:xfrm>
        </p:grpSpPr>
        <p:sp>
          <p:nvSpPr>
            <p:cNvPr id="132111" name="Freeform 13"/>
            <p:cNvSpPr>
              <a:spLocks/>
            </p:cNvSpPr>
            <p:nvPr/>
          </p:nvSpPr>
          <p:spPr bwMode="auto">
            <a:xfrm>
              <a:off x="1476572" y="4820656"/>
              <a:ext cx="472325" cy="521586"/>
            </a:xfrm>
            <a:custGeom>
              <a:avLst/>
              <a:gdLst>
                <a:gd name="T0" fmla="*/ 0 w 209"/>
                <a:gd name="T1" fmla="*/ 521586 h 231"/>
                <a:gd name="T2" fmla="*/ 221473 w 209"/>
                <a:gd name="T3" fmla="*/ 282244 h 231"/>
                <a:gd name="T4" fmla="*/ 377408 w 209"/>
                <a:gd name="T5" fmla="*/ 58707 h 231"/>
                <a:gd name="T6" fmla="*/ 402267 w 209"/>
                <a:gd name="T7" fmla="*/ 54191 h 231"/>
                <a:gd name="T8" fmla="*/ 440686 w 209"/>
                <a:gd name="T9" fmla="*/ 81286 h 231"/>
                <a:gd name="T10" fmla="*/ 472325 w 209"/>
                <a:gd name="T11" fmla="*/ 51933 h 231"/>
                <a:gd name="T12" fmla="*/ 427126 w 209"/>
                <a:gd name="T13" fmla="*/ 20322 h 231"/>
                <a:gd name="T14" fmla="*/ 341249 w 209"/>
                <a:gd name="T15" fmla="*/ 33869 h 231"/>
                <a:gd name="T16" fmla="*/ 0 w 209"/>
                <a:gd name="T17" fmla="*/ 521586 h 231"/>
                <a:gd name="T18" fmla="*/ 0 w 209"/>
                <a:gd name="T19" fmla="*/ 521586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9"/>
                <a:gd name="T31" fmla="*/ 0 h 231"/>
                <a:gd name="T32" fmla="*/ 209 w 209"/>
                <a:gd name="T33" fmla="*/ 231 h 23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9" h="231">
                  <a:moveTo>
                    <a:pt x="0" y="231"/>
                  </a:moveTo>
                  <a:cubicBezTo>
                    <a:pt x="0" y="231"/>
                    <a:pt x="81" y="145"/>
                    <a:pt x="98" y="125"/>
                  </a:cubicBezTo>
                  <a:cubicBezTo>
                    <a:pt x="167" y="26"/>
                    <a:pt x="167" y="26"/>
                    <a:pt x="167" y="26"/>
                  </a:cubicBezTo>
                  <a:cubicBezTo>
                    <a:pt x="169" y="23"/>
                    <a:pt x="174" y="22"/>
                    <a:pt x="178" y="24"/>
                  </a:cubicBezTo>
                  <a:cubicBezTo>
                    <a:pt x="195" y="36"/>
                    <a:pt x="195" y="36"/>
                    <a:pt x="195" y="36"/>
                  </a:cubicBezTo>
                  <a:cubicBezTo>
                    <a:pt x="209" y="23"/>
                    <a:pt x="209" y="23"/>
                    <a:pt x="209" y="23"/>
                  </a:cubicBezTo>
                  <a:cubicBezTo>
                    <a:pt x="189" y="9"/>
                    <a:pt x="189" y="9"/>
                    <a:pt x="189" y="9"/>
                  </a:cubicBezTo>
                  <a:cubicBezTo>
                    <a:pt x="177" y="0"/>
                    <a:pt x="160" y="3"/>
                    <a:pt x="151" y="15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0" y="231"/>
                    <a:pt x="0" y="231"/>
                    <a:pt x="0" y="231"/>
                  </a:cubicBezTo>
                  <a:close/>
                </a:path>
              </a:pathLst>
            </a:custGeom>
            <a:solidFill>
              <a:srgbClr val="009925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12" name="Freeform 14"/>
            <p:cNvSpPr>
              <a:spLocks/>
            </p:cNvSpPr>
            <p:nvPr/>
          </p:nvSpPr>
          <p:spPr bwMode="auto">
            <a:xfrm>
              <a:off x="1388193" y="5445110"/>
              <a:ext cx="241958" cy="185453"/>
            </a:xfrm>
            <a:custGeom>
              <a:avLst/>
              <a:gdLst>
                <a:gd name="T0" fmla="*/ 42965 w 107"/>
                <a:gd name="T1" fmla="*/ 94988 h 82"/>
                <a:gd name="T2" fmla="*/ 241958 w 107"/>
                <a:gd name="T3" fmla="*/ 185453 h 82"/>
                <a:gd name="T4" fmla="*/ 52010 w 107"/>
                <a:gd name="T5" fmla="*/ 54279 h 82"/>
                <a:gd name="T6" fmla="*/ 20352 w 107"/>
                <a:gd name="T7" fmla="*/ 4523 h 82"/>
                <a:gd name="T8" fmla="*/ 20352 w 107"/>
                <a:gd name="T9" fmla="*/ 0 h 82"/>
                <a:gd name="T10" fmla="*/ 13568 w 107"/>
                <a:gd name="T11" fmla="*/ 13570 h 82"/>
                <a:gd name="T12" fmla="*/ 42965 w 107"/>
                <a:gd name="T13" fmla="*/ 94988 h 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7"/>
                <a:gd name="T22" fmla="*/ 0 h 82"/>
                <a:gd name="T23" fmla="*/ 107 w 107"/>
                <a:gd name="T24" fmla="*/ 82 h 8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7" h="82">
                  <a:moveTo>
                    <a:pt x="19" y="42"/>
                  </a:moveTo>
                  <a:cubicBezTo>
                    <a:pt x="107" y="82"/>
                    <a:pt x="107" y="82"/>
                    <a:pt x="107" y="82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16" y="19"/>
                    <a:pt x="11" y="11"/>
                    <a:pt x="9" y="2"/>
                  </a:cubicBezTo>
                  <a:cubicBezTo>
                    <a:pt x="9" y="1"/>
                    <a:pt x="9" y="1"/>
                    <a:pt x="9" y="0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0" y="19"/>
                    <a:pt x="6" y="35"/>
                    <a:pt x="19" y="42"/>
                  </a:cubicBezTo>
                  <a:close/>
                </a:path>
              </a:pathLst>
            </a:custGeom>
            <a:solidFill>
              <a:srgbClr val="009925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5" name="Freeform 15"/>
            <p:cNvSpPr>
              <a:spLocks/>
            </p:cNvSpPr>
            <p:nvPr/>
          </p:nvSpPr>
          <p:spPr bwMode="auto">
            <a:xfrm>
              <a:off x="1375153" y="4821750"/>
              <a:ext cx="298303" cy="829261"/>
            </a:xfrm>
            <a:custGeom>
              <a:avLst/>
              <a:gdLst>
                <a:gd name="T0" fmla="*/ 52 w 132"/>
                <a:gd name="T1" fmla="*/ 285 h 367"/>
                <a:gd name="T2" fmla="*/ 44 w 132"/>
                <a:gd name="T3" fmla="*/ 279 h 367"/>
                <a:gd name="T4" fmla="*/ 41 w 132"/>
                <a:gd name="T5" fmla="*/ 272 h 367"/>
                <a:gd name="T6" fmla="*/ 36 w 132"/>
                <a:gd name="T7" fmla="*/ 261 h 367"/>
                <a:gd name="T8" fmla="*/ 36 w 132"/>
                <a:gd name="T9" fmla="*/ 261 h 367"/>
                <a:gd name="T10" fmla="*/ 36 w 132"/>
                <a:gd name="T11" fmla="*/ 258 h 367"/>
                <a:gd name="T12" fmla="*/ 36 w 132"/>
                <a:gd name="T13" fmla="*/ 254 h 367"/>
                <a:gd name="T14" fmla="*/ 36 w 132"/>
                <a:gd name="T15" fmla="*/ 250 h 367"/>
                <a:gd name="T16" fmla="*/ 36 w 132"/>
                <a:gd name="T17" fmla="*/ 248 h 367"/>
                <a:gd name="T18" fmla="*/ 37 w 132"/>
                <a:gd name="T19" fmla="*/ 246 h 367"/>
                <a:gd name="T20" fmla="*/ 39 w 132"/>
                <a:gd name="T21" fmla="*/ 239 h 367"/>
                <a:gd name="T22" fmla="*/ 35 w 132"/>
                <a:gd name="T23" fmla="*/ 244 h 367"/>
                <a:gd name="T24" fmla="*/ 25 w 132"/>
                <a:gd name="T25" fmla="*/ 238 h 367"/>
                <a:gd name="T26" fmla="*/ 68 w 132"/>
                <a:gd name="T27" fmla="*/ 145 h 367"/>
                <a:gd name="T28" fmla="*/ 99 w 132"/>
                <a:gd name="T29" fmla="*/ 28 h 367"/>
                <a:gd name="T30" fmla="*/ 108 w 132"/>
                <a:gd name="T31" fmla="*/ 22 h 367"/>
                <a:gd name="T32" fmla="*/ 124 w 132"/>
                <a:gd name="T33" fmla="*/ 27 h 367"/>
                <a:gd name="T34" fmla="*/ 131 w 132"/>
                <a:gd name="T35" fmla="*/ 11 h 367"/>
                <a:gd name="T36" fmla="*/ 132 w 132"/>
                <a:gd name="T37" fmla="*/ 9 h 367"/>
                <a:gd name="T38" fmla="*/ 113 w 132"/>
                <a:gd name="T39" fmla="*/ 4 h 367"/>
                <a:gd name="T40" fmla="*/ 80 w 132"/>
                <a:gd name="T41" fmla="*/ 23 h 367"/>
                <a:gd name="T42" fmla="*/ 19 w 132"/>
                <a:gd name="T43" fmla="*/ 252 h 367"/>
                <a:gd name="T44" fmla="*/ 22 w 132"/>
                <a:gd name="T45" fmla="*/ 274 h 367"/>
                <a:gd name="T46" fmla="*/ 22 w 132"/>
                <a:gd name="T47" fmla="*/ 276 h 367"/>
                <a:gd name="T48" fmla="*/ 22 w 132"/>
                <a:gd name="T49" fmla="*/ 277 h 367"/>
                <a:gd name="T50" fmla="*/ 22 w 132"/>
                <a:gd name="T51" fmla="*/ 277 h 367"/>
                <a:gd name="T52" fmla="*/ 23 w 132"/>
                <a:gd name="T53" fmla="*/ 280 h 367"/>
                <a:gd name="T54" fmla="*/ 23 w 132"/>
                <a:gd name="T55" fmla="*/ 281 h 367"/>
                <a:gd name="T56" fmla="*/ 33 w 132"/>
                <a:gd name="T57" fmla="*/ 294 h 367"/>
                <a:gd name="T58" fmla="*/ 117 w 132"/>
                <a:gd name="T59" fmla="*/ 353 h 367"/>
                <a:gd name="T60" fmla="*/ 110 w 132"/>
                <a:gd name="T61" fmla="*/ 365 h 367"/>
                <a:gd name="T62" fmla="*/ 23 w 132"/>
                <a:gd name="T63" fmla="*/ 324 h 367"/>
                <a:gd name="T64" fmla="*/ 5 w 132"/>
                <a:gd name="T65" fmla="*/ 304 h 367"/>
                <a:gd name="T66" fmla="*/ 4 w 132"/>
                <a:gd name="T67" fmla="*/ 309 h 367"/>
                <a:gd name="T68" fmla="*/ 23 w 132"/>
                <a:gd name="T69" fmla="*/ 342 h 367"/>
                <a:gd name="T70" fmla="*/ 118 w 132"/>
                <a:gd name="T71" fmla="*/ 367 h 367"/>
                <a:gd name="T72" fmla="*/ 125 w 132"/>
                <a:gd name="T73" fmla="*/ 359 h 367"/>
                <a:gd name="T74" fmla="*/ 130 w 132"/>
                <a:gd name="T75" fmla="*/ 362 h 367"/>
                <a:gd name="T76" fmla="*/ 52 w 132"/>
                <a:gd name="T77" fmla="*/ 285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2" h="367">
                  <a:moveTo>
                    <a:pt x="52" y="285"/>
                  </a:moveTo>
                  <a:cubicBezTo>
                    <a:pt x="44" y="279"/>
                    <a:pt x="44" y="279"/>
                    <a:pt x="44" y="279"/>
                  </a:cubicBezTo>
                  <a:cubicBezTo>
                    <a:pt x="42" y="277"/>
                    <a:pt x="41" y="274"/>
                    <a:pt x="41" y="272"/>
                  </a:cubicBezTo>
                  <a:cubicBezTo>
                    <a:pt x="39" y="269"/>
                    <a:pt x="37" y="265"/>
                    <a:pt x="36" y="261"/>
                  </a:cubicBezTo>
                  <a:cubicBezTo>
                    <a:pt x="36" y="261"/>
                    <a:pt x="36" y="261"/>
                    <a:pt x="36" y="261"/>
                  </a:cubicBezTo>
                  <a:cubicBezTo>
                    <a:pt x="36" y="260"/>
                    <a:pt x="36" y="259"/>
                    <a:pt x="36" y="258"/>
                  </a:cubicBezTo>
                  <a:cubicBezTo>
                    <a:pt x="36" y="256"/>
                    <a:pt x="36" y="255"/>
                    <a:pt x="36" y="254"/>
                  </a:cubicBezTo>
                  <a:cubicBezTo>
                    <a:pt x="36" y="252"/>
                    <a:pt x="36" y="251"/>
                    <a:pt x="36" y="250"/>
                  </a:cubicBezTo>
                  <a:cubicBezTo>
                    <a:pt x="36" y="249"/>
                    <a:pt x="36" y="249"/>
                    <a:pt x="36" y="248"/>
                  </a:cubicBezTo>
                  <a:cubicBezTo>
                    <a:pt x="36" y="247"/>
                    <a:pt x="36" y="247"/>
                    <a:pt x="37" y="246"/>
                  </a:cubicBezTo>
                  <a:cubicBezTo>
                    <a:pt x="37" y="243"/>
                    <a:pt x="38" y="241"/>
                    <a:pt x="39" y="239"/>
                  </a:cubicBezTo>
                  <a:cubicBezTo>
                    <a:pt x="35" y="244"/>
                    <a:pt x="35" y="244"/>
                    <a:pt x="35" y="244"/>
                  </a:cubicBezTo>
                  <a:cubicBezTo>
                    <a:pt x="25" y="238"/>
                    <a:pt x="25" y="238"/>
                    <a:pt x="25" y="238"/>
                  </a:cubicBezTo>
                  <a:cubicBezTo>
                    <a:pt x="25" y="238"/>
                    <a:pt x="68" y="144"/>
                    <a:pt x="68" y="145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100" y="24"/>
                    <a:pt x="104" y="21"/>
                    <a:pt x="108" y="22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31" y="11"/>
                    <a:pt x="131" y="11"/>
                    <a:pt x="131" y="11"/>
                  </a:cubicBezTo>
                  <a:cubicBezTo>
                    <a:pt x="132" y="10"/>
                    <a:pt x="132" y="10"/>
                    <a:pt x="132" y="9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99" y="0"/>
                    <a:pt x="84" y="9"/>
                    <a:pt x="80" y="23"/>
                  </a:cubicBezTo>
                  <a:cubicBezTo>
                    <a:pt x="19" y="252"/>
                    <a:pt x="19" y="252"/>
                    <a:pt x="19" y="252"/>
                  </a:cubicBezTo>
                  <a:cubicBezTo>
                    <a:pt x="22" y="274"/>
                    <a:pt x="22" y="274"/>
                    <a:pt x="22" y="274"/>
                  </a:cubicBezTo>
                  <a:cubicBezTo>
                    <a:pt x="22" y="275"/>
                    <a:pt x="22" y="275"/>
                    <a:pt x="22" y="276"/>
                  </a:cubicBezTo>
                  <a:cubicBezTo>
                    <a:pt x="22" y="276"/>
                    <a:pt x="22" y="277"/>
                    <a:pt x="22" y="277"/>
                  </a:cubicBezTo>
                  <a:cubicBezTo>
                    <a:pt x="22" y="277"/>
                    <a:pt x="22" y="277"/>
                    <a:pt x="22" y="277"/>
                  </a:cubicBezTo>
                  <a:cubicBezTo>
                    <a:pt x="22" y="278"/>
                    <a:pt x="23" y="279"/>
                    <a:pt x="23" y="280"/>
                  </a:cubicBezTo>
                  <a:cubicBezTo>
                    <a:pt x="23" y="281"/>
                    <a:pt x="23" y="281"/>
                    <a:pt x="23" y="281"/>
                  </a:cubicBezTo>
                  <a:cubicBezTo>
                    <a:pt x="25" y="286"/>
                    <a:pt x="28" y="291"/>
                    <a:pt x="33" y="294"/>
                  </a:cubicBezTo>
                  <a:cubicBezTo>
                    <a:pt x="117" y="353"/>
                    <a:pt x="117" y="353"/>
                    <a:pt x="117" y="353"/>
                  </a:cubicBezTo>
                  <a:cubicBezTo>
                    <a:pt x="110" y="365"/>
                    <a:pt x="110" y="365"/>
                    <a:pt x="110" y="365"/>
                  </a:cubicBezTo>
                  <a:cubicBezTo>
                    <a:pt x="23" y="324"/>
                    <a:pt x="23" y="324"/>
                    <a:pt x="23" y="324"/>
                  </a:cubicBezTo>
                  <a:cubicBezTo>
                    <a:pt x="14" y="320"/>
                    <a:pt x="8" y="313"/>
                    <a:pt x="5" y="304"/>
                  </a:cubicBezTo>
                  <a:cubicBezTo>
                    <a:pt x="4" y="309"/>
                    <a:pt x="4" y="309"/>
                    <a:pt x="4" y="309"/>
                  </a:cubicBezTo>
                  <a:cubicBezTo>
                    <a:pt x="0" y="323"/>
                    <a:pt x="8" y="338"/>
                    <a:pt x="23" y="342"/>
                  </a:cubicBezTo>
                  <a:cubicBezTo>
                    <a:pt x="118" y="367"/>
                    <a:pt x="118" y="367"/>
                    <a:pt x="118" y="367"/>
                  </a:cubicBezTo>
                  <a:cubicBezTo>
                    <a:pt x="125" y="359"/>
                    <a:pt x="125" y="359"/>
                    <a:pt x="125" y="359"/>
                  </a:cubicBezTo>
                  <a:cubicBezTo>
                    <a:pt x="130" y="362"/>
                    <a:pt x="130" y="362"/>
                    <a:pt x="130" y="362"/>
                  </a:cubicBezTo>
                  <a:lnTo>
                    <a:pt x="52" y="28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14" name="Freeform 16"/>
            <p:cNvSpPr>
              <a:spLocks noEditPoints="1"/>
            </p:cNvSpPr>
            <p:nvPr/>
          </p:nvSpPr>
          <p:spPr bwMode="auto">
            <a:xfrm>
              <a:off x="1451942" y="4809065"/>
              <a:ext cx="840333" cy="873657"/>
            </a:xfrm>
            <a:custGeom>
              <a:avLst/>
              <a:gdLst>
                <a:gd name="T0" fmla="*/ 817743 w 372"/>
                <a:gd name="T1" fmla="*/ 291219 h 387"/>
                <a:gd name="T2" fmla="*/ 596365 w 372"/>
                <a:gd name="T3" fmla="*/ 69983 h 387"/>
                <a:gd name="T4" fmla="*/ 508266 w 372"/>
                <a:gd name="T5" fmla="*/ 69983 h 387"/>
                <a:gd name="T6" fmla="*/ 36143 w 372"/>
                <a:gd name="T7" fmla="*/ 544060 h 387"/>
                <a:gd name="T8" fmla="*/ 13554 w 372"/>
                <a:gd name="T9" fmla="*/ 526000 h 387"/>
                <a:gd name="T10" fmla="*/ 158127 w 372"/>
                <a:gd name="T11" fmla="*/ 309279 h 387"/>
                <a:gd name="T12" fmla="*/ 273334 w 372"/>
                <a:gd name="T13" fmla="*/ 63210 h 387"/>
                <a:gd name="T14" fmla="*/ 295924 w 372"/>
                <a:gd name="T15" fmla="*/ 54180 h 387"/>
                <a:gd name="T16" fmla="*/ 332067 w 372"/>
                <a:gd name="T17" fmla="*/ 69983 h 387"/>
                <a:gd name="T18" fmla="*/ 354657 w 372"/>
                <a:gd name="T19" fmla="*/ 38378 h 387"/>
                <a:gd name="T20" fmla="*/ 356916 w 372"/>
                <a:gd name="T21" fmla="*/ 33863 h 387"/>
                <a:gd name="T22" fmla="*/ 313995 w 372"/>
                <a:gd name="T23" fmla="*/ 15803 h 387"/>
                <a:gd name="T24" fmla="*/ 234932 w 372"/>
                <a:gd name="T25" fmla="*/ 45150 h 387"/>
                <a:gd name="T26" fmla="*/ 0 w 372"/>
                <a:gd name="T27" fmla="*/ 546318 h 387"/>
                <a:gd name="T28" fmla="*/ 24849 w 372"/>
                <a:gd name="T29" fmla="*/ 559863 h 387"/>
                <a:gd name="T30" fmla="*/ 24849 w 372"/>
                <a:gd name="T31" fmla="*/ 559863 h 387"/>
                <a:gd name="T32" fmla="*/ 22590 w 372"/>
                <a:gd name="T33" fmla="*/ 566635 h 387"/>
                <a:gd name="T34" fmla="*/ 22590 w 372"/>
                <a:gd name="T35" fmla="*/ 566635 h 387"/>
                <a:gd name="T36" fmla="*/ 20331 w 372"/>
                <a:gd name="T37" fmla="*/ 571150 h 387"/>
                <a:gd name="T38" fmla="*/ 20331 w 372"/>
                <a:gd name="T39" fmla="*/ 573408 h 387"/>
                <a:gd name="T40" fmla="*/ 18072 w 372"/>
                <a:gd name="T41" fmla="*/ 577923 h 387"/>
                <a:gd name="T42" fmla="*/ 18072 w 372"/>
                <a:gd name="T43" fmla="*/ 580181 h 387"/>
                <a:gd name="T44" fmla="*/ 18072 w 372"/>
                <a:gd name="T45" fmla="*/ 584696 h 387"/>
                <a:gd name="T46" fmla="*/ 18072 w 372"/>
                <a:gd name="T47" fmla="*/ 586953 h 387"/>
                <a:gd name="T48" fmla="*/ 18072 w 372"/>
                <a:gd name="T49" fmla="*/ 586953 h 387"/>
                <a:gd name="T50" fmla="*/ 18072 w 372"/>
                <a:gd name="T51" fmla="*/ 593726 h 387"/>
                <a:gd name="T52" fmla="*/ 20331 w 372"/>
                <a:gd name="T53" fmla="*/ 595983 h 387"/>
                <a:gd name="T54" fmla="*/ 36143 w 372"/>
                <a:gd name="T55" fmla="*/ 629846 h 387"/>
                <a:gd name="T56" fmla="*/ 257521 w 372"/>
                <a:gd name="T57" fmla="*/ 851082 h 387"/>
                <a:gd name="T58" fmla="*/ 343362 w 372"/>
                <a:gd name="T59" fmla="*/ 851082 h 387"/>
                <a:gd name="T60" fmla="*/ 817743 w 372"/>
                <a:gd name="T61" fmla="*/ 379262 h 387"/>
                <a:gd name="T62" fmla="*/ 817743 w 372"/>
                <a:gd name="T63" fmla="*/ 291219 h 387"/>
                <a:gd name="T64" fmla="*/ 313995 w 372"/>
                <a:gd name="T65" fmla="*/ 819477 h 387"/>
                <a:gd name="T66" fmla="*/ 289147 w 372"/>
                <a:gd name="T67" fmla="*/ 819477 h 387"/>
                <a:gd name="T68" fmla="*/ 67769 w 372"/>
                <a:gd name="T69" fmla="*/ 598241 h 387"/>
                <a:gd name="T70" fmla="*/ 67769 w 372"/>
                <a:gd name="T71" fmla="*/ 573408 h 387"/>
                <a:gd name="T72" fmla="*/ 259780 w 372"/>
                <a:gd name="T73" fmla="*/ 381519 h 387"/>
                <a:gd name="T74" fmla="*/ 318513 w 372"/>
                <a:gd name="T75" fmla="*/ 568893 h 387"/>
                <a:gd name="T76" fmla="*/ 506007 w 372"/>
                <a:gd name="T77" fmla="*/ 627588 h 387"/>
                <a:gd name="T78" fmla="*/ 313995 w 372"/>
                <a:gd name="T79" fmla="*/ 819477 h 387"/>
                <a:gd name="T80" fmla="*/ 786118 w 372"/>
                <a:gd name="T81" fmla="*/ 347657 h 387"/>
                <a:gd name="T82" fmla="*/ 594106 w 372"/>
                <a:gd name="T83" fmla="*/ 539545 h 387"/>
                <a:gd name="T84" fmla="*/ 533114 w 372"/>
                <a:gd name="T85" fmla="*/ 354429 h 387"/>
                <a:gd name="T86" fmla="*/ 347880 w 372"/>
                <a:gd name="T87" fmla="*/ 293477 h 387"/>
                <a:gd name="T88" fmla="*/ 539891 w 372"/>
                <a:gd name="T89" fmla="*/ 101588 h 387"/>
                <a:gd name="T90" fmla="*/ 564740 w 372"/>
                <a:gd name="T91" fmla="*/ 101588 h 387"/>
                <a:gd name="T92" fmla="*/ 786118 w 372"/>
                <a:gd name="T93" fmla="*/ 322824 h 387"/>
                <a:gd name="T94" fmla="*/ 786118 w 372"/>
                <a:gd name="T95" fmla="*/ 347657 h 38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2"/>
                <a:gd name="T145" fmla="*/ 0 h 387"/>
                <a:gd name="T146" fmla="*/ 372 w 372"/>
                <a:gd name="T147" fmla="*/ 387 h 38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2" h="387">
                  <a:moveTo>
                    <a:pt x="362" y="129"/>
                  </a:moveTo>
                  <a:cubicBezTo>
                    <a:pt x="264" y="31"/>
                    <a:pt x="264" y="31"/>
                    <a:pt x="264" y="31"/>
                  </a:cubicBezTo>
                  <a:cubicBezTo>
                    <a:pt x="253" y="21"/>
                    <a:pt x="236" y="21"/>
                    <a:pt x="225" y="31"/>
                  </a:cubicBezTo>
                  <a:cubicBezTo>
                    <a:pt x="16" y="241"/>
                    <a:pt x="16" y="241"/>
                    <a:pt x="16" y="241"/>
                  </a:cubicBezTo>
                  <a:cubicBezTo>
                    <a:pt x="6" y="233"/>
                    <a:pt x="6" y="233"/>
                    <a:pt x="6" y="233"/>
                  </a:cubicBezTo>
                  <a:cubicBezTo>
                    <a:pt x="6" y="233"/>
                    <a:pt x="71" y="136"/>
                    <a:pt x="70" y="137"/>
                  </a:cubicBezTo>
                  <a:cubicBezTo>
                    <a:pt x="121" y="28"/>
                    <a:pt x="121" y="28"/>
                    <a:pt x="121" y="28"/>
                  </a:cubicBezTo>
                  <a:cubicBezTo>
                    <a:pt x="123" y="24"/>
                    <a:pt x="127" y="22"/>
                    <a:pt x="131" y="24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7" y="16"/>
                    <a:pt x="158" y="16"/>
                    <a:pt x="158" y="15"/>
                  </a:cubicBezTo>
                  <a:cubicBezTo>
                    <a:pt x="139" y="7"/>
                    <a:pt x="139" y="7"/>
                    <a:pt x="139" y="7"/>
                  </a:cubicBezTo>
                  <a:cubicBezTo>
                    <a:pt x="126" y="0"/>
                    <a:pt x="110" y="6"/>
                    <a:pt x="104" y="20"/>
                  </a:cubicBezTo>
                  <a:cubicBezTo>
                    <a:pt x="0" y="242"/>
                    <a:pt x="0" y="242"/>
                    <a:pt x="0" y="242"/>
                  </a:cubicBezTo>
                  <a:cubicBezTo>
                    <a:pt x="11" y="248"/>
                    <a:pt x="11" y="248"/>
                    <a:pt x="11" y="248"/>
                  </a:cubicBezTo>
                  <a:cubicBezTo>
                    <a:pt x="11" y="248"/>
                    <a:pt x="11" y="248"/>
                    <a:pt x="11" y="248"/>
                  </a:cubicBezTo>
                  <a:cubicBezTo>
                    <a:pt x="10" y="249"/>
                    <a:pt x="10" y="250"/>
                    <a:pt x="10" y="251"/>
                  </a:cubicBezTo>
                  <a:cubicBezTo>
                    <a:pt x="10" y="251"/>
                    <a:pt x="10" y="251"/>
                    <a:pt x="10" y="251"/>
                  </a:cubicBezTo>
                  <a:cubicBezTo>
                    <a:pt x="9" y="252"/>
                    <a:pt x="9" y="253"/>
                    <a:pt x="9" y="253"/>
                  </a:cubicBezTo>
                  <a:cubicBezTo>
                    <a:pt x="9" y="254"/>
                    <a:pt x="9" y="254"/>
                    <a:pt x="9" y="254"/>
                  </a:cubicBezTo>
                  <a:cubicBezTo>
                    <a:pt x="9" y="255"/>
                    <a:pt x="9" y="255"/>
                    <a:pt x="8" y="256"/>
                  </a:cubicBezTo>
                  <a:cubicBezTo>
                    <a:pt x="8" y="256"/>
                    <a:pt x="8" y="257"/>
                    <a:pt x="8" y="257"/>
                  </a:cubicBezTo>
                  <a:cubicBezTo>
                    <a:pt x="8" y="258"/>
                    <a:pt x="8" y="259"/>
                    <a:pt x="8" y="259"/>
                  </a:cubicBezTo>
                  <a:cubicBezTo>
                    <a:pt x="8" y="260"/>
                    <a:pt x="8" y="260"/>
                    <a:pt x="8" y="260"/>
                  </a:cubicBezTo>
                  <a:cubicBezTo>
                    <a:pt x="8" y="260"/>
                    <a:pt x="8" y="260"/>
                    <a:pt x="8" y="260"/>
                  </a:cubicBezTo>
                  <a:cubicBezTo>
                    <a:pt x="8" y="261"/>
                    <a:pt x="8" y="262"/>
                    <a:pt x="8" y="263"/>
                  </a:cubicBezTo>
                  <a:cubicBezTo>
                    <a:pt x="8" y="263"/>
                    <a:pt x="8" y="264"/>
                    <a:pt x="9" y="264"/>
                  </a:cubicBezTo>
                  <a:cubicBezTo>
                    <a:pt x="9" y="269"/>
                    <a:pt x="12" y="275"/>
                    <a:pt x="16" y="279"/>
                  </a:cubicBezTo>
                  <a:cubicBezTo>
                    <a:pt x="114" y="377"/>
                    <a:pt x="114" y="377"/>
                    <a:pt x="114" y="377"/>
                  </a:cubicBezTo>
                  <a:cubicBezTo>
                    <a:pt x="125" y="387"/>
                    <a:pt x="142" y="387"/>
                    <a:pt x="152" y="377"/>
                  </a:cubicBezTo>
                  <a:cubicBezTo>
                    <a:pt x="362" y="168"/>
                    <a:pt x="362" y="168"/>
                    <a:pt x="362" y="168"/>
                  </a:cubicBezTo>
                  <a:cubicBezTo>
                    <a:pt x="372" y="157"/>
                    <a:pt x="372" y="140"/>
                    <a:pt x="362" y="129"/>
                  </a:cubicBezTo>
                  <a:close/>
                  <a:moveTo>
                    <a:pt x="139" y="363"/>
                  </a:moveTo>
                  <a:cubicBezTo>
                    <a:pt x="136" y="366"/>
                    <a:pt x="131" y="366"/>
                    <a:pt x="128" y="363"/>
                  </a:cubicBezTo>
                  <a:cubicBezTo>
                    <a:pt x="30" y="265"/>
                    <a:pt x="30" y="265"/>
                    <a:pt x="30" y="265"/>
                  </a:cubicBezTo>
                  <a:cubicBezTo>
                    <a:pt x="27" y="262"/>
                    <a:pt x="27" y="257"/>
                    <a:pt x="30" y="254"/>
                  </a:cubicBezTo>
                  <a:cubicBezTo>
                    <a:pt x="115" y="169"/>
                    <a:pt x="115" y="169"/>
                    <a:pt x="115" y="169"/>
                  </a:cubicBezTo>
                  <a:cubicBezTo>
                    <a:pt x="108" y="195"/>
                    <a:pt x="117" y="227"/>
                    <a:pt x="141" y="252"/>
                  </a:cubicBezTo>
                  <a:cubicBezTo>
                    <a:pt x="166" y="276"/>
                    <a:pt x="198" y="285"/>
                    <a:pt x="224" y="278"/>
                  </a:cubicBezTo>
                  <a:lnTo>
                    <a:pt x="139" y="363"/>
                  </a:lnTo>
                  <a:close/>
                  <a:moveTo>
                    <a:pt x="348" y="154"/>
                  </a:moveTo>
                  <a:cubicBezTo>
                    <a:pt x="263" y="239"/>
                    <a:pt x="263" y="239"/>
                    <a:pt x="263" y="239"/>
                  </a:cubicBezTo>
                  <a:cubicBezTo>
                    <a:pt x="270" y="214"/>
                    <a:pt x="261" y="181"/>
                    <a:pt x="236" y="157"/>
                  </a:cubicBezTo>
                  <a:cubicBezTo>
                    <a:pt x="212" y="132"/>
                    <a:pt x="179" y="123"/>
                    <a:pt x="154" y="130"/>
                  </a:cubicBezTo>
                  <a:cubicBezTo>
                    <a:pt x="239" y="45"/>
                    <a:pt x="239" y="45"/>
                    <a:pt x="239" y="45"/>
                  </a:cubicBezTo>
                  <a:cubicBezTo>
                    <a:pt x="242" y="42"/>
                    <a:pt x="247" y="42"/>
                    <a:pt x="250" y="45"/>
                  </a:cubicBezTo>
                  <a:cubicBezTo>
                    <a:pt x="348" y="143"/>
                    <a:pt x="348" y="143"/>
                    <a:pt x="348" y="143"/>
                  </a:cubicBezTo>
                  <a:cubicBezTo>
                    <a:pt x="351" y="146"/>
                    <a:pt x="351" y="151"/>
                    <a:pt x="348" y="154"/>
                  </a:cubicBezTo>
                  <a:close/>
                </a:path>
              </a:pathLst>
            </a:custGeom>
            <a:solidFill>
              <a:srgbClr val="009925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15" name="Freeform 17"/>
            <p:cNvSpPr>
              <a:spLocks/>
            </p:cNvSpPr>
            <p:nvPr/>
          </p:nvSpPr>
          <p:spPr bwMode="auto">
            <a:xfrm>
              <a:off x="1556259" y="5374117"/>
              <a:ext cx="37670" cy="37670"/>
            </a:xfrm>
            <a:custGeom>
              <a:avLst/>
              <a:gdLst>
                <a:gd name="T0" fmla="*/ 8864 w 17"/>
                <a:gd name="T1" fmla="*/ 0 h 17"/>
                <a:gd name="T2" fmla="*/ 37670 w 17"/>
                <a:gd name="T3" fmla="*/ 28806 h 17"/>
                <a:gd name="T4" fmla="*/ 28806 w 17"/>
                <a:gd name="T5" fmla="*/ 37670 h 17"/>
                <a:gd name="T6" fmla="*/ 11079 w 17"/>
                <a:gd name="T7" fmla="*/ 17727 h 17"/>
                <a:gd name="T8" fmla="*/ 8864 w 17"/>
                <a:gd name="T9" fmla="*/ 24375 h 17"/>
                <a:gd name="T10" fmla="*/ 6648 w 17"/>
                <a:gd name="T11" fmla="*/ 31022 h 17"/>
                <a:gd name="T12" fmla="*/ 0 w 17"/>
                <a:gd name="T13" fmla="*/ 24375 h 17"/>
                <a:gd name="T14" fmla="*/ 2216 w 17"/>
                <a:gd name="T15" fmla="*/ 15511 h 17"/>
                <a:gd name="T16" fmla="*/ 2216 w 17"/>
                <a:gd name="T17" fmla="*/ 6648 h 17"/>
                <a:gd name="T18" fmla="*/ 8864 w 17"/>
                <a:gd name="T19" fmla="*/ 0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17"/>
                <a:gd name="T32" fmla="*/ 17 w 17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17">
                  <a:moveTo>
                    <a:pt x="4" y="0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4" y="10"/>
                    <a:pt x="4" y="11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9"/>
                    <a:pt x="1" y="8"/>
                    <a:pt x="1" y="7"/>
                  </a:cubicBezTo>
                  <a:cubicBezTo>
                    <a:pt x="1" y="6"/>
                    <a:pt x="1" y="4"/>
                    <a:pt x="1" y="3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AAAAAA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16" name="Freeform 18"/>
            <p:cNvSpPr>
              <a:spLocks noEditPoints="1"/>
            </p:cNvSpPr>
            <p:nvPr/>
          </p:nvSpPr>
          <p:spPr bwMode="auto">
            <a:xfrm>
              <a:off x="1573645" y="5353833"/>
              <a:ext cx="43465" cy="40568"/>
            </a:xfrm>
            <a:custGeom>
              <a:avLst/>
              <a:gdLst>
                <a:gd name="T0" fmla="*/ 9151 w 19"/>
                <a:gd name="T1" fmla="*/ 31553 h 18"/>
                <a:gd name="T2" fmla="*/ 0 w 19"/>
                <a:gd name="T3" fmla="*/ 18030 h 18"/>
                <a:gd name="T4" fmla="*/ 6863 w 19"/>
                <a:gd name="T5" fmla="*/ 4508 h 18"/>
                <a:gd name="T6" fmla="*/ 11438 w 19"/>
                <a:gd name="T7" fmla="*/ 0 h 18"/>
                <a:gd name="T8" fmla="*/ 18301 w 19"/>
                <a:gd name="T9" fmla="*/ 0 h 18"/>
                <a:gd name="T10" fmla="*/ 20589 w 19"/>
                <a:gd name="T11" fmla="*/ 0 h 18"/>
                <a:gd name="T12" fmla="*/ 25164 w 19"/>
                <a:gd name="T13" fmla="*/ 2254 h 18"/>
                <a:gd name="T14" fmla="*/ 34314 w 19"/>
                <a:gd name="T15" fmla="*/ 9015 h 18"/>
                <a:gd name="T16" fmla="*/ 43465 w 19"/>
                <a:gd name="T17" fmla="*/ 22538 h 18"/>
                <a:gd name="T18" fmla="*/ 36602 w 19"/>
                <a:gd name="T19" fmla="*/ 36060 h 18"/>
                <a:gd name="T20" fmla="*/ 29739 w 19"/>
                <a:gd name="T21" fmla="*/ 40568 h 18"/>
                <a:gd name="T22" fmla="*/ 22876 w 19"/>
                <a:gd name="T23" fmla="*/ 40568 h 18"/>
                <a:gd name="T24" fmla="*/ 16013 w 19"/>
                <a:gd name="T25" fmla="*/ 38314 h 18"/>
                <a:gd name="T26" fmla="*/ 9151 w 19"/>
                <a:gd name="T27" fmla="*/ 31553 h 18"/>
                <a:gd name="T28" fmla="*/ 18301 w 19"/>
                <a:gd name="T29" fmla="*/ 24792 h 18"/>
                <a:gd name="T30" fmla="*/ 25164 w 19"/>
                <a:gd name="T31" fmla="*/ 31553 h 18"/>
                <a:gd name="T32" fmla="*/ 32027 w 19"/>
                <a:gd name="T33" fmla="*/ 29299 h 18"/>
                <a:gd name="T34" fmla="*/ 32027 w 19"/>
                <a:gd name="T35" fmla="*/ 27045 h 18"/>
                <a:gd name="T36" fmla="*/ 32027 w 19"/>
                <a:gd name="T37" fmla="*/ 22538 h 18"/>
                <a:gd name="T38" fmla="*/ 25164 w 19"/>
                <a:gd name="T39" fmla="*/ 15776 h 18"/>
                <a:gd name="T40" fmla="*/ 16013 w 19"/>
                <a:gd name="T41" fmla="*/ 9015 h 18"/>
                <a:gd name="T42" fmla="*/ 11438 w 19"/>
                <a:gd name="T43" fmla="*/ 11269 h 18"/>
                <a:gd name="T44" fmla="*/ 11438 w 19"/>
                <a:gd name="T45" fmla="*/ 15776 h 18"/>
                <a:gd name="T46" fmla="*/ 18301 w 19"/>
                <a:gd name="T47" fmla="*/ 24792 h 1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9"/>
                <a:gd name="T73" fmla="*/ 0 h 18"/>
                <a:gd name="T74" fmla="*/ 19 w 19"/>
                <a:gd name="T75" fmla="*/ 18 h 1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9" h="18">
                  <a:moveTo>
                    <a:pt x="4" y="14"/>
                  </a:moveTo>
                  <a:cubicBezTo>
                    <a:pt x="2" y="12"/>
                    <a:pt x="0" y="10"/>
                    <a:pt x="0" y="8"/>
                  </a:cubicBezTo>
                  <a:cubicBezTo>
                    <a:pt x="0" y="6"/>
                    <a:pt x="1" y="4"/>
                    <a:pt x="3" y="2"/>
                  </a:cubicBezTo>
                  <a:cubicBezTo>
                    <a:pt x="4" y="1"/>
                    <a:pt x="5" y="1"/>
                    <a:pt x="5" y="0"/>
                  </a:cubicBezTo>
                  <a:cubicBezTo>
                    <a:pt x="6" y="0"/>
                    <a:pt x="7" y="0"/>
                    <a:pt x="8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0" y="0"/>
                    <a:pt x="11" y="1"/>
                    <a:pt x="11" y="1"/>
                  </a:cubicBezTo>
                  <a:cubicBezTo>
                    <a:pt x="12" y="2"/>
                    <a:pt x="14" y="3"/>
                    <a:pt x="15" y="4"/>
                  </a:cubicBezTo>
                  <a:cubicBezTo>
                    <a:pt x="17" y="6"/>
                    <a:pt x="18" y="8"/>
                    <a:pt x="19" y="10"/>
                  </a:cubicBezTo>
                  <a:cubicBezTo>
                    <a:pt x="19" y="12"/>
                    <a:pt x="18" y="14"/>
                    <a:pt x="16" y="16"/>
                  </a:cubicBezTo>
                  <a:cubicBezTo>
                    <a:pt x="15" y="17"/>
                    <a:pt x="14" y="17"/>
                    <a:pt x="13" y="18"/>
                  </a:cubicBezTo>
                  <a:cubicBezTo>
                    <a:pt x="12" y="18"/>
                    <a:pt x="11" y="18"/>
                    <a:pt x="10" y="18"/>
                  </a:cubicBezTo>
                  <a:cubicBezTo>
                    <a:pt x="9" y="18"/>
                    <a:pt x="8" y="17"/>
                    <a:pt x="7" y="17"/>
                  </a:cubicBezTo>
                  <a:cubicBezTo>
                    <a:pt x="6" y="16"/>
                    <a:pt x="5" y="15"/>
                    <a:pt x="4" y="14"/>
                  </a:cubicBezTo>
                  <a:close/>
                  <a:moveTo>
                    <a:pt x="8" y="11"/>
                  </a:moveTo>
                  <a:cubicBezTo>
                    <a:pt x="9" y="12"/>
                    <a:pt x="11" y="13"/>
                    <a:pt x="11" y="14"/>
                  </a:cubicBezTo>
                  <a:cubicBezTo>
                    <a:pt x="12" y="14"/>
                    <a:pt x="13" y="14"/>
                    <a:pt x="14" y="13"/>
                  </a:cubicBezTo>
                  <a:cubicBezTo>
                    <a:pt x="14" y="13"/>
                    <a:pt x="14" y="12"/>
                    <a:pt x="14" y="12"/>
                  </a:cubicBezTo>
                  <a:cubicBezTo>
                    <a:pt x="14" y="11"/>
                    <a:pt x="14" y="11"/>
                    <a:pt x="14" y="10"/>
                  </a:cubicBezTo>
                  <a:cubicBezTo>
                    <a:pt x="13" y="9"/>
                    <a:pt x="12" y="8"/>
                    <a:pt x="11" y="7"/>
                  </a:cubicBezTo>
                  <a:cubicBezTo>
                    <a:pt x="9" y="6"/>
                    <a:pt x="8" y="5"/>
                    <a:pt x="7" y="4"/>
                  </a:cubicBezTo>
                  <a:cubicBezTo>
                    <a:pt x="6" y="4"/>
                    <a:pt x="6" y="4"/>
                    <a:pt x="5" y="5"/>
                  </a:cubicBezTo>
                  <a:cubicBezTo>
                    <a:pt x="5" y="5"/>
                    <a:pt x="4" y="6"/>
                    <a:pt x="5" y="7"/>
                  </a:cubicBezTo>
                  <a:cubicBezTo>
                    <a:pt x="5" y="8"/>
                    <a:pt x="6" y="9"/>
                    <a:pt x="8" y="11"/>
                  </a:cubicBezTo>
                  <a:close/>
                </a:path>
              </a:pathLst>
            </a:custGeom>
            <a:solidFill>
              <a:srgbClr val="AAAAAA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17" name="Freeform 19"/>
            <p:cNvSpPr>
              <a:spLocks noEditPoints="1"/>
            </p:cNvSpPr>
            <p:nvPr/>
          </p:nvSpPr>
          <p:spPr bwMode="auto">
            <a:xfrm>
              <a:off x="1601174" y="5326305"/>
              <a:ext cx="42017" cy="40568"/>
            </a:xfrm>
            <a:custGeom>
              <a:avLst/>
              <a:gdLst>
                <a:gd name="T0" fmla="*/ 8846 w 19"/>
                <a:gd name="T1" fmla="*/ 31553 h 18"/>
                <a:gd name="T2" fmla="*/ 0 w 19"/>
                <a:gd name="T3" fmla="*/ 18030 h 18"/>
                <a:gd name="T4" fmla="*/ 6634 w 19"/>
                <a:gd name="T5" fmla="*/ 4508 h 18"/>
                <a:gd name="T6" fmla="*/ 11057 w 19"/>
                <a:gd name="T7" fmla="*/ 0 h 18"/>
                <a:gd name="T8" fmla="*/ 15480 w 19"/>
                <a:gd name="T9" fmla="*/ 0 h 18"/>
                <a:gd name="T10" fmla="*/ 19903 w 19"/>
                <a:gd name="T11" fmla="*/ 0 h 18"/>
                <a:gd name="T12" fmla="*/ 24326 w 19"/>
                <a:gd name="T13" fmla="*/ 2254 h 18"/>
                <a:gd name="T14" fmla="*/ 33171 w 19"/>
                <a:gd name="T15" fmla="*/ 9015 h 18"/>
                <a:gd name="T16" fmla="*/ 39806 w 19"/>
                <a:gd name="T17" fmla="*/ 22538 h 18"/>
                <a:gd name="T18" fmla="*/ 35383 w 19"/>
                <a:gd name="T19" fmla="*/ 36060 h 18"/>
                <a:gd name="T20" fmla="*/ 28748 w 19"/>
                <a:gd name="T21" fmla="*/ 40568 h 18"/>
                <a:gd name="T22" fmla="*/ 22114 w 19"/>
                <a:gd name="T23" fmla="*/ 40568 h 18"/>
                <a:gd name="T24" fmla="*/ 15480 w 19"/>
                <a:gd name="T25" fmla="*/ 38314 h 18"/>
                <a:gd name="T26" fmla="*/ 8846 w 19"/>
                <a:gd name="T27" fmla="*/ 31553 h 18"/>
                <a:gd name="T28" fmla="*/ 17691 w 19"/>
                <a:gd name="T29" fmla="*/ 24792 h 18"/>
                <a:gd name="T30" fmla="*/ 24326 w 19"/>
                <a:gd name="T31" fmla="*/ 31553 h 18"/>
                <a:gd name="T32" fmla="*/ 30960 w 19"/>
                <a:gd name="T33" fmla="*/ 29299 h 18"/>
                <a:gd name="T34" fmla="*/ 30960 w 19"/>
                <a:gd name="T35" fmla="*/ 27045 h 18"/>
                <a:gd name="T36" fmla="*/ 30960 w 19"/>
                <a:gd name="T37" fmla="*/ 22538 h 18"/>
                <a:gd name="T38" fmla="*/ 24326 w 19"/>
                <a:gd name="T39" fmla="*/ 15776 h 18"/>
                <a:gd name="T40" fmla="*/ 15480 w 19"/>
                <a:gd name="T41" fmla="*/ 9015 h 18"/>
                <a:gd name="T42" fmla="*/ 11057 w 19"/>
                <a:gd name="T43" fmla="*/ 11269 h 18"/>
                <a:gd name="T44" fmla="*/ 11057 w 19"/>
                <a:gd name="T45" fmla="*/ 15776 h 18"/>
                <a:gd name="T46" fmla="*/ 17691 w 19"/>
                <a:gd name="T47" fmla="*/ 24792 h 1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9"/>
                <a:gd name="T73" fmla="*/ 0 h 18"/>
                <a:gd name="T74" fmla="*/ 19 w 19"/>
                <a:gd name="T75" fmla="*/ 18 h 1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9" h="18">
                  <a:moveTo>
                    <a:pt x="4" y="14"/>
                  </a:moveTo>
                  <a:cubicBezTo>
                    <a:pt x="2" y="12"/>
                    <a:pt x="0" y="10"/>
                    <a:pt x="0" y="8"/>
                  </a:cubicBezTo>
                  <a:cubicBezTo>
                    <a:pt x="0" y="6"/>
                    <a:pt x="1" y="4"/>
                    <a:pt x="3" y="2"/>
                  </a:cubicBezTo>
                  <a:cubicBezTo>
                    <a:pt x="4" y="1"/>
                    <a:pt x="5" y="1"/>
                    <a:pt x="5" y="0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0" y="0"/>
                    <a:pt x="11" y="1"/>
                    <a:pt x="11" y="1"/>
                  </a:cubicBezTo>
                  <a:cubicBezTo>
                    <a:pt x="12" y="2"/>
                    <a:pt x="14" y="3"/>
                    <a:pt x="15" y="4"/>
                  </a:cubicBezTo>
                  <a:cubicBezTo>
                    <a:pt x="17" y="6"/>
                    <a:pt x="18" y="8"/>
                    <a:pt x="18" y="10"/>
                  </a:cubicBezTo>
                  <a:cubicBezTo>
                    <a:pt x="19" y="12"/>
                    <a:pt x="18" y="14"/>
                    <a:pt x="16" y="16"/>
                  </a:cubicBezTo>
                  <a:cubicBezTo>
                    <a:pt x="15" y="17"/>
                    <a:pt x="14" y="17"/>
                    <a:pt x="13" y="18"/>
                  </a:cubicBezTo>
                  <a:cubicBezTo>
                    <a:pt x="12" y="18"/>
                    <a:pt x="11" y="18"/>
                    <a:pt x="10" y="18"/>
                  </a:cubicBezTo>
                  <a:cubicBezTo>
                    <a:pt x="9" y="18"/>
                    <a:pt x="8" y="17"/>
                    <a:pt x="7" y="17"/>
                  </a:cubicBezTo>
                  <a:cubicBezTo>
                    <a:pt x="6" y="16"/>
                    <a:pt x="5" y="15"/>
                    <a:pt x="4" y="14"/>
                  </a:cubicBezTo>
                  <a:close/>
                  <a:moveTo>
                    <a:pt x="8" y="11"/>
                  </a:moveTo>
                  <a:cubicBezTo>
                    <a:pt x="9" y="12"/>
                    <a:pt x="11" y="13"/>
                    <a:pt x="11" y="14"/>
                  </a:cubicBezTo>
                  <a:cubicBezTo>
                    <a:pt x="12" y="14"/>
                    <a:pt x="13" y="14"/>
                    <a:pt x="14" y="13"/>
                  </a:cubicBezTo>
                  <a:cubicBezTo>
                    <a:pt x="14" y="13"/>
                    <a:pt x="14" y="12"/>
                    <a:pt x="14" y="12"/>
                  </a:cubicBezTo>
                  <a:cubicBezTo>
                    <a:pt x="14" y="11"/>
                    <a:pt x="14" y="11"/>
                    <a:pt x="14" y="10"/>
                  </a:cubicBezTo>
                  <a:cubicBezTo>
                    <a:pt x="13" y="9"/>
                    <a:pt x="12" y="8"/>
                    <a:pt x="11" y="7"/>
                  </a:cubicBezTo>
                  <a:cubicBezTo>
                    <a:pt x="9" y="6"/>
                    <a:pt x="8" y="5"/>
                    <a:pt x="7" y="4"/>
                  </a:cubicBezTo>
                  <a:cubicBezTo>
                    <a:pt x="6" y="4"/>
                    <a:pt x="6" y="4"/>
                    <a:pt x="5" y="5"/>
                  </a:cubicBezTo>
                  <a:cubicBezTo>
                    <a:pt x="5" y="5"/>
                    <a:pt x="4" y="6"/>
                    <a:pt x="5" y="7"/>
                  </a:cubicBezTo>
                  <a:cubicBezTo>
                    <a:pt x="5" y="8"/>
                    <a:pt x="6" y="9"/>
                    <a:pt x="8" y="11"/>
                  </a:cubicBezTo>
                  <a:close/>
                </a:path>
              </a:pathLst>
            </a:custGeom>
            <a:solidFill>
              <a:srgbClr val="AAAAAA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18" name="Freeform 20"/>
            <p:cNvSpPr>
              <a:spLocks/>
            </p:cNvSpPr>
            <p:nvPr/>
          </p:nvSpPr>
          <p:spPr bwMode="auto">
            <a:xfrm>
              <a:off x="1738814" y="5556672"/>
              <a:ext cx="37670" cy="37670"/>
            </a:xfrm>
            <a:custGeom>
              <a:avLst/>
              <a:gdLst>
                <a:gd name="T0" fmla="*/ 8864 w 17"/>
                <a:gd name="T1" fmla="*/ 0 h 17"/>
                <a:gd name="T2" fmla="*/ 37670 w 17"/>
                <a:gd name="T3" fmla="*/ 28806 h 17"/>
                <a:gd name="T4" fmla="*/ 28806 w 17"/>
                <a:gd name="T5" fmla="*/ 37670 h 17"/>
                <a:gd name="T6" fmla="*/ 11079 w 17"/>
                <a:gd name="T7" fmla="*/ 17727 h 17"/>
                <a:gd name="T8" fmla="*/ 8864 w 17"/>
                <a:gd name="T9" fmla="*/ 24375 h 17"/>
                <a:gd name="T10" fmla="*/ 6648 w 17"/>
                <a:gd name="T11" fmla="*/ 31022 h 17"/>
                <a:gd name="T12" fmla="*/ 0 w 17"/>
                <a:gd name="T13" fmla="*/ 24375 h 17"/>
                <a:gd name="T14" fmla="*/ 2216 w 17"/>
                <a:gd name="T15" fmla="*/ 15511 h 17"/>
                <a:gd name="T16" fmla="*/ 2216 w 17"/>
                <a:gd name="T17" fmla="*/ 6648 h 17"/>
                <a:gd name="T18" fmla="*/ 8864 w 17"/>
                <a:gd name="T19" fmla="*/ 0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17"/>
                <a:gd name="T32" fmla="*/ 17 w 17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17">
                  <a:moveTo>
                    <a:pt x="4" y="0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9"/>
                    <a:pt x="4" y="10"/>
                    <a:pt x="4" y="11"/>
                  </a:cubicBezTo>
                  <a:cubicBezTo>
                    <a:pt x="4" y="12"/>
                    <a:pt x="3" y="13"/>
                    <a:pt x="3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9"/>
                    <a:pt x="1" y="8"/>
                    <a:pt x="1" y="7"/>
                  </a:cubicBezTo>
                  <a:cubicBezTo>
                    <a:pt x="1" y="5"/>
                    <a:pt x="1" y="4"/>
                    <a:pt x="1" y="3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AAAAAA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19" name="Freeform 21"/>
            <p:cNvSpPr>
              <a:spLocks noEditPoints="1"/>
            </p:cNvSpPr>
            <p:nvPr/>
          </p:nvSpPr>
          <p:spPr bwMode="auto">
            <a:xfrm>
              <a:off x="1756201" y="5536388"/>
              <a:ext cx="43465" cy="40568"/>
            </a:xfrm>
            <a:custGeom>
              <a:avLst/>
              <a:gdLst>
                <a:gd name="T0" fmla="*/ 9151 w 19"/>
                <a:gd name="T1" fmla="*/ 31553 h 18"/>
                <a:gd name="T2" fmla="*/ 0 w 19"/>
                <a:gd name="T3" fmla="*/ 18030 h 18"/>
                <a:gd name="T4" fmla="*/ 6863 w 19"/>
                <a:gd name="T5" fmla="*/ 4508 h 18"/>
                <a:gd name="T6" fmla="*/ 11438 w 19"/>
                <a:gd name="T7" fmla="*/ 0 h 18"/>
                <a:gd name="T8" fmla="*/ 16013 w 19"/>
                <a:gd name="T9" fmla="*/ 0 h 18"/>
                <a:gd name="T10" fmla="*/ 20589 w 19"/>
                <a:gd name="T11" fmla="*/ 0 h 18"/>
                <a:gd name="T12" fmla="*/ 25164 w 19"/>
                <a:gd name="T13" fmla="*/ 2254 h 18"/>
                <a:gd name="T14" fmla="*/ 32027 w 19"/>
                <a:gd name="T15" fmla="*/ 6761 h 18"/>
                <a:gd name="T16" fmla="*/ 41177 w 19"/>
                <a:gd name="T17" fmla="*/ 22538 h 18"/>
                <a:gd name="T18" fmla="*/ 36602 w 19"/>
                <a:gd name="T19" fmla="*/ 33807 h 18"/>
                <a:gd name="T20" fmla="*/ 29739 w 19"/>
                <a:gd name="T21" fmla="*/ 40568 h 18"/>
                <a:gd name="T22" fmla="*/ 22876 w 19"/>
                <a:gd name="T23" fmla="*/ 40568 h 18"/>
                <a:gd name="T24" fmla="*/ 16013 w 19"/>
                <a:gd name="T25" fmla="*/ 36060 h 18"/>
                <a:gd name="T26" fmla="*/ 9151 w 19"/>
                <a:gd name="T27" fmla="*/ 31553 h 18"/>
                <a:gd name="T28" fmla="*/ 18301 w 19"/>
                <a:gd name="T29" fmla="*/ 22538 h 18"/>
                <a:gd name="T30" fmla="*/ 25164 w 19"/>
                <a:gd name="T31" fmla="*/ 29299 h 18"/>
                <a:gd name="T32" fmla="*/ 29739 w 19"/>
                <a:gd name="T33" fmla="*/ 29299 h 18"/>
                <a:gd name="T34" fmla="*/ 32027 w 19"/>
                <a:gd name="T35" fmla="*/ 27045 h 18"/>
                <a:gd name="T36" fmla="*/ 29739 w 19"/>
                <a:gd name="T37" fmla="*/ 22538 h 18"/>
                <a:gd name="T38" fmla="*/ 25164 w 19"/>
                <a:gd name="T39" fmla="*/ 15776 h 18"/>
                <a:gd name="T40" fmla="*/ 16013 w 19"/>
                <a:gd name="T41" fmla="*/ 9015 h 18"/>
                <a:gd name="T42" fmla="*/ 11438 w 19"/>
                <a:gd name="T43" fmla="*/ 11269 h 18"/>
                <a:gd name="T44" fmla="*/ 11438 w 19"/>
                <a:gd name="T45" fmla="*/ 15776 h 18"/>
                <a:gd name="T46" fmla="*/ 18301 w 19"/>
                <a:gd name="T47" fmla="*/ 22538 h 1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9"/>
                <a:gd name="T73" fmla="*/ 0 h 18"/>
                <a:gd name="T74" fmla="*/ 19 w 19"/>
                <a:gd name="T75" fmla="*/ 18 h 1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9" h="18">
                  <a:moveTo>
                    <a:pt x="4" y="14"/>
                  </a:moveTo>
                  <a:cubicBezTo>
                    <a:pt x="2" y="12"/>
                    <a:pt x="0" y="9"/>
                    <a:pt x="0" y="8"/>
                  </a:cubicBezTo>
                  <a:cubicBezTo>
                    <a:pt x="0" y="6"/>
                    <a:pt x="1" y="4"/>
                    <a:pt x="3" y="2"/>
                  </a:cubicBezTo>
                  <a:cubicBezTo>
                    <a:pt x="4" y="1"/>
                    <a:pt x="4" y="1"/>
                    <a:pt x="5" y="0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0" y="0"/>
                    <a:pt x="10" y="0"/>
                    <a:pt x="11" y="1"/>
                  </a:cubicBezTo>
                  <a:cubicBezTo>
                    <a:pt x="12" y="2"/>
                    <a:pt x="13" y="2"/>
                    <a:pt x="14" y="3"/>
                  </a:cubicBezTo>
                  <a:cubicBezTo>
                    <a:pt x="17" y="6"/>
                    <a:pt x="18" y="8"/>
                    <a:pt x="18" y="10"/>
                  </a:cubicBezTo>
                  <a:cubicBezTo>
                    <a:pt x="19" y="12"/>
                    <a:pt x="18" y="14"/>
                    <a:pt x="16" y="15"/>
                  </a:cubicBezTo>
                  <a:cubicBezTo>
                    <a:pt x="15" y="17"/>
                    <a:pt x="14" y="17"/>
                    <a:pt x="13" y="18"/>
                  </a:cubicBezTo>
                  <a:cubicBezTo>
                    <a:pt x="12" y="18"/>
                    <a:pt x="11" y="18"/>
                    <a:pt x="10" y="18"/>
                  </a:cubicBezTo>
                  <a:cubicBezTo>
                    <a:pt x="9" y="18"/>
                    <a:pt x="8" y="17"/>
                    <a:pt x="7" y="16"/>
                  </a:cubicBezTo>
                  <a:cubicBezTo>
                    <a:pt x="6" y="16"/>
                    <a:pt x="5" y="15"/>
                    <a:pt x="4" y="14"/>
                  </a:cubicBezTo>
                  <a:close/>
                  <a:moveTo>
                    <a:pt x="8" y="10"/>
                  </a:moveTo>
                  <a:cubicBezTo>
                    <a:pt x="9" y="12"/>
                    <a:pt x="10" y="13"/>
                    <a:pt x="11" y="13"/>
                  </a:cubicBezTo>
                  <a:cubicBezTo>
                    <a:pt x="12" y="14"/>
                    <a:pt x="13" y="14"/>
                    <a:pt x="13" y="13"/>
                  </a:cubicBezTo>
                  <a:cubicBezTo>
                    <a:pt x="14" y="13"/>
                    <a:pt x="14" y="12"/>
                    <a:pt x="14" y="12"/>
                  </a:cubicBezTo>
                  <a:cubicBezTo>
                    <a:pt x="14" y="11"/>
                    <a:pt x="14" y="11"/>
                    <a:pt x="13" y="10"/>
                  </a:cubicBezTo>
                  <a:cubicBezTo>
                    <a:pt x="13" y="9"/>
                    <a:pt x="12" y="8"/>
                    <a:pt x="11" y="7"/>
                  </a:cubicBezTo>
                  <a:cubicBezTo>
                    <a:pt x="9" y="5"/>
                    <a:pt x="8" y="4"/>
                    <a:pt x="7" y="4"/>
                  </a:cubicBezTo>
                  <a:cubicBezTo>
                    <a:pt x="6" y="4"/>
                    <a:pt x="6" y="4"/>
                    <a:pt x="5" y="5"/>
                  </a:cubicBezTo>
                  <a:cubicBezTo>
                    <a:pt x="4" y="5"/>
                    <a:pt x="4" y="6"/>
                    <a:pt x="5" y="7"/>
                  </a:cubicBezTo>
                  <a:cubicBezTo>
                    <a:pt x="5" y="8"/>
                    <a:pt x="6" y="9"/>
                    <a:pt x="8" y="10"/>
                  </a:cubicBezTo>
                  <a:close/>
                </a:path>
              </a:pathLst>
            </a:custGeom>
            <a:solidFill>
              <a:srgbClr val="AAAAAA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20" name="Freeform 22"/>
            <p:cNvSpPr>
              <a:spLocks noEditPoints="1"/>
            </p:cNvSpPr>
            <p:nvPr/>
          </p:nvSpPr>
          <p:spPr bwMode="auto">
            <a:xfrm>
              <a:off x="1783729" y="5508860"/>
              <a:ext cx="43465" cy="40568"/>
            </a:xfrm>
            <a:custGeom>
              <a:avLst/>
              <a:gdLst>
                <a:gd name="T0" fmla="*/ 9151 w 19"/>
                <a:gd name="T1" fmla="*/ 31553 h 18"/>
                <a:gd name="T2" fmla="*/ 0 w 19"/>
                <a:gd name="T3" fmla="*/ 18030 h 18"/>
                <a:gd name="T4" fmla="*/ 6863 w 19"/>
                <a:gd name="T5" fmla="*/ 4508 h 18"/>
                <a:gd name="T6" fmla="*/ 11438 w 19"/>
                <a:gd name="T7" fmla="*/ 0 h 18"/>
                <a:gd name="T8" fmla="*/ 16013 w 19"/>
                <a:gd name="T9" fmla="*/ 0 h 18"/>
                <a:gd name="T10" fmla="*/ 20589 w 19"/>
                <a:gd name="T11" fmla="*/ 0 h 18"/>
                <a:gd name="T12" fmla="*/ 25164 w 19"/>
                <a:gd name="T13" fmla="*/ 2254 h 18"/>
                <a:gd name="T14" fmla="*/ 32027 w 19"/>
                <a:gd name="T15" fmla="*/ 6761 h 18"/>
                <a:gd name="T16" fmla="*/ 41177 w 19"/>
                <a:gd name="T17" fmla="*/ 22538 h 18"/>
                <a:gd name="T18" fmla="*/ 36602 w 19"/>
                <a:gd name="T19" fmla="*/ 33807 h 18"/>
                <a:gd name="T20" fmla="*/ 29739 w 19"/>
                <a:gd name="T21" fmla="*/ 40568 h 18"/>
                <a:gd name="T22" fmla="*/ 22876 w 19"/>
                <a:gd name="T23" fmla="*/ 40568 h 18"/>
                <a:gd name="T24" fmla="*/ 16013 w 19"/>
                <a:gd name="T25" fmla="*/ 36060 h 18"/>
                <a:gd name="T26" fmla="*/ 9151 w 19"/>
                <a:gd name="T27" fmla="*/ 31553 h 18"/>
                <a:gd name="T28" fmla="*/ 16013 w 19"/>
                <a:gd name="T29" fmla="*/ 22538 h 18"/>
                <a:gd name="T30" fmla="*/ 25164 w 19"/>
                <a:gd name="T31" fmla="*/ 29299 h 18"/>
                <a:gd name="T32" fmla="*/ 29739 w 19"/>
                <a:gd name="T33" fmla="*/ 29299 h 18"/>
                <a:gd name="T34" fmla="*/ 32027 w 19"/>
                <a:gd name="T35" fmla="*/ 27045 h 18"/>
                <a:gd name="T36" fmla="*/ 29739 w 19"/>
                <a:gd name="T37" fmla="*/ 22538 h 18"/>
                <a:gd name="T38" fmla="*/ 25164 w 19"/>
                <a:gd name="T39" fmla="*/ 15776 h 18"/>
                <a:gd name="T40" fmla="*/ 16013 w 19"/>
                <a:gd name="T41" fmla="*/ 9015 h 18"/>
                <a:gd name="T42" fmla="*/ 11438 w 19"/>
                <a:gd name="T43" fmla="*/ 11269 h 18"/>
                <a:gd name="T44" fmla="*/ 11438 w 19"/>
                <a:gd name="T45" fmla="*/ 15776 h 18"/>
                <a:gd name="T46" fmla="*/ 16013 w 19"/>
                <a:gd name="T47" fmla="*/ 22538 h 1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9"/>
                <a:gd name="T73" fmla="*/ 0 h 18"/>
                <a:gd name="T74" fmla="*/ 19 w 19"/>
                <a:gd name="T75" fmla="*/ 18 h 1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9" h="18">
                  <a:moveTo>
                    <a:pt x="4" y="14"/>
                  </a:moveTo>
                  <a:cubicBezTo>
                    <a:pt x="1" y="12"/>
                    <a:pt x="0" y="9"/>
                    <a:pt x="0" y="8"/>
                  </a:cubicBezTo>
                  <a:cubicBezTo>
                    <a:pt x="0" y="6"/>
                    <a:pt x="1" y="4"/>
                    <a:pt x="3" y="2"/>
                  </a:cubicBezTo>
                  <a:cubicBezTo>
                    <a:pt x="4" y="1"/>
                    <a:pt x="4" y="1"/>
                    <a:pt x="5" y="0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0" y="0"/>
                    <a:pt x="10" y="0"/>
                    <a:pt x="11" y="1"/>
                  </a:cubicBezTo>
                  <a:cubicBezTo>
                    <a:pt x="12" y="2"/>
                    <a:pt x="13" y="2"/>
                    <a:pt x="14" y="3"/>
                  </a:cubicBezTo>
                  <a:cubicBezTo>
                    <a:pt x="17" y="6"/>
                    <a:pt x="18" y="8"/>
                    <a:pt x="18" y="10"/>
                  </a:cubicBezTo>
                  <a:cubicBezTo>
                    <a:pt x="19" y="12"/>
                    <a:pt x="18" y="14"/>
                    <a:pt x="16" y="15"/>
                  </a:cubicBezTo>
                  <a:cubicBezTo>
                    <a:pt x="15" y="17"/>
                    <a:pt x="14" y="17"/>
                    <a:pt x="13" y="18"/>
                  </a:cubicBezTo>
                  <a:cubicBezTo>
                    <a:pt x="12" y="18"/>
                    <a:pt x="11" y="18"/>
                    <a:pt x="10" y="18"/>
                  </a:cubicBezTo>
                  <a:cubicBezTo>
                    <a:pt x="9" y="18"/>
                    <a:pt x="8" y="17"/>
                    <a:pt x="7" y="16"/>
                  </a:cubicBezTo>
                  <a:cubicBezTo>
                    <a:pt x="6" y="16"/>
                    <a:pt x="5" y="15"/>
                    <a:pt x="4" y="14"/>
                  </a:cubicBezTo>
                  <a:close/>
                  <a:moveTo>
                    <a:pt x="7" y="10"/>
                  </a:moveTo>
                  <a:cubicBezTo>
                    <a:pt x="9" y="12"/>
                    <a:pt x="10" y="13"/>
                    <a:pt x="11" y="13"/>
                  </a:cubicBezTo>
                  <a:cubicBezTo>
                    <a:pt x="12" y="14"/>
                    <a:pt x="13" y="14"/>
                    <a:pt x="13" y="13"/>
                  </a:cubicBezTo>
                  <a:cubicBezTo>
                    <a:pt x="14" y="13"/>
                    <a:pt x="14" y="12"/>
                    <a:pt x="14" y="12"/>
                  </a:cubicBezTo>
                  <a:cubicBezTo>
                    <a:pt x="14" y="11"/>
                    <a:pt x="14" y="11"/>
                    <a:pt x="13" y="10"/>
                  </a:cubicBezTo>
                  <a:cubicBezTo>
                    <a:pt x="13" y="9"/>
                    <a:pt x="12" y="8"/>
                    <a:pt x="11" y="7"/>
                  </a:cubicBezTo>
                  <a:cubicBezTo>
                    <a:pt x="9" y="5"/>
                    <a:pt x="8" y="4"/>
                    <a:pt x="7" y="4"/>
                  </a:cubicBezTo>
                  <a:cubicBezTo>
                    <a:pt x="6" y="4"/>
                    <a:pt x="6" y="4"/>
                    <a:pt x="5" y="5"/>
                  </a:cubicBezTo>
                  <a:cubicBezTo>
                    <a:pt x="4" y="5"/>
                    <a:pt x="4" y="6"/>
                    <a:pt x="5" y="7"/>
                  </a:cubicBezTo>
                  <a:cubicBezTo>
                    <a:pt x="5" y="8"/>
                    <a:pt x="6" y="9"/>
                    <a:pt x="7" y="10"/>
                  </a:cubicBezTo>
                  <a:close/>
                </a:path>
              </a:pathLst>
            </a:custGeom>
            <a:solidFill>
              <a:srgbClr val="AAAAAA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21" name="Freeform 23"/>
            <p:cNvSpPr>
              <a:spLocks/>
            </p:cNvSpPr>
            <p:nvPr/>
          </p:nvSpPr>
          <p:spPr bwMode="auto">
            <a:xfrm>
              <a:off x="1930063" y="4998864"/>
              <a:ext cx="39119" cy="37670"/>
            </a:xfrm>
            <a:custGeom>
              <a:avLst/>
              <a:gdLst>
                <a:gd name="T0" fmla="*/ 9204 w 17"/>
                <a:gd name="T1" fmla="*/ 0 h 17"/>
                <a:gd name="T2" fmla="*/ 39119 w 17"/>
                <a:gd name="T3" fmla="*/ 28806 h 17"/>
                <a:gd name="T4" fmla="*/ 32216 w 17"/>
                <a:gd name="T5" fmla="*/ 37670 h 17"/>
                <a:gd name="T6" fmla="*/ 11506 w 17"/>
                <a:gd name="T7" fmla="*/ 17727 h 17"/>
                <a:gd name="T8" fmla="*/ 11506 w 17"/>
                <a:gd name="T9" fmla="*/ 24375 h 17"/>
                <a:gd name="T10" fmla="*/ 6903 w 17"/>
                <a:gd name="T11" fmla="*/ 31022 h 17"/>
                <a:gd name="T12" fmla="*/ 0 w 17"/>
                <a:gd name="T13" fmla="*/ 24375 h 17"/>
                <a:gd name="T14" fmla="*/ 4602 w 17"/>
                <a:gd name="T15" fmla="*/ 13295 h 17"/>
                <a:gd name="T16" fmla="*/ 2301 w 17"/>
                <a:gd name="T17" fmla="*/ 6648 h 17"/>
                <a:gd name="T18" fmla="*/ 9204 w 17"/>
                <a:gd name="T19" fmla="*/ 0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17"/>
                <a:gd name="T32" fmla="*/ 17 w 17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17">
                  <a:moveTo>
                    <a:pt x="4" y="0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5" y="10"/>
                    <a:pt x="5" y="11"/>
                  </a:cubicBezTo>
                  <a:cubicBezTo>
                    <a:pt x="4" y="12"/>
                    <a:pt x="4" y="13"/>
                    <a:pt x="3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9"/>
                    <a:pt x="2" y="8"/>
                    <a:pt x="2" y="6"/>
                  </a:cubicBezTo>
                  <a:cubicBezTo>
                    <a:pt x="2" y="5"/>
                    <a:pt x="2" y="4"/>
                    <a:pt x="1" y="3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22" name="Freeform 24"/>
            <p:cNvSpPr>
              <a:spLocks noEditPoints="1"/>
            </p:cNvSpPr>
            <p:nvPr/>
          </p:nvSpPr>
          <p:spPr bwMode="auto">
            <a:xfrm>
              <a:off x="1950346" y="4975683"/>
              <a:ext cx="40568" cy="43466"/>
            </a:xfrm>
            <a:custGeom>
              <a:avLst/>
              <a:gdLst>
                <a:gd name="T0" fmla="*/ 9015 w 18"/>
                <a:gd name="T1" fmla="*/ 34315 h 19"/>
                <a:gd name="T2" fmla="*/ 0 w 18"/>
                <a:gd name="T3" fmla="*/ 18301 h 19"/>
                <a:gd name="T4" fmla="*/ 4508 w 18"/>
                <a:gd name="T5" fmla="*/ 6863 h 19"/>
                <a:gd name="T6" fmla="*/ 11269 w 18"/>
                <a:gd name="T7" fmla="*/ 2288 h 19"/>
                <a:gd name="T8" fmla="*/ 15776 w 18"/>
                <a:gd name="T9" fmla="*/ 0 h 19"/>
                <a:gd name="T10" fmla="*/ 20284 w 18"/>
                <a:gd name="T11" fmla="*/ 2288 h 19"/>
                <a:gd name="T12" fmla="*/ 24792 w 18"/>
                <a:gd name="T13" fmla="*/ 4575 h 19"/>
                <a:gd name="T14" fmla="*/ 31553 w 18"/>
                <a:gd name="T15" fmla="*/ 9151 h 19"/>
                <a:gd name="T16" fmla="*/ 40568 w 18"/>
                <a:gd name="T17" fmla="*/ 22877 h 19"/>
                <a:gd name="T18" fmla="*/ 36060 w 18"/>
                <a:gd name="T19" fmla="*/ 36603 h 19"/>
                <a:gd name="T20" fmla="*/ 27045 w 18"/>
                <a:gd name="T21" fmla="*/ 41178 h 19"/>
                <a:gd name="T22" fmla="*/ 20284 w 18"/>
                <a:gd name="T23" fmla="*/ 41178 h 19"/>
                <a:gd name="T24" fmla="*/ 15776 w 18"/>
                <a:gd name="T25" fmla="*/ 38891 h 19"/>
                <a:gd name="T26" fmla="*/ 9015 w 18"/>
                <a:gd name="T27" fmla="*/ 34315 h 19"/>
                <a:gd name="T28" fmla="*/ 15776 w 18"/>
                <a:gd name="T29" fmla="*/ 25165 h 19"/>
                <a:gd name="T30" fmla="*/ 24792 w 18"/>
                <a:gd name="T31" fmla="*/ 32028 h 19"/>
                <a:gd name="T32" fmla="*/ 29299 w 18"/>
                <a:gd name="T33" fmla="*/ 32028 h 19"/>
                <a:gd name="T34" fmla="*/ 31553 w 18"/>
                <a:gd name="T35" fmla="*/ 27452 h 19"/>
                <a:gd name="T36" fmla="*/ 29299 w 18"/>
                <a:gd name="T37" fmla="*/ 25165 h 19"/>
                <a:gd name="T38" fmla="*/ 24792 w 18"/>
                <a:gd name="T39" fmla="*/ 18301 h 19"/>
                <a:gd name="T40" fmla="*/ 15776 w 18"/>
                <a:gd name="T41" fmla="*/ 11438 h 19"/>
                <a:gd name="T42" fmla="*/ 11269 w 18"/>
                <a:gd name="T43" fmla="*/ 11438 h 19"/>
                <a:gd name="T44" fmla="*/ 9015 w 18"/>
                <a:gd name="T45" fmla="*/ 16014 h 19"/>
                <a:gd name="T46" fmla="*/ 15776 w 18"/>
                <a:gd name="T47" fmla="*/ 25165 h 1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8"/>
                <a:gd name="T73" fmla="*/ 0 h 19"/>
                <a:gd name="T74" fmla="*/ 18 w 18"/>
                <a:gd name="T75" fmla="*/ 19 h 1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8" h="19">
                  <a:moveTo>
                    <a:pt x="4" y="15"/>
                  </a:move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5"/>
                    <a:pt x="2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6" y="1"/>
                    <a:pt x="6" y="0"/>
                    <a:pt x="7" y="0"/>
                  </a:cubicBezTo>
                  <a:cubicBezTo>
                    <a:pt x="8" y="0"/>
                    <a:pt x="8" y="1"/>
                    <a:pt x="9" y="1"/>
                  </a:cubicBezTo>
                  <a:cubicBezTo>
                    <a:pt x="9" y="1"/>
                    <a:pt x="10" y="1"/>
                    <a:pt x="11" y="2"/>
                  </a:cubicBezTo>
                  <a:cubicBezTo>
                    <a:pt x="12" y="2"/>
                    <a:pt x="13" y="3"/>
                    <a:pt x="14" y="4"/>
                  </a:cubicBezTo>
                  <a:cubicBezTo>
                    <a:pt x="16" y="6"/>
                    <a:pt x="18" y="9"/>
                    <a:pt x="18" y="10"/>
                  </a:cubicBezTo>
                  <a:cubicBezTo>
                    <a:pt x="18" y="12"/>
                    <a:pt x="17" y="14"/>
                    <a:pt x="16" y="16"/>
                  </a:cubicBezTo>
                  <a:cubicBezTo>
                    <a:pt x="14" y="17"/>
                    <a:pt x="13" y="18"/>
                    <a:pt x="12" y="18"/>
                  </a:cubicBezTo>
                  <a:cubicBezTo>
                    <a:pt x="11" y="19"/>
                    <a:pt x="10" y="19"/>
                    <a:pt x="9" y="18"/>
                  </a:cubicBezTo>
                  <a:cubicBezTo>
                    <a:pt x="8" y="18"/>
                    <a:pt x="8" y="18"/>
                    <a:pt x="7" y="17"/>
                  </a:cubicBezTo>
                  <a:cubicBezTo>
                    <a:pt x="6" y="17"/>
                    <a:pt x="5" y="16"/>
                    <a:pt x="4" y="15"/>
                  </a:cubicBezTo>
                  <a:close/>
                  <a:moveTo>
                    <a:pt x="7" y="11"/>
                  </a:moveTo>
                  <a:cubicBezTo>
                    <a:pt x="9" y="13"/>
                    <a:pt x="10" y="14"/>
                    <a:pt x="11" y="14"/>
                  </a:cubicBezTo>
                  <a:cubicBezTo>
                    <a:pt x="12" y="14"/>
                    <a:pt x="13" y="14"/>
                    <a:pt x="13" y="14"/>
                  </a:cubicBezTo>
                  <a:cubicBezTo>
                    <a:pt x="13" y="13"/>
                    <a:pt x="14" y="13"/>
                    <a:pt x="14" y="12"/>
                  </a:cubicBezTo>
                  <a:cubicBezTo>
                    <a:pt x="14" y="12"/>
                    <a:pt x="13" y="11"/>
                    <a:pt x="13" y="11"/>
                  </a:cubicBezTo>
                  <a:cubicBezTo>
                    <a:pt x="13" y="10"/>
                    <a:pt x="12" y="9"/>
                    <a:pt x="11" y="8"/>
                  </a:cubicBezTo>
                  <a:cubicBezTo>
                    <a:pt x="9" y="6"/>
                    <a:pt x="8" y="5"/>
                    <a:pt x="7" y="5"/>
                  </a:cubicBezTo>
                  <a:cubicBezTo>
                    <a:pt x="6" y="5"/>
                    <a:pt x="5" y="5"/>
                    <a:pt x="5" y="5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5" y="8"/>
                    <a:pt x="5" y="10"/>
                    <a:pt x="7" y="11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23" name="Freeform 25"/>
            <p:cNvSpPr>
              <a:spLocks noEditPoints="1"/>
            </p:cNvSpPr>
            <p:nvPr/>
          </p:nvSpPr>
          <p:spPr bwMode="auto">
            <a:xfrm>
              <a:off x="1977875" y="4949604"/>
              <a:ext cx="40568" cy="42017"/>
            </a:xfrm>
            <a:custGeom>
              <a:avLst/>
              <a:gdLst>
                <a:gd name="T0" fmla="*/ 9015 w 18"/>
                <a:gd name="T1" fmla="*/ 33171 h 19"/>
                <a:gd name="T2" fmla="*/ 0 w 18"/>
                <a:gd name="T3" fmla="*/ 17691 h 19"/>
                <a:gd name="T4" fmla="*/ 4508 w 18"/>
                <a:gd name="T5" fmla="*/ 6634 h 19"/>
                <a:gd name="T6" fmla="*/ 11269 w 18"/>
                <a:gd name="T7" fmla="*/ 2211 h 19"/>
                <a:gd name="T8" fmla="*/ 15776 w 18"/>
                <a:gd name="T9" fmla="*/ 0 h 19"/>
                <a:gd name="T10" fmla="*/ 20284 w 18"/>
                <a:gd name="T11" fmla="*/ 2211 h 19"/>
                <a:gd name="T12" fmla="*/ 24792 w 18"/>
                <a:gd name="T13" fmla="*/ 4423 h 19"/>
                <a:gd name="T14" fmla="*/ 31553 w 18"/>
                <a:gd name="T15" fmla="*/ 8846 h 19"/>
                <a:gd name="T16" fmla="*/ 40568 w 18"/>
                <a:gd name="T17" fmla="*/ 22114 h 19"/>
                <a:gd name="T18" fmla="*/ 33807 w 18"/>
                <a:gd name="T19" fmla="*/ 35383 h 19"/>
                <a:gd name="T20" fmla="*/ 27045 w 18"/>
                <a:gd name="T21" fmla="*/ 39806 h 19"/>
                <a:gd name="T22" fmla="*/ 20284 w 18"/>
                <a:gd name="T23" fmla="*/ 39806 h 19"/>
                <a:gd name="T24" fmla="*/ 15776 w 18"/>
                <a:gd name="T25" fmla="*/ 37594 h 19"/>
                <a:gd name="T26" fmla="*/ 9015 w 18"/>
                <a:gd name="T27" fmla="*/ 33171 h 19"/>
                <a:gd name="T28" fmla="*/ 15776 w 18"/>
                <a:gd name="T29" fmla="*/ 24326 h 19"/>
                <a:gd name="T30" fmla="*/ 24792 w 18"/>
                <a:gd name="T31" fmla="*/ 30960 h 19"/>
                <a:gd name="T32" fmla="*/ 29299 w 18"/>
                <a:gd name="T33" fmla="*/ 30960 h 19"/>
                <a:gd name="T34" fmla="*/ 31553 w 18"/>
                <a:gd name="T35" fmla="*/ 26537 h 19"/>
                <a:gd name="T36" fmla="*/ 29299 w 18"/>
                <a:gd name="T37" fmla="*/ 24326 h 19"/>
                <a:gd name="T38" fmla="*/ 24792 w 18"/>
                <a:gd name="T39" fmla="*/ 17691 h 19"/>
                <a:gd name="T40" fmla="*/ 15776 w 18"/>
                <a:gd name="T41" fmla="*/ 11057 h 19"/>
                <a:gd name="T42" fmla="*/ 11269 w 18"/>
                <a:gd name="T43" fmla="*/ 11057 h 19"/>
                <a:gd name="T44" fmla="*/ 9015 w 18"/>
                <a:gd name="T45" fmla="*/ 15480 h 19"/>
                <a:gd name="T46" fmla="*/ 15776 w 18"/>
                <a:gd name="T47" fmla="*/ 24326 h 1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8"/>
                <a:gd name="T73" fmla="*/ 0 h 19"/>
                <a:gd name="T74" fmla="*/ 18 w 18"/>
                <a:gd name="T75" fmla="*/ 19 h 1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8" h="19">
                  <a:moveTo>
                    <a:pt x="4" y="15"/>
                  </a:move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0" y="5"/>
                    <a:pt x="2" y="3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6" y="1"/>
                    <a:pt x="6" y="0"/>
                    <a:pt x="7" y="0"/>
                  </a:cubicBezTo>
                  <a:cubicBezTo>
                    <a:pt x="8" y="0"/>
                    <a:pt x="8" y="1"/>
                    <a:pt x="9" y="1"/>
                  </a:cubicBezTo>
                  <a:cubicBezTo>
                    <a:pt x="9" y="1"/>
                    <a:pt x="10" y="1"/>
                    <a:pt x="11" y="2"/>
                  </a:cubicBezTo>
                  <a:cubicBezTo>
                    <a:pt x="12" y="2"/>
                    <a:pt x="13" y="3"/>
                    <a:pt x="14" y="4"/>
                  </a:cubicBezTo>
                  <a:cubicBezTo>
                    <a:pt x="16" y="7"/>
                    <a:pt x="18" y="9"/>
                    <a:pt x="18" y="10"/>
                  </a:cubicBezTo>
                  <a:cubicBezTo>
                    <a:pt x="18" y="12"/>
                    <a:pt x="17" y="14"/>
                    <a:pt x="15" y="16"/>
                  </a:cubicBezTo>
                  <a:cubicBezTo>
                    <a:pt x="14" y="17"/>
                    <a:pt x="13" y="18"/>
                    <a:pt x="12" y="18"/>
                  </a:cubicBezTo>
                  <a:cubicBezTo>
                    <a:pt x="11" y="19"/>
                    <a:pt x="10" y="19"/>
                    <a:pt x="9" y="18"/>
                  </a:cubicBezTo>
                  <a:cubicBezTo>
                    <a:pt x="8" y="18"/>
                    <a:pt x="8" y="18"/>
                    <a:pt x="7" y="17"/>
                  </a:cubicBezTo>
                  <a:cubicBezTo>
                    <a:pt x="6" y="17"/>
                    <a:pt x="5" y="16"/>
                    <a:pt x="4" y="15"/>
                  </a:cubicBezTo>
                  <a:close/>
                  <a:moveTo>
                    <a:pt x="7" y="11"/>
                  </a:moveTo>
                  <a:cubicBezTo>
                    <a:pt x="9" y="13"/>
                    <a:pt x="10" y="14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3" y="13"/>
                    <a:pt x="14" y="13"/>
                    <a:pt x="14" y="12"/>
                  </a:cubicBezTo>
                  <a:cubicBezTo>
                    <a:pt x="14" y="12"/>
                    <a:pt x="13" y="11"/>
                    <a:pt x="13" y="11"/>
                  </a:cubicBezTo>
                  <a:cubicBezTo>
                    <a:pt x="13" y="10"/>
                    <a:pt x="12" y="9"/>
                    <a:pt x="11" y="8"/>
                  </a:cubicBezTo>
                  <a:cubicBezTo>
                    <a:pt x="9" y="6"/>
                    <a:pt x="8" y="5"/>
                    <a:pt x="7" y="5"/>
                  </a:cubicBezTo>
                  <a:cubicBezTo>
                    <a:pt x="6" y="5"/>
                    <a:pt x="5" y="5"/>
                    <a:pt x="5" y="5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8"/>
                    <a:pt x="5" y="10"/>
                    <a:pt x="7" y="11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24" name="Freeform 26"/>
            <p:cNvSpPr>
              <a:spLocks/>
            </p:cNvSpPr>
            <p:nvPr/>
          </p:nvSpPr>
          <p:spPr bwMode="auto">
            <a:xfrm>
              <a:off x="2114066" y="5181420"/>
              <a:ext cx="37670" cy="36221"/>
            </a:xfrm>
            <a:custGeom>
              <a:avLst/>
              <a:gdLst>
                <a:gd name="T0" fmla="*/ 8864 w 17"/>
                <a:gd name="T1" fmla="*/ 0 h 16"/>
                <a:gd name="T2" fmla="*/ 37670 w 17"/>
                <a:gd name="T3" fmla="*/ 29430 h 16"/>
                <a:gd name="T4" fmla="*/ 31022 w 17"/>
                <a:gd name="T5" fmla="*/ 36221 h 16"/>
                <a:gd name="T6" fmla="*/ 11079 w 17"/>
                <a:gd name="T7" fmla="*/ 18111 h 16"/>
                <a:gd name="T8" fmla="*/ 8864 w 17"/>
                <a:gd name="T9" fmla="*/ 24902 h 16"/>
                <a:gd name="T10" fmla="*/ 6648 w 17"/>
                <a:gd name="T11" fmla="*/ 29430 h 16"/>
                <a:gd name="T12" fmla="*/ 0 w 17"/>
                <a:gd name="T13" fmla="*/ 22638 h 16"/>
                <a:gd name="T14" fmla="*/ 4432 w 17"/>
                <a:gd name="T15" fmla="*/ 13583 h 16"/>
                <a:gd name="T16" fmla="*/ 2216 w 17"/>
                <a:gd name="T17" fmla="*/ 6791 h 16"/>
                <a:gd name="T18" fmla="*/ 8864 w 17"/>
                <a:gd name="T19" fmla="*/ 0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16"/>
                <a:gd name="T32" fmla="*/ 17 w 1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16">
                  <a:moveTo>
                    <a:pt x="4" y="0"/>
                  </a:moveTo>
                  <a:cubicBezTo>
                    <a:pt x="17" y="13"/>
                    <a:pt x="17" y="13"/>
                    <a:pt x="17" y="13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5" y="10"/>
                    <a:pt x="4" y="11"/>
                  </a:cubicBezTo>
                  <a:cubicBezTo>
                    <a:pt x="4" y="11"/>
                    <a:pt x="4" y="12"/>
                    <a:pt x="3" y="1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9"/>
                    <a:pt x="1" y="7"/>
                    <a:pt x="2" y="6"/>
                  </a:cubicBezTo>
                  <a:cubicBezTo>
                    <a:pt x="2" y="5"/>
                    <a:pt x="2" y="4"/>
                    <a:pt x="1" y="3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25" name="Freeform 27"/>
            <p:cNvSpPr>
              <a:spLocks noEditPoints="1"/>
            </p:cNvSpPr>
            <p:nvPr/>
          </p:nvSpPr>
          <p:spPr bwMode="auto">
            <a:xfrm>
              <a:off x="2131453" y="5158238"/>
              <a:ext cx="43465" cy="42017"/>
            </a:xfrm>
            <a:custGeom>
              <a:avLst/>
              <a:gdLst>
                <a:gd name="T0" fmla="*/ 9151 w 19"/>
                <a:gd name="T1" fmla="*/ 35014 h 18"/>
                <a:gd name="T2" fmla="*/ 2288 w 19"/>
                <a:gd name="T3" fmla="*/ 18674 h 18"/>
                <a:gd name="T4" fmla="*/ 6863 w 19"/>
                <a:gd name="T5" fmla="*/ 7003 h 18"/>
                <a:gd name="T6" fmla="*/ 13726 w 19"/>
                <a:gd name="T7" fmla="*/ 2334 h 18"/>
                <a:gd name="T8" fmla="*/ 18301 w 19"/>
                <a:gd name="T9" fmla="*/ 0 h 18"/>
                <a:gd name="T10" fmla="*/ 22876 w 19"/>
                <a:gd name="T11" fmla="*/ 2334 h 18"/>
                <a:gd name="T12" fmla="*/ 27452 w 19"/>
                <a:gd name="T13" fmla="*/ 2334 h 18"/>
                <a:gd name="T14" fmla="*/ 34314 w 19"/>
                <a:gd name="T15" fmla="*/ 9337 h 18"/>
                <a:gd name="T16" fmla="*/ 43465 w 19"/>
                <a:gd name="T17" fmla="*/ 23343 h 18"/>
                <a:gd name="T18" fmla="*/ 36602 w 19"/>
                <a:gd name="T19" fmla="*/ 37348 h 18"/>
                <a:gd name="T20" fmla="*/ 29739 w 19"/>
                <a:gd name="T21" fmla="*/ 42017 h 18"/>
                <a:gd name="T22" fmla="*/ 22876 w 19"/>
                <a:gd name="T23" fmla="*/ 42017 h 18"/>
                <a:gd name="T24" fmla="*/ 16013 w 19"/>
                <a:gd name="T25" fmla="*/ 39683 h 18"/>
                <a:gd name="T26" fmla="*/ 9151 w 19"/>
                <a:gd name="T27" fmla="*/ 35014 h 18"/>
                <a:gd name="T28" fmla="*/ 18301 w 19"/>
                <a:gd name="T29" fmla="*/ 25677 h 18"/>
                <a:gd name="T30" fmla="*/ 27452 w 19"/>
                <a:gd name="T31" fmla="*/ 32680 h 18"/>
                <a:gd name="T32" fmla="*/ 32027 w 19"/>
                <a:gd name="T33" fmla="*/ 32680 h 18"/>
                <a:gd name="T34" fmla="*/ 32027 w 19"/>
                <a:gd name="T35" fmla="*/ 28011 h 18"/>
                <a:gd name="T36" fmla="*/ 32027 w 19"/>
                <a:gd name="T37" fmla="*/ 23343 h 18"/>
                <a:gd name="T38" fmla="*/ 25164 w 19"/>
                <a:gd name="T39" fmla="*/ 18674 h 18"/>
                <a:gd name="T40" fmla="*/ 18301 w 19"/>
                <a:gd name="T41" fmla="*/ 11671 h 18"/>
                <a:gd name="T42" fmla="*/ 11438 w 19"/>
                <a:gd name="T43" fmla="*/ 11671 h 18"/>
                <a:gd name="T44" fmla="*/ 11438 w 19"/>
                <a:gd name="T45" fmla="*/ 16340 h 18"/>
                <a:gd name="T46" fmla="*/ 18301 w 19"/>
                <a:gd name="T47" fmla="*/ 25677 h 1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9"/>
                <a:gd name="T73" fmla="*/ 0 h 18"/>
                <a:gd name="T74" fmla="*/ 19 w 19"/>
                <a:gd name="T75" fmla="*/ 18 h 1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9" h="18">
                  <a:moveTo>
                    <a:pt x="4" y="15"/>
                  </a:moveTo>
                  <a:cubicBezTo>
                    <a:pt x="2" y="12"/>
                    <a:pt x="1" y="10"/>
                    <a:pt x="1" y="8"/>
                  </a:cubicBezTo>
                  <a:cubicBezTo>
                    <a:pt x="0" y="6"/>
                    <a:pt x="1" y="4"/>
                    <a:pt x="3" y="3"/>
                  </a:cubicBezTo>
                  <a:cubicBezTo>
                    <a:pt x="4" y="2"/>
                    <a:pt x="5" y="1"/>
                    <a:pt x="6" y="1"/>
                  </a:cubicBezTo>
                  <a:cubicBezTo>
                    <a:pt x="6" y="0"/>
                    <a:pt x="7" y="0"/>
                    <a:pt x="8" y="0"/>
                  </a:cubicBezTo>
                  <a:cubicBezTo>
                    <a:pt x="8" y="0"/>
                    <a:pt x="9" y="0"/>
                    <a:pt x="10" y="1"/>
                  </a:cubicBezTo>
                  <a:cubicBezTo>
                    <a:pt x="10" y="1"/>
                    <a:pt x="11" y="1"/>
                    <a:pt x="12" y="1"/>
                  </a:cubicBezTo>
                  <a:cubicBezTo>
                    <a:pt x="13" y="2"/>
                    <a:pt x="14" y="3"/>
                    <a:pt x="15" y="4"/>
                  </a:cubicBezTo>
                  <a:cubicBezTo>
                    <a:pt x="17" y="6"/>
                    <a:pt x="19" y="8"/>
                    <a:pt x="19" y="10"/>
                  </a:cubicBezTo>
                  <a:cubicBezTo>
                    <a:pt x="19" y="12"/>
                    <a:pt x="18" y="14"/>
                    <a:pt x="16" y="16"/>
                  </a:cubicBezTo>
                  <a:cubicBezTo>
                    <a:pt x="15" y="17"/>
                    <a:pt x="14" y="18"/>
                    <a:pt x="13" y="18"/>
                  </a:cubicBezTo>
                  <a:cubicBezTo>
                    <a:pt x="12" y="18"/>
                    <a:pt x="11" y="18"/>
                    <a:pt x="10" y="18"/>
                  </a:cubicBezTo>
                  <a:cubicBezTo>
                    <a:pt x="9" y="18"/>
                    <a:pt x="8" y="18"/>
                    <a:pt x="7" y="17"/>
                  </a:cubicBezTo>
                  <a:cubicBezTo>
                    <a:pt x="6" y="16"/>
                    <a:pt x="5" y="16"/>
                    <a:pt x="4" y="15"/>
                  </a:cubicBezTo>
                  <a:close/>
                  <a:moveTo>
                    <a:pt x="8" y="11"/>
                  </a:moveTo>
                  <a:cubicBezTo>
                    <a:pt x="10" y="13"/>
                    <a:pt x="11" y="14"/>
                    <a:pt x="12" y="14"/>
                  </a:cubicBezTo>
                  <a:cubicBezTo>
                    <a:pt x="13" y="14"/>
                    <a:pt x="13" y="14"/>
                    <a:pt x="14" y="14"/>
                  </a:cubicBezTo>
                  <a:cubicBezTo>
                    <a:pt x="14" y="13"/>
                    <a:pt x="14" y="13"/>
                    <a:pt x="14" y="12"/>
                  </a:cubicBezTo>
                  <a:cubicBezTo>
                    <a:pt x="14" y="12"/>
                    <a:pt x="14" y="11"/>
                    <a:pt x="14" y="10"/>
                  </a:cubicBezTo>
                  <a:cubicBezTo>
                    <a:pt x="13" y="10"/>
                    <a:pt x="13" y="9"/>
                    <a:pt x="11" y="8"/>
                  </a:cubicBezTo>
                  <a:cubicBezTo>
                    <a:pt x="10" y="6"/>
                    <a:pt x="8" y="5"/>
                    <a:pt x="8" y="5"/>
                  </a:cubicBezTo>
                  <a:cubicBezTo>
                    <a:pt x="7" y="4"/>
                    <a:pt x="6" y="5"/>
                    <a:pt x="5" y="5"/>
                  </a:cubicBezTo>
                  <a:cubicBezTo>
                    <a:pt x="5" y="6"/>
                    <a:pt x="5" y="6"/>
                    <a:pt x="5" y="7"/>
                  </a:cubicBezTo>
                  <a:cubicBezTo>
                    <a:pt x="5" y="8"/>
                    <a:pt x="6" y="9"/>
                    <a:pt x="8" y="11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26" name="Freeform 28"/>
            <p:cNvSpPr>
              <a:spLocks noEditPoints="1"/>
            </p:cNvSpPr>
            <p:nvPr/>
          </p:nvSpPr>
          <p:spPr bwMode="auto">
            <a:xfrm>
              <a:off x="2158981" y="5132159"/>
              <a:ext cx="42017" cy="40568"/>
            </a:xfrm>
            <a:custGeom>
              <a:avLst/>
              <a:gdLst>
                <a:gd name="T0" fmla="*/ 8846 w 19"/>
                <a:gd name="T1" fmla="*/ 33807 h 18"/>
                <a:gd name="T2" fmla="*/ 2211 w 19"/>
                <a:gd name="T3" fmla="*/ 18030 h 18"/>
                <a:gd name="T4" fmla="*/ 6634 w 19"/>
                <a:gd name="T5" fmla="*/ 6761 h 18"/>
                <a:gd name="T6" fmla="*/ 13269 w 19"/>
                <a:gd name="T7" fmla="*/ 2254 h 18"/>
                <a:gd name="T8" fmla="*/ 17691 w 19"/>
                <a:gd name="T9" fmla="*/ 0 h 18"/>
                <a:gd name="T10" fmla="*/ 22114 w 19"/>
                <a:gd name="T11" fmla="*/ 2254 h 18"/>
                <a:gd name="T12" fmla="*/ 24326 w 19"/>
                <a:gd name="T13" fmla="*/ 2254 h 18"/>
                <a:gd name="T14" fmla="*/ 33171 w 19"/>
                <a:gd name="T15" fmla="*/ 9015 h 18"/>
                <a:gd name="T16" fmla="*/ 42017 w 19"/>
                <a:gd name="T17" fmla="*/ 22538 h 18"/>
                <a:gd name="T18" fmla="*/ 35383 w 19"/>
                <a:gd name="T19" fmla="*/ 36060 h 18"/>
                <a:gd name="T20" fmla="*/ 28748 w 19"/>
                <a:gd name="T21" fmla="*/ 40568 h 18"/>
                <a:gd name="T22" fmla="*/ 22114 w 19"/>
                <a:gd name="T23" fmla="*/ 40568 h 18"/>
                <a:gd name="T24" fmla="*/ 15480 w 19"/>
                <a:gd name="T25" fmla="*/ 38314 h 18"/>
                <a:gd name="T26" fmla="*/ 8846 w 19"/>
                <a:gd name="T27" fmla="*/ 33807 h 18"/>
                <a:gd name="T28" fmla="*/ 17691 w 19"/>
                <a:gd name="T29" fmla="*/ 24792 h 18"/>
                <a:gd name="T30" fmla="*/ 26537 w 19"/>
                <a:gd name="T31" fmla="*/ 31553 h 18"/>
                <a:gd name="T32" fmla="*/ 30960 w 19"/>
                <a:gd name="T33" fmla="*/ 31553 h 18"/>
                <a:gd name="T34" fmla="*/ 30960 w 19"/>
                <a:gd name="T35" fmla="*/ 27045 h 18"/>
                <a:gd name="T36" fmla="*/ 30960 w 19"/>
                <a:gd name="T37" fmla="*/ 22538 h 18"/>
                <a:gd name="T38" fmla="*/ 24326 w 19"/>
                <a:gd name="T39" fmla="*/ 18030 h 18"/>
                <a:gd name="T40" fmla="*/ 17691 w 19"/>
                <a:gd name="T41" fmla="*/ 11269 h 18"/>
                <a:gd name="T42" fmla="*/ 11057 w 19"/>
                <a:gd name="T43" fmla="*/ 11269 h 18"/>
                <a:gd name="T44" fmla="*/ 11057 w 19"/>
                <a:gd name="T45" fmla="*/ 15776 h 18"/>
                <a:gd name="T46" fmla="*/ 17691 w 19"/>
                <a:gd name="T47" fmla="*/ 24792 h 1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9"/>
                <a:gd name="T73" fmla="*/ 0 h 18"/>
                <a:gd name="T74" fmla="*/ 19 w 19"/>
                <a:gd name="T75" fmla="*/ 18 h 1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9" h="18">
                  <a:moveTo>
                    <a:pt x="4" y="15"/>
                  </a:moveTo>
                  <a:cubicBezTo>
                    <a:pt x="2" y="12"/>
                    <a:pt x="1" y="10"/>
                    <a:pt x="1" y="8"/>
                  </a:cubicBezTo>
                  <a:cubicBezTo>
                    <a:pt x="0" y="6"/>
                    <a:pt x="1" y="4"/>
                    <a:pt x="3" y="3"/>
                  </a:cubicBezTo>
                  <a:cubicBezTo>
                    <a:pt x="4" y="2"/>
                    <a:pt x="5" y="1"/>
                    <a:pt x="6" y="1"/>
                  </a:cubicBezTo>
                  <a:cubicBezTo>
                    <a:pt x="6" y="0"/>
                    <a:pt x="7" y="0"/>
                    <a:pt x="8" y="0"/>
                  </a:cubicBezTo>
                  <a:cubicBezTo>
                    <a:pt x="8" y="0"/>
                    <a:pt x="9" y="0"/>
                    <a:pt x="10" y="1"/>
                  </a:cubicBezTo>
                  <a:cubicBezTo>
                    <a:pt x="10" y="1"/>
                    <a:pt x="11" y="1"/>
                    <a:pt x="11" y="1"/>
                  </a:cubicBezTo>
                  <a:cubicBezTo>
                    <a:pt x="13" y="2"/>
                    <a:pt x="14" y="3"/>
                    <a:pt x="15" y="4"/>
                  </a:cubicBezTo>
                  <a:cubicBezTo>
                    <a:pt x="17" y="6"/>
                    <a:pt x="18" y="8"/>
                    <a:pt x="19" y="10"/>
                  </a:cubicBezTo>
                  <a:cubicBezTo>
                    <a:pt x="19" y="12"/>
                    <a:pt x="18" y="14"/>
                    <a:pt x="16" y="16"/>
                  </a:cubicBezTo>
                  <a:cubicBezTo>
                    <a:pt x="15" y="17"/>
                    <a:pt x="14" y="18"/>
                    <a:pt x="13" y="18"/>
                  </a:cubicBezTo>
                  <a:cubicBezTo>
                    <a:pt x="12" y="18"/>
                    <a:pt x="11" y="18"/>
                    <a:pt x="10" y="18"/>
                  </a:cubicBezTo>
                  <a:cubicBezTo>
                    <a:pt x="9" y="18"/>
                    <a:pt x="8" y="18"/>
                    <a:pt x="7" y="17"/>
                  </a:cubicBezTo>
                  <a:cubicBezTo>
                    <a:pt x="6" y="16"/>
                    <a:pt x="5" y="16"/>
                    <a:pt x="4" y="15"/>
                  </a:cubicBezTo>
                  <a:close/>
                  <a:moveTo>
                    <a:pt x="8" y="11"/>
                  </a:moveTo>
                  <a:cubicBezTo>
                    <a:pt x="10" y="13"/>
                    <a:pt x="11" y="14"/>
                    <a:pt x="12" y="14"/>
                  </a:cubicBezTo>
                  <a:cubicBezTo>
                    <a:pt x="13" y="14"/>
                    <a:pt x="13" y="14"/>
                    <a:pt x="14" y="14"/>
                  </a:cubicBezTo>
                  <a:cubicBezTo>
                    <a:pt x="14" y="13"/>
                    <a:pt x="14" y="13"/>
                    <a:pt x="14" y="12"/>
                  </a:cubicBezTo>
                  <a:cubicBezTo>
                    <a:pt x="14" y="12"/>
                    <a:pt x="14" y="11"/>
                    <a:pt x="14" y="10"/>
                  </a:cubicBezTo>
                  <a:cubicBezTo>
                    <a:pt x="13" y="10"/>
                    <a:pt x="13" y="9"/>
                    <a:pt x="11" y="8"/>
                  </a:cubicBezTo>
                  <a:cubicBezTo>
                    <a:pt x="10" y="6"/>
                    <a:pt x="8" y="5"/>
                    <a:pt x="8" y="5"/>
                  </a:cubicBezTo>
                  <a:cubicBezTo>
                    <a:pt x="7" y="4"/>
                    <a:pt x="6" y="5"/>
                    <a:pt x="5" y="5"/>
                  </a:cubicBezTo>
                  <a:cubicBezTo>
                    <a:pt x="5" y="6"/>
                    <a:pt x="5" y="6"/>
                    <a:pt x="5" y="7"/>
                  </a:cubicBezTo>
                  <a:cubicBezTo>
                    <a:pt x="5" y="8"/>
                    <a:pt x="6" y="9"/>
                    <a:pt x="8" y="11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27" name="Freeform 29"/>
            <p:cNvSpPr>
              <a:spLocks/>
            </p:cNvSpPr>
            <p:nvPr/>
          </p:nvSpPr>
          <p:spPr bwMode="auto">
            <a:xfrm>
              <a:off x="1641741" y="5390054"/>
              <a:ext cx="117357" cy="117357"/>
            </a:xfrm>
            <a:custGeom>
              <a:avLst/>
              <a:gdLst>
                <a:gd name="T0" fmla="*/ 94788 w 52"/>
                <a:gd name="T1" fmla="*/ 22569 h 52"/>
                <a:gd name="T2" fmla="*/ 94788 w 52"/>
                <a:gd name="T3" fmla="*/ 97045 h 52"/>
                <a:gd name="T4" fmla="*/ 20312 w 52"/>
                <a:gd name="T5" fmla="*/ 97045 h 52"/>
                <a:gd name="T6" fmla="*/ 20312 w 52"/>
                <a:gd name="T7" fmla="*/ 22569 h 52"/>
                <a:gd name="T8" fmla="*/ 94788 w 52"/>
                <a:gd name="T9" fmla="*/ 22569 h 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2"/>
                <a:gd name="T16" fmla="*/ 0 h 52"/>
                <a:gd name="T17" fmla="*/ 52 w 52"/>
                <a:gd name="T18" fmla="*/ 52 h 5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2" h="52">
                  <a:moveTo>
                    <a:pt x="42" y="10"/>
                  </a:moveTo>
                  <a:cubicBezTo>
                    <a:pt x="52" y="19"/>
                    <a:pt x="52" y="34"/>
                    <a:pt x="42" y="43"/>
                  </a:cubicBezTo>
                  <a:cubicBezTo>
                    <a:pt x="33" y="52"/>
                    <a:pt x="18" y="52"/>
                    <a:pt x="9" y="43"/>
                  </a:cubicBezTo>
                  <a:cubicBezTo>
                    <a:pt x="0" y="34"/>
                    <a:pt x="0" y="19"/>
                    <a:pt x="9" y="10"/>
                  </a:cubicBezTo>
                  <a:cubicBezTo>
                    <a:pt x="18" y="0"/>
                    <a:pt x="33" y="0"/>
                    <a:pt x="42" y="10"/>
                  </a:cubicBezTo>
                  <a:close/>
                </a:path>
              </a:pathLst>
            </a:custGeom>
            <a:solidFill>
              <a:srgbClr val="AAAAAA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2128" name="Freeform 30"/>
            <p:cNvSpPr>
              <a:spLocks/>
            </p:cNvSpPr>
            <p:nvPr/>
          </p:nvSpPr>
          <p:spPr bwMode="auto">
            <a:xfrm>
              <a:off x="1986568" y="5043779"/>
              <a:ext cx="117357" cy="117357"/>
            </a:xfrm>
            <a:custGeom>
              <a:avLst/>
              <a:gdLst>
                <a:gd name="T0" fmla="*/ 94788 w 52"/>
                <a:gd name="T1" fmla="*/ 22569 h 52"/>
                <a:gd name="T2" fmla="*/ 94788 w 52"/>
                <a:gd name="T3" fmla="*/ 97045 h 52"/>
                <a:gd name="T4" fmla="*/ 20312 w 52"/>
                <a:gd name="T5" fmla="*/ 97045 h 52"/>
                <a:gd name="T6" fmla="*/ 20312 w 52"/>
                <a:gd name="T7" fmla="*/ 22569 h 52"/>
                <a:gd name="T8" fmla="*/ 94788 w 52"/>
                <a:gd name="T9" fmla="*/ 22569 h 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2"/>
                <a:gd name="T16" fmla="*/ 0 h 52"/>
                <a:gd name="T17" fmla="*/ 52 w 52"/>
                <a:gd name="T18" fmla="*/ 52 h 5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2" h="52">
                  <a:moveTo>
                    <a:pt x="42" y="10"/>
                  </a:moveTo>
                  <a:cubicBezTo>
                    <a:pt x="52" y="19"/>
                    <a:pt x="52" y="34"/>
                    <a:pt x="42" y="43"/>
                  </a:cubicBezTo>
                  <a:cubicBezTo>
                    <a:pt x="33" y="52"/>
                    <a:pt x="18" y="52"/>
                    <a:pt x="9" y="43"/>
                  </a:cubicBezTo>
                  <a:cubicBezTo>
                    <a:pt x="0" y="34"/>
                    <a:pt x="0" y="19"/>
                    <a:pt x="9" y="10"/>
                  </a:cubicBezTo>
                  <a:cubicBezTo>
                    <a:pt x="18" y="0"/>
                    <a:pt x="33" y="0"/>
                    <a:pt x="42" y="1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32110" name="TextBox 7"/>
          <p:cNvSpPr txBox="1">
            <a:spLocks noChangeArrowheads="1"/>
          </p:cNvSpPr>
          <p:nvPr/>
        </p:nvSpPr>
        <p:spPr bwMode="auto">
          <a:xfrm>
            <a:off x="563563" y="6321425"/>
            <a:ext cx="5732462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/>
          <a:p>
            <a:pPr>
              <a:lnSpc>
                <a:spcPct val="95000"/>
              </a:lnSpc>
              <a:tabLst>
                <a:tab pos="395288" algn="l"/>
              </a:tabLst>
            </a:pP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Alapja:	Okostelefon-használók, akik az internetet általánosságban használják, n=1000 </a:t>
            </a: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	D4. Mi a legmagasabb iskolai végzettsége? D5. Az alábbiak közül melyik vonatkozik legjobban </a:t>
            </a:r>
            <a:b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	az Ön foglalkoztatási állapotára? D8. Mely tartomány közelíti meg legjobban háztartásának teljes </a:t>
            </a:r>
            <a:b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	éves bruttó jövedelmét (az adók, a társadalombiztosítás, a nyugdíjjárulék stb. levonása nélkül)?</a:t>
            </a:r>
            <a:endParaRPr lang="hu-HU" sz="800">
              <a:solidFill>
                <a:schemeClr val="bg2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aphicFrame>
        <p:nvGraphicFramePr>
          <p:cNvPr id="67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32425358"/>
              </p:ext>
            </p:extLst>
          </p:nvPr>
        </p:nvGraphicFramePr>
        <p:xfrm>
          <a:off x="2710928" y="1511809"/>
          <a:ext cx="6212542" cy="460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Z:\GGL\22944_smartphone_country_report_dai\Source\JPG\TV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75778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93999458-2F34-45F0-BBFE-5667EBF5B375}" type="slidenum">
              <a:rPr lang="hu-HU"/>
              <a:pPr/>
              <a:t>3</a:t>
            </a:fld>
            <a:endParaRPr lang="hu-HU"/>
          </a:p>
        </p:txBody>
      </p:sp>
      <p:sp>
        <p:nvSpPr>
          <p:cNvPr id="75779" name="AutoShape 6"/>
          <p:cNvSpPr>
            <a:spLocks noChangeAspect="1" noChangeArrowheads="1" noTextEdit="1"/>
          </p:cNvSpPr>
          <p:nvPr/>
        </p:nvSpPr>
        <p:spPr bwMode="auto">
          <a:xfrm>
            <a:off x="3138488" y="1003300"/>
            <a:ext cx="2989262" cy="585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5780" name="Title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476250"/>
          </a:xfrm>
        </p:spPr>
        <p:txBody>
          <a:bodyPr>
            <a:noAutofit/>
          </a:bodyPr>
          <a:lstStyle/>
          <a:p>
            <a:r>
              <a:rPr lang="hu-HU" smtClean="0"/>
              <a:t>Az okostelefonok annyira fontossá váltak </a:t>
            </a:r>
            <a:br>
              <a:rPr lang="hu-HU" smtClean="0"/>
            </a:br>
            <a:r>
              <a:rPr lang="hu-HU" smtClean="0"/>
              <a:t>a fogyasztók számára, hogy …</a:t>
            </a:r>
          </a:p>
        </p:txBody>
      </p:sp>
      <p:sp>
        <p:nvSpPr>
          <p:cNvPr id="12" name="TextBox 7"/>
          <p:cNvSpPr txBox="1">
            <a:spLocks noChangeArrowheads="1"/>
          </p:cNvSpPr>
          <p:nvPr/>
        </p:nvSpPr>
        <p:spPr bwMode="auto">
          <a:xfrm>
            <a:off x="482600" y="6400800"/>
            <a:ext cx="6962140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5000"/>
              </a:lnSpc>
              <a:tabLst>
                <a:tab pos="573088" algn="l"/>
              </a:tabLst>
            </a:pP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Alapja: 	Okostelefon-használók, akik az internetet általánosságban használják okostelefonjukon, n=1000 </a:t>
            </a:r>
          </a:p>
          <a:p>
            <a:pPr>
              <a:lnSpc>
                <a:spcPct val="90000"/>
              </a:lnSpc>
              <a:tabLst>
                <a:tab pos="573088" algn="l"/>
              </a:tabLst>
            </a:pP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52. </a:t>
            </a: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kérdés: 	Mennyire </a:t>
            </a: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ért egyet a következő kijelentésekkel? Értékelje 5-től (teljes mértékben egyetért) 1-ig (egyáltalán nem ért egyet). </a:t>
            </a: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	Inkább </a:t>
            </a: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válnék meg a tv-től, mint az okostelefonomtól. „Inkább válnék meg a tv-től/asztali számítógéptől, mint az okostelefonomtól”</a:t>
            </a:r>
          </a:p>
        </p:txBody>
      </p:sp>
      <p:sp>
        <p:nvSpPr>
          <p:cNvPr id="15" name="Rectangle 4"/>
          <p:cNvSpPr>
            <a:spLocks/>
          </p:cNvSpPr>
          <p:nvPr/>
        </p:nvSpPr>
        <p:spPr bwMode="auto">
          <a:xfrm>
            <a:off x="577850" y="3228975"/>
            <a:ext cx="3308350" cy="914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r>
              <a:rPr lang="hu-HU" sz="20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  <a:sym typeface="Lucida Grande"/>
              </a:rPr>
              <a:t>inkább válna meg </a:t>
            </a:r>
            <a:r>
              <a:rPr lang="hu-HU" sz="2000">
                <a:ea typeface="Arial Unicode MS" pitchFamily="34" charset="-128"/>
                <a:cs typeface="Arial Unicode MS" pitchFamily="34" charset="-128"/>
                <a:sym typeface="Lucida Grande"/>
              </a:rPr>
              <a:t/>
            </a:r>
            <a:br>
              <a:rPr lang="hu-HU" sz="2000">
                <a:ea typeface="Arial Unicode MS" pitchFamily="34" charset="-128"/>
                <a:cs typeface="Arial Unicode MS" pitchFamily="34" charset="-128"/>
                <a:sym typeface="Lucida Grande"/>
              </a:rPr>
            </a:br>
            <a:r>
              <a:rPr lang="hu-HU" sz="2000">
                <a:solidFill>
                  <a:srgbClr val="D50F25"/>
                </a:solidFill>
                <a:ea typeface="Arial Unicode MS" pitchFamily="34" charset="-128"/>
                <a:cs typeface="Arial Unicode MS" pitchFamily="34" charset="-128"/>
                <a:sym typeface="Lucida Grande"/>
              </a:rPr>
              <a:t>tv-jétől, </a:t>
            </a:r>
            <a:r>
              <a:rPr lang="hu-HU" sz="20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  <a:sym typeface="Lucida Grande"/>
              </a:rPr>
              <a:t>mint okostelefonjától </a:t>
            </a:r>
          </a:p>
        </p:txBody>
      </p:sp>
      <p:sp>
        <p:nvSpPr>
          <p:cNvPr id="18" name="Rectangle 4"/>
          <p:cNvSpPr>
            <a:spLocks/>
          </p:cNvSpPr>
          <p:nvPr/>
        </p:nvSpPr>
        <p:spPr bwMode="auto">
          <a:xfrm>
            <a:off x="601663" y="2425700"/>
            <a:ext cx="2439987" cy="10985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 algn="ctr">
              <a:lnSpc>
                <a:spcPct val="75000"/>
              </a:lnSpc>
              <a:spcBef>
                <a:spcPts val="0"/>
              </a:spcBef>
              <a:defRPr/>
            </a:pPr>
            <a:r>
              <a:rPr lang="hu-HU" sz="9600" b="1" smtClean="0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  <a:sym typeface="Lucida Grande" charset="0"/>
              </a:rPr>
              <a:t>29%</a:t>
            </a:r>
            <a:endParaRPr lang="hu-HU" sz="9600" b="1">
              <a:solidFill>
                <a:schemeClr val="accent4"/>
              </a:solidFill>
              <a:ea typeface="Arial Unicode MS" pitchFamily="34" charset="-128"/>
              <a:cs typeface="Arial Unicode MS" pitchFamily="34" charset="-128"/>
              <a:sym typeface="Lucida Grande" charset="0"/>
            </a:endParaRPr>
          </a:p>
        </p:txBody>
      </p:sp>
      <p:sp>
        <p:nvSpPr>
          <p:cNvPr id="10" name="Text Box 54"/>
          <p:cNvSpPr txBox="1">
            <a:spLocks noChangeArrowheads="1"/>
          </p:cNvSpPr>
          <p:nvPr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no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hu-HU" sz="800" baseline="0" noProof="0" dirty="0" smtClean="0">
                <a:solidFill>
                  <a:srgbClr val="7D7D7D"/>
                </a:solidFill>
                <a:ea typeface="Arial Unicode MS" pitchFamily="34" charset="-128"/>
                <a:cs typeface="Arial Unicode MS" pitchFamily="34" charset="-128"/>
              </a:rPr>
              <a:t>A Google bizalmas és saját tulajdonú információi</a:t>
            </a:r>
            <a:endParaRPr lang="hu-HU" sz="800" baseline="0" noProof="0" dirty="0">
              <a:solidFill>
                <a:srgbClr val="7D7D7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Freeform 7"/>
          <p:cNvSpPr>
            <a:spLocks/>
          </p:cNvSpPr>
          <p:nvPr/>
        </p:nvSpPr>
        <p:spPr bwMode="auto">
          <a:xfrm>
            <a:off x="2723172" y="2236827"/>
            <a:ext cx="3018408" cy="1685752"/>
          </a:xfrm>
          <a:custGeom>
            <a:avLst/>
            <a:gdLst/>
            <a:ahLst/>
            <a:cxnLst>
              <a:cxn ang="0">
                <a:pos x="0" y="596"/>
              </a:cxn>
              <a:cxn ang="0">
                <a:pos x="0" y="245"/>
              </a:cxn>
              <a:cxn ang="0">
                <a:pos x="245" y="0"/>
              </a:cxn>
              <a:cxn ang="0">
                <a:pos x="1082" y="0"/>
              </a:cxn>
              <a:cxn ang="0">
                <a:pos x="1100" y="18"/>
              </a:cxn>
              <a:cxn ang="0">
                <a:pos x="1082" y="36"/>
              </a:cxn>
              <a:cxn ang="0">
                <a:pos x="245" y="36"/>
              </a:cxn>
              <a:cxn ang="0">
                <a:pos x="97" y="97"/>
              </a:cxn>
              <a:cxn ang="0">
                <a:pos x="36" y="245"/>
              </a:cxn>
              <a:cxn ang="0">
                <a:pos x="36" y="596"/>
              </a:cxn>
              <a:cxn ang="0">
                <a:pos x="36" y="596"/>
              </a:cxn>
              <a:cxn ang="0">
                <a:pos x="18" y="614"/>
              </a:cxn>
              <a:cxn ang="0">
                <a:pos x="0" y="596"/>
              </a:cxn>
            </a:cxnLst>
            <a:rect l="0" t="0" r="r" b="b"/>
            <a:pathLst>
              <a:path w="1100" h="614">
                <a:moveTo>
                  <a:pt x="0" y="596"/>
                </a:moveTo>
                <a:cubicBezTo>
                  <a:pt x="0" y="245"/>
                  <a:pt x="0" y="245"/>
                  <a:pt x="0" y="245"/>
                </a:cubicBezTo>
                <a:cubicBezTo>
                  <a:pt x="0" y="110"/>
                  <a:pt x="110" y="0"/>
                  <a:pt x="245" y="0"/>
                </a:cubicBezTo>
                <a:cubicBezTo>
                  <a:pt x="1082" y="0"/>
                  <a:pt x="1082" y="0"/>
                  <a:pt x="1082" y="0"/>
                </a:cubicBezTo>
                <a:cubicBezTo>
                  <a:pt x="1092" y="0"/>
                  <a:pt x="1100" y="8"/>
                  <a:pt x="1100" y="18"/>
                </a:cubicBezTo>
                <a:cubicBezTo>
                  <a:pt x="1100" y="28"/>
                  <a:pt x="1092" y="36"/>
                  <a:pt x="1082" y="36"/>
                </a:cubicBezTo>
                <a:cubicBezTo>
                  <a:pt x="245" y="36"/>
                  <a:pt x="245" y="36"/>
                  <a:pt x="245" y="36"/>
                </a:cubicBezTo>
                <a:cubicBezTo>
                  <a:pt x="187" y="36"/>
                  <a:pt x="135" y="59"/>
                  <a:pt x="97" y="97"/>
                </a:cubicBezTo>
                <a:cubicBezTo>
                  <a:pt x="59" y="135"/>
                  <a:pt x="36" y="187"/>
                  <a:pt x="36" y="245"/>
                </a:cubicBezTo>
                <a:cubicBezTo>
                  <a:pt x="36" y="596"/>
                  <a:pt x="36" y="596"/>
                  <a:pt x="36" y="596"/>
                </a:cubicBezTo>
                <a:cubicBezTo>
                  <a:pt x="36" y="596"/>
                  <a:pt x="36" y="596"/>
                  <a:pt x="36" y="596"/>
                </a:cubicBezTo>
                <a:cubicBezTo>
                  <a:pt x="36" y="606"/>
                  <a:pt x="28" y="614"/>
                  <a:pt x="18" y="614"/>
                </a:cubicBezTo>
                <a:cubicBezTo>
                  <a:pt x="8" y="614"/>
                  <a:pt x="0" y="606"/>
                  <a:pt x="0" y="596"/>
                </a:cubicBezTo>
                <a:close/>
              </a:path>
            </a:pathLst>
          </a:custGeom>
          <a:solidFill>
            <a:srgbClr val="3369E8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29" name="Title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1139306"/>
          </a:xfrm>
        </p:spPr>
        <p:txBody>
          <a:bodyPr>
            <a:noAutofit/>
          </a:bodyPr>
          <a:lstStyle/>
          <a:p>
            <a:r>
              <a:rPr lang="hu-HU" smtClean="0"/>
              <a:t>Az elmúlt hat hónapban növekedés volt tapasztalható az okostelefon-használat intenzitásában</a:t>
            </a:r>
          </a:p>
        </p:txBody>
      </p:sp>
      <p:sp>
        <p:nvSpPr>
          <p:cNvPr id="73730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8CFBE38F-68F2-49AF-9F19-A50BC279CA7B}" type="slidenum">
              <a:rPr lang="hu-HU"/>
              <a:pPr/>
              <a:t>4</a:t>
            </a:fld>
            <a:endParaRPr lang="hu-HU"/>
          </a:p>
        </p:txBody>
      </p:sp>
      <p:sp>
        <p:nvSpPr>
          <p:cNvPr id="73731" name="TextBox 7"/>
          <p:cNvSpPr txBox="1">
            <a:spLocks noChangeArrowheads="1"/>
          </p:cNvSpPr>
          <p:nvPr/>
        </p:nvSpPr>
        <p:spPr bwMode="auto">
          <a:xfrm>
            <a:off x="2902404" y="2389417"/>
            <a:ext cx="2920859" cy="1298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hu-HU" sz="2200">
                <a:ea typeface="Arial Unicode MS" pitchFamily="34" charset="-128"/>
                <a:cs typeface="Arial Unicode MS" pitchFamily="34" charset="-128"/>
              </a:rPr>
              <a:t>t</a:t>
            </a:r>
            <a:r>
              <a:rPr lang="hu-HU" sz="2200" smtClean="0">
                <a:ea typeface="Arial Unicode MS" pitchFamily="34" charset="-128"/>
                <a:cs typeface="Arial Unicode MS" pitchFamily="34" charset="-128"/>
              </a:rPr>
              <a:t>öbb </a:t>
            </a:r>
            <a:r>
              <a:rPr lang="hu-HU" sz="2200">
                <a:ea typeface="Arial Unicode MS" pitchFamily="34" charset="-128"/>
                <a:cs typeface="Arial Unicode MS" pitchFamily="34" charset="-128"/>
              </a:rPr>
              <a:t>időt töltött online </a:t>
            </a:r>
            <a:r>
              <a:rPr lang="hu-HU" sz="2200" smtClean="0">
                <a:ea typeface="Arial Unicode MS" pitchFamily="34" charset="-128"/>
                <a:cs typeface="Arial Unicode MS" pitchFamily="34" charset="-128"/>
              </a:rPr>
              <a:t>okostelefonján</a:t>
            </a:r>
            <a:br>
              <a:rPr lang="hu-HU" sz="2200" smtClean="0">
                <a:ea typeface="Arial Unicode MS" pitchFamily="34" charset="-128"/>
                <a:cs typeface="Arial Unicode MS" pitchFamily="34" charset="-128"/>
              </a:rPr>
            </a:br>
            <a:r>
              <a:rPr lang="hu-HU" sz="2200" smtClean="0">
                <a:ea typeface="Arial Unicode MS" pitchFamily="34" charset="-128"/>
                <a:cs typeface="Arial Unicode MS" pitchFamily="34" charset="-128"/>
              </a:rPr>
              <a:t>az </a:t>
            </a:r>
            <a:r>
              <a:rPr lang="hu-HU" sz="2200">
                <a:ea typeface="Arial Unicode MS" pitchFamily="34" charset="-128"/>
                <a:cs typeface="Arial Unicode MS" pitchFamily="34" charset="-128"/>
              </a:rPr>
              <a:t>elmúlt 6 hónapban</a:t>
            </a:r>
          </a:p>
        </p:txBody>
      </p:sp>
      <p:sp>
        <p:nvSpPr>
          <p:cNvPr id="73733" name="Freeform 8"/>
          <p:cNvSpPr>
            <a:spLocks/>
          </p:cNvSpPr>
          <p:nvPr/>
        </p:nvSpPr>
        <p:spPr bwMode="auto">
          <a:xfrm>
            <a:off x="6202363" y="327025"/>
            <a:ext cx="2941637" cy="1970088"/>
          </a:xfrm>
          <a:custGeom>
            <a:avLst/>
            <a:gdLst>
              <a:gd name="T0" fmla="*/ 1063 w 1072"/>
              <a:gd name="T1" fmla="*/ 79 h 718"/>
              <a:gd name="T2" fmla="*/ 1041 w 1072"/>
              <a:gd name="T3" fmla="*/ 79 h 718"/>
              <a:gd name="T4" fmla="*/ 1041 w 1072"/>
              <a:gd name="T5" fmla="*/ 5 h 718"/>
              <a:gd name="T6" fmla="*/ 1036 w 1072"/>
              <a:gd name="T7" fmla="*/ 0 h 718"/>
              <a:gd name="T8" fmla="*/ 1031 w 1072"/>
              <a:gd name="T9" fmla="*/ 5 h 718"/>
              <a:gd name="T10" fmla="*/ 1031 w 1072"/>
              <a:gd name="T11" fmla="*/ 79 h 718"/>
              <a:gd name="T12" fmla="*/ 997 w 1072"/>
              <a:gd name="T13" fmla="*/ 79 h 718"/>
              <a:gd name="T14" fmla="*/ 997 w 1072"/>
              <a:gd name="T15" fmla="*/ 5 h 718"/>
              <a:gd name="T16" fmla="*/ 992 w 1072"/>
              <a:gd name="T17" fmla="*/ 0 h 718"/>
              <a:gd name="T18" fmla="*/ 987 w 1072"/>
              <a:gd name="T19" fmla="*/ 5 h 718"/>
              <a:gd name="T20" fmla="*/ 987 w 1072"/>
              <a:gd name="T21" fmla="*/ 79 h 718"/>
              <a:gd name="T22" fmla="*/ 964 w 1072"/>
              <a:gd name="T23" fmla="*/ 79 h 718"/>
              <a:gd name="T24" fmla="*/ 955 w 1072"/>
              <a:gd name="T25" fmla="*/ 88 h 718"/>
              <a:gd name="T26" fmla="*/ 963 w 1072"/>
              <a:gd name="T27" fmla="*/ 98 h 718"/>
              <a:gd name="T28" fmla="*/ 963 w 1072"/>
              <a:gd name="T29" fmla="*/ 140 h 718"/>
              <a:gd name="T30" fmla="*/ 992 w 1072"/>
              <a:gd name="T31" fmla="*/ 215 h 718"/>
              <a:gd name="T32" fmla="*/ 990 w 1072"/>
              <a:gd name="T33" fmla="*/ 222 h 718"/>
              <a:gd name="T34" fmla="*/ 990 w 1072"/>
              <a:gd name="T35" fmla="*/ 243 h 718"/>
              <a:gd name="T36" fmla="*/ 996 w 1072"/>
              <a:gd name="T37" fmla="*/ 256 h 718"/>
              <a:gd name="T38" fmla="*/ 996 w 1072"/>
              <a:gd name="T39" fmla="*/ 473 h 718"/>
              <a:gd name="T40" fmla="*/ 935 w 1072"/>
              <a:gd name="T41" fmla="*/ 621 h 718"/>
              <a:gd name="T42" fmla="*/ 787 w 1072"/>
              <a:gd name="T43" fmla="*/ 682 h 718"/>
              <a:gd name="T44" fmla="*/ 18 w 1072"/>
              <a:gd name="T45" fmla="*/ 682 h 718"/>
              <a:gd name="T46" fmla="*/ 0 w 1072"/>
              <a:gd name="T47" fmla="*/ 700 h 718"/>
              <a:gd name="T48" fmla="*/ 18 w 1072"/>
              <a:gd name="T49" fmla="*/ 718 h 718"/>
              <a:gd name="T50" fmla="*/ 787 w 1072"/>
              <a:gd name="T51" fmla="*/ 718 h 718"/>
              <a:gd name="T52" fmla="*/ 1032 w 1072"/>
              <a:gd name="T53" fmla="*/ 473 h 718"/>
              <a:gd name="T54" fmla="*/ 1032 w 1072"/>
              <a:gd name="T55" fmla="*/ 257 h 718"/>
              <a:gd name="T56" fmla="*/ 1039 w 1072"/>
              <a:gd name="T57" fmla="*/ 243 h 718"/>
              <a:gd name="T58" fmla="*/ 1039 w 1072"/>
              <a:gd name="T59" fmla="*/ 222 h 718"/>
              <a:gd name="T60" fmla="*/ 1036 w 1072"/>
              <a:gd name="T61" fmla="*/ 214 h 718"/>
              <a:gd name="T62" fmla="*/ 1064 w 1072"/>
              <a:gd name="T63" fmla="*/ 140 h 718"/>
              <a:gd name="T64" fmla="*/ 1064 w 1072"/>
              <a:gd name="T65" fmla="*/ 98 h 718"/>
              <a:gd name="T66" fmla="*/ 1072 w 1072"/>
              <a:gd name="T67" fmla="*/ 88 h 718"/>
              <a:gd name="T68" fmla="*/ 1063 w 1072"/>
              <a:gd name="T69" fmla="*/ 79 h 71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72"/>
              <a:gd name="T106" fmla="*/ 0 h 718"/>
              <a:gd name="T107" fmla="*/ 1072 w 1072"/>
              <a:gd name="T108" fmla="*/ 718 h 71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72" h="718">
                <a:moveTo>
                  <a:pt x="1063" y="79"/>
                </a:moveTo>
                <a:cubicBezTo>
                  <a:pt x="1041" y="79"/>
                  <a:pt x="1041" y="79"/>
                  <a:pt x="1041" y="79"/>
                </a:cubicBezTo>
                <a:cubicBezTo>
                  <a:pt x="1041" y="5"/>
                  <a:pt x="1041" y="5"/>
                  <a:pt x="1041" y="5"/>
                </a:cubicBezTo>
                <a:cubicBezTo>
                  <a:pt x="1041" y="2"/>
                  <a:pt x="1039" y="0"/>
                  <a:pt x="1036" y="0"/>
                </a:cubicBezTo>
                <a:cubicBezTo>
                  <a:pt x="1033" y="0"/>
                  <a:pt x="1031" y="2"/>
                  <a:pt x="1031" y="5"/>
                </a:cubicBezTo>
                <a:cubicBezTo>
                  <a:pt x="1031" y="79"/>
                  <a:pt x="1031" y="79"/>
                  <a:pt x="1031" y="79"/>
                </a:cubicBezTo>
                <a:cubicBezTo>
                  <a:pt x="997" y="79"/>
                  <a:pt x="997" y="79"/>
                  <a:pt x="997" y="79"/>
                </a:cubicBezTo>
                <a:cubicBezTo>
                  <a:pt x="997" y="5"/>
                  <a:pt x="997" y="5"/>
                  <a:pt x="997" y="5"/>
                </a:cubicBezTo>
                <a:cubicBezTo>
                  <a:pt x="997" y="2"/>
                  <a:pt x="994" y="0"/>
                  <a:pt x="992" y="0"/>
                </a:cubicBezTo>
                <a:cubicBezTo>
                  <a:pt x="989" y="0"/>
                  <a:pt x="987" y="2"/>
                  <a:pt x="987" y="5"/>
                </a:cubicBezTo>
                <a:cubicBezTo>
                  <a:pt x="987" y="79"/>
                  <a:pt x="987" y="79"/>
                  <a:pt x="987" y="79"/>
                </a:cubicBezTo>
                <a:cubicBezTo>
                  <a:pt x="964" y="79"/>
                  <a:pt x="964" y="79"/>
                  <a:pt x="964" y="79"/>
                </a:cubicBezTo>
                <a:cubicBezTo>
                  <a:pt x="959" y="79"/>
                  <a:pt x="955" y="83"/>
                  <a:pt x="955" y="88"/>
                </a:cubicBezTo>
                <a:cubicBezTo>
                  <a:pt x="955" y="93"/>
                  <a:pt x="959" y="97"/>
                  <a:pt x="963" y="98"/>
                </a:cubicBezTo>
                <a:cubicBezTo>
                  <a:pt x="963" y="140"/>
                  <a:pt x="963" y="140"/>
                  <a:pt x="963" y="140"/>
                </a:cubicBezTo>
                <a:cubicBezTo>
                  <a:pt x="964" y="160"/>
                  <a:pt x="972" y="198"/>
                  <a:pt x="992" y="215"/>
                </a:cubicBezTo>
                <a:cubicBezTo>
                  <a:pt x="991" y="217"/>
                  <a:pt x="990" y="220"/>
                  <a:pt x="990" y="222"/>
                </a:cubicBezTo>
                <a:cubicBezTo>
                  <a:pt x="990" y="243"/>
                  <a:pt x="990" y="243"/>
                  <a:pt x="990" y="243"/>
                </a:cubicBezTo>
                <a:cubicBezTo>
                  <a:pt x="990" y="248"/>
                  <a:pt x="993" y="253"/>
                  <a:pt x="996" y="256"/>
                </a:cubicBezTo>
                <a:cubicBezTo>
                  <a:pt x="996" y="473"/>
                  <a:pt x="996" y="473"/>
                  <a:pt x="996" y="473"/>
                </a:cubicBezTo>
                <a:cubicBezTo>
                  <a:pt x="996" y="531"/>
                  <a:pt x="973" y="583"/>
                  <a:pt x="935" y="621"/>
                </a:cubicBezTo>
                <a:cubicBezTo>
                  <a:pt x="897" y="659"/>
                  <a:pt x="845" y="682"/>
                  <a:pt x="787" y="682"/>
                </a:cubicBezTo>
                <a:cubicBezTo>
                  <a:pt x="18" y="682"/>
                  <a:pt x="18" y="682"/>
                  <a:pt x="18" y="682"/>
                </a:cubicBezTo>
                <a:cubicBezTo>
                  <a:pt x="8" y="682"/>
                  <a:pt x="0" y="690"/>
                  <a:pt x="0" y="700"/>
                </a:cubicBezTo>
                <a:cubicBezTo>
                  <a:pt x="0" y="710"/>
                  <a:pt x="8" y="718"/>
                  <a:pt x="18" y="718"/>
                </a:cubicBezTo>
                <a:cubicBezTo>
                  <a:pt x="787" y="718"/>
                  <a:pt x="787" y="718"/>
                  <a:pt x="787" y="718"/>
                </a:cubicBezTo>
                <a:cubicBezTo>
                  <a:pt x="922" y="718"/>
                  <a:pt x="1032" y="608"/>
                  <a:pt x="1032" y="473"/>
                </a:cubicBezTo>
                <a:cubicBezTo>
                  <a:pt x="1032" y="257"/>
                  <a:pt x="1032" y="257"/>
                  <a:pt x="1032" y="257"/>
                </a:cubicBezTo>
                <a:cubicBezTo>
                  <a:pt x="1036" y="254"/>
                  <a:pt x="1039" y="249"/>
                  <a:pt x="1039" y="243"/>
                </a:cubicBezTo>
                <a:cubicBezTo>
                  <a:pt x="1039" y="222"/>
                  <a:pt x="1039" y="222"/>
                  <a:pt x="1039" y="222"/>
                </a:cubicBezTo>
                <a:cubicBezTo>
                  <a:pt x="1039" y="219"/>
                  <a:pt x="1038" y="217"/>
                  <a:pt x="1036" y="214"/>
                </a:cubicBezTo>
                <a:cubicBezTo>
                  <a:pt x="1056" y="197"/>
                  <a:pt x="1064" y="160"/>
                  <a:pt x="1064" y="140"/>
                </a:cubicBezTo>
                <a:cubicBezTo>
                  <a:pt x="1064" y="98"/>
                  <a:pt x="1064" y="98"/>
                  <a:pt x="1064" y="98"/>
                </a:cubicBezTo>
                <a:cubicBezTo>
                  <a:pt x="1069" y="97"/>
                  <a:pt x="1072" y="93"/>
                  <a:pt x="1072" y="88"/>
                </a:cubicBezTo>
                <a:cubicBezTo>
                  <a:pt x="1072" y="83"/>
                  <a:pt x="1068" y="79"/>
                  <a:pt x="1063" y="79"/>
                </a:cubicBezTo>
                <a:close/>
              </a:path>
            </a:pathLst>
          </a:custGeom>
          <a:solidFill>
            <a:srgbClr val="74B51C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34" name="Freeform 9"/>
          <p:cNvSpPr>
            <a:spLocks/>
          </p:cNvSpPr>
          <p:nvPr/>
        </p:nvSpPr>
        <p:spPr bwMode="auto">
          <a:xfrm>
            <a:off x="1681163" y="2424113"/>
            <a:ext cx="7402512" cy="3937000"/>
          </a:xfrm>
          <a:custGeom>
            <a:avLst/>
            <a:gdLst>
              <a:gd name="T0" fmla="*/ 2693 w 2698"/>
              <a:gd name="T1" fmla="*/ 76 h 1435"/>
              <a:gd name="T2" fmla="*/ 2619 w 2698"/>
              <a:gd name="T3" fmla="*/ 76 h 1435"/>
              <a:gd name="T4" fmla="*/ 2619 w 2698"/>
              <a:gd name="T5" fmla="*/ 42 h 1435"/>
              <a:gd name="T6" fmla="*/ 2693 w 2698"/>
              <a:gd name="T7" fmla="*/ 42 h 1435"/>
              <a:gd name="T8" fmla="*/ 2698 w 2698"/>
              <a:gd name="T9" fmla="*/ 37 h 1435"/>
              <a:gd name="T10" fmla="*/ 2693 w 2698"/>
              <a:gd name="T11" fmla="*/ 32 h 1435"/>
              <a:gd name="T12" fmla="*/ 2619 w 2698"/>
              <a:gd name="T13" fmla="*/ 32 h 1435"/>
              <a:gd name="T14" fmla="*/ 2619 w 2698"/>
              <a:gd name="T15" fmla="*/ 9 h 1435"/>
              <a:gd name="T16" fmla="*/ 2609 w 2698"/>
              <a:gd name="T17" fmla="*/ 0 h 1435"/>
              <a:gd name="T18" fmla="*/ 2600 w 2698"/>
              <a:gd name="T19" fmla="*/ 9 h 1435"/>
              <a:gd name="T20" fmla="*/ 2558 w 2698"/>
              <a:gd name="T21" fmla="*/ 9 h 1435"/>
              <a:gd name="T22" fmla="*/ 2483 w 2698"/>
              <a:gd name="T23" fmla="*/ 37 h 1435"/>
              <a:gd name="T24" fmla="*/ 2475 w 2698"/>
              <a:gd name="T25" fmla="*/ 36 h 1435"/>
              <a:gd name="T26" fmla="*/ 2454 w 2698"/>
              <a:gd name="T27" fmla="*/ 36 h 1435"/>
              <a:gd name="T28" fmla="*/ 2440 w 2698"/>
              <a:gd name="T29" fmla="*/ 43 h 1435"/>
              <a:gd name="T30" fmla="*/ 2237 w 2698"/>
              <a:gd name="T31" fmla="*/ 43 h 1435"/>
              <a:gd name="T32" fmla="*/ 1992 w 2698"/>
              <a:gd name="T33" fmla="*/ 288 h 1435"/>
              <a:gd name="T34" fmla="*/ 1992 w 2698"/>
              <a:gd name="T35" fmla="*/ 1191 h 1435"/>
              <a:gd name="T36" fmla="*/ 1931 w 2698"/>
              <a:gd name="T37" fmla="*/ 1338 h 1435"/>
              <a:gd name="T38" fmla="*/ 1783 w 2698"/>
              <a:gd name="T39" fmla="*/ 1399 h 1435"/>
              <a:gd name="T40" fmla="*/ 245 w 2698"/>
              <a:gd name="T41" fmla="*/ 1399 h 1435"/>
              <a:gd name="T42" fmla="*/ 97 w 2698"/>
              <a:gd name="T43" fmla="*/ 1338 h 1435"/>
              <a:gd name="T44" fmla="*/ 36 w 2698"/>
              <a:gd name="T45" fmla="*/ 1191 h 1435"/>
              <a:gd name="T46" fmla="*/ 36 w 2698"/>
              <a:gd name="T47" fmla="*/ 1074 h 1435"/>
              <a:gd name="T48" fmla="*/ 0 w 2698"/>
              <a:gd name="T49" fmla="*/ 1074 h 1435"/>
              <a:gd name="T50" fmla="*/ 0 w 2698"/>
              <a:gd name="T51" fmla="*/ 1191 h 1435"/>
              <a:gd name="T52" fmla="*/ 245 w 2698"/>
              <a:gd name="T53" fmla="*/ 1435 h 1435"/>
              <a:gd name="T54" fmla="*/ 1783 w 2698"/>
              <a:gd name="T55" fmla="*/ 1435 h 1435"/>
              <a:gd name="T56" fmla="*/ 2028 w 2698"/>
              <a:gd name="T57" fmla="*/ 1191 h 1435"/>
              <a:gd name="T58" fmla="*/ 2028 w 2698"/>
              <a:gd name="T59" fmla="*/ 288 h 1435"/>
              <a:gd name="T60" fmla="*/ 2089 w 2698"/>
              <a:gd name="T61" fmla="*/ 141 h 1435"/>
              <a:gd name="T62" fmla="*/ 2237 w 2698"/>
              <a:gd name="T63" fmla="*/ 79 h 1435"/>
              <a:gd name="T64" fmla="*/ 2444 w 2698"/>
              <a:gd name="T65" fmla="*/ 79 h 1435"/>
              <a:gd name="T66" fmla="*/ 2454 w 2698"/>
              <a:gd name="T67" fmla="*/ 84 h 1435"/>
              <a:gd name="T68" fmla="*/ 2475 w 2698"/>
              <a:gd name="T69" fmla="*/ 84 h 1435"/>
              <a:gd name="T70" fmla="*/ 2484 w 2698"/>
              <a:gd name="T71" fmla="*/ 81 h 1435"/>
              <a:gd name="T72" fmla="*/ 2558 w 2698"/>
              <a:gd name="T73" fmla="*/ 109 h 1435"/>
              <a:gd name="T74" fmla="*/ 2600 w 2698"/>
              <a:gd name="T75" fmla="*/ 109 h 1435"/>
              <a:gd name="T76" fmla="*/ 2609 w 2698"/>
              <a:gd name="T77" fmla="*/ 117 h 1435"/>
              <a:gd name="T78" fmla="*/ 2619 w 2698"/>
              <a:gd name="T79" fmla="*/ 108 h 1435"/>
              <a:gd name="T80" fmla="*/ 2619 w 2698"/>
              <a:gd name="T81" fmla="*/ 86 h 1435"/>
              <a:gd name="T82" fmla="*/ 2693 w 2698"/>
              <a:gd name="T83" fmla="*/ 86 h 1435"/>
              <a:gd name="T84" fmla="*/ 2698 w 2698"/>
              <a:gd name="T85" fmla="*/ 81 h 1435"/>
              <a:gd name="T86" fmla="*/ 2693 w 2698"/>
              <a:gd name="T87" fmla="*/ 76 h 14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2698"/>
              <a:gd name="T133" fmla="*/ 0 h 1435"/>
              <a:gd name="T134" fmla="*/ 2698 w 2698"/>
              <a:gd name="T135" fmla="*/ 1435 h 1435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2698" h="1435">
                <a:moveTo>
                  <a:pt x="2693" y="76"/>
                </a:moveTo>
                <a:cubicBezTo>
                  <a:pt x="2619" y="76"/>
                  <a:pt x="2619" y="76"/>
                  <a:pt x="2619" y="76"/>
                </a:cubicBezTo>
                <a:cubicBezTo>
                  <a:pt x="2619" y="42"/>
                  <a:pt x="2619" y="42"/>
                  <a:pt x="2619" y="42"/>
                </a:cubicBezTo>
                <a:cubicBezTo>
                  <a:pt x="2693" y="42"/>
                  <a:pt x="2693" y="42"/>
                  <a:pt x="2693" y="42"/>
                </a:cubicBezTo>
                <a:cubicBezTo>
                  <a:pt x="2696" y="42"/>
                  <a:pt x="2698" y="39"/>
                  <a:pt x="2698" y="37"/>
                </a:cubicBezTo>
                <a:cubicBezTo>
                  <a:pt x="2698" y="34"/>
                  <a:pt x="2696" y="32"/>
                  <a:pt x="2693" y="32"/>
                </a:cubicBezTo>
                <a:cubicBezTo>
                  <a:pt x="2619" y="32"/>
                  <a:pt x="2619" y="32"/>
                  <a:pt x="2619" y="32"/>
                </a:cubicBezTo>
                <a:cubicBezTo>
                  <a:pt x="2619" y="9"/>
                  <a:pt x="2619" y="9"/>
                  <a:pt x="2619" y="9"/>
                </a:cubicBezTo>
                <a:cubicBezTo>
                  <a:pt x="2619" y="4"/>
                  <a:pt x="2615" y="0"/>
                  <a:pt x="2609" y="0"/>
                </a:cubicBezTo>
                <a:cubicBezTo>
                  <a:pt x="2605" y="0"/>
                  <a:pt x="2601" y="4"/>
                  <a:pt x="2600" y="9"/>
                </a:cubicBezTo>
                <a:cubicBezTo>
                  <a:pt x="2558" y="9"/>
                  <a:pt x="2558" y="9"/>
                  <a:pt x="2558" y="9"/>
                </a:cubicBezTo>
                <a:cubicBezTo>
                  <a:pt x="2538" y="9"/>
                  <a:pt x="2500" y="17"/>
                  <a:pt x="2483" y="37"/>
                </a:cubicBezTo>
                <a:cubicBezTo>
                  <a:pt x="2481" y="36"/>
                  <a:pt x="2478" y="36"/>
                  <a:pt x="2475" y="36"/>
                </a:cubicBezTo>
                <a:cubicBezTo>
                  <a:pt x="2454" y="36"/>
                  <a:pt x="2454" y="36"/>
                  <a:pt x="2454" y="36"/>
                </a:cubicBezTo>
                <a:cubicBezTo>
                  <a:pt x="2448" y="36"/>
                  <a:pt x="2443" y="39"/>
                  <a:pt x="2440" y="43"/>
                </a:cubicBezTo>
                <a:cubicBezTo>
                  <a:pt x="2237" y="43"/>
                  <a:pt x="2237" y="43"/>
                  <a:pt x="2237" y="43"/>
                </a:cubicBezTo>
                <a:cubicBezTo>
                  <a:pt x="2102" y="44"/>
                  <a:pt x="1992" y="154"/>
                  <a:pt x="1992" y="288"/>
                </a:cubicBezTo>
                <a:cubicBezTo>
                  <a:pt x="1992" y="1191"/>
                  <a:pt x="1992" y="1191"/>
                  <a:pt x="1992" y="1191"/>
                </a:cubicBezTo>
                <a:cubicBezTo>
                  <a:pt x="1992" y="1248"/>
                  <a:pt x="1969" y="1300"/>
                  <a:pt x="1931" y="1338"/>
                </a:cubicBezTo>
                <a:cubicBezTo>
                  <a:pt x="1893" y="1376"/>
                  <a:pt x="1841" y="1399"/>
                  <a:pt x="1783" y="1399"/>
                </a:cubicBezTo>
                <a:cubicBezTo>
                  <a:pt x="245" y="1399"/>
                  <a:pt x="245" y="1399"/>
                  <a:pt x="245" y="1399"/>
                </a:cubicBezTo>
                <a:cubicBezTo>
                  <a:pt x="187" y="1399"/>
                  <a:pt x="135" y="1376"/>
                  <a:pt x="97" y="1338"/>
                </a:cubicBezTo>
                <a:cubicBezTo>
                  <a:pt x="59" y="1300"/>
                  <a:pt x="36" y="1248"/>
                  <a:pt x="36" y="1191"/>
                </a:cubicBezTo>
                <a:cubicBezTo>
                  <a:pt x="36" y="1074"/>
                  <a:pt x="36" y="1074"/>
                  <a:pt x="36" y="1074"/>
                </a:cubicBezTo>
                <a:cubicBezTo>
                  <a:pt x="0" y="1074"/>
                  <a:pt x="0" y="1074"/>
                  <a:pt x="0" y="1074"/>
                </a:cubicBezTo>
                <a:cubicBezTo>
                  <a:pt x="0" y="1191"/>
                  <a:pt x="0" y="1191"/>
                  <a:pt x="0" y="1191"/>
                </a:cubicBezTo>
                <a:cubicBezTo>
                  <a:pt x="0" y="1325"/>
                  <a:pt x="110" y="1435"/>
                  <a:pt x="245" y="1435"/>
                </a:cubicBezTo>
                <a:cubicBezTo>
                  <a:pt x="1783" y="1435"/>
                  <a:pt x="1783" y="1435"/>
                  <a:pt x="1783" y="1435"/>
                </a:cubicBezTo>
                <a:cubicBezTo>
                  <a:pt x="1918" y="1435"/>
                  <a:pt x="2028" y="1325"/>
                  <a:pt x="2028" y="1191"/>
                </a:cubicBezTo>
                <a:cubicBezTo>
                  <a:pt x="2028" y="288"/>
                  <a:pt x="2028" y="288"/>
                  <a:pt x="2028" y="288"/>
                </a:cubicBezTo>
                <a:cubicBezTo>
                  <a:pt x="2028" y="231"/>
                  <a:pt x="2051" y="179"/>
                  <a:pt x="2089" y="141"/>
                </a:cubicBezTo>
                <a:cubicBezTo>
                  <a:pt x="2127" y="103"/>
                  <a:pt x="2179" y="79"/>
                  <a:pt x="2237" y="79"/>
                </a:cubicBezTo>
                <a:cubicBezTo>
                  <a:pt x="2444" y="79"/>
                  <a:pt x="2444" y="79"/>
                  <a:pt x="2444" y="79"/>
                </a:cubicBezTo>
                <a:cubicBezTo>
                  <a:pt x="2447" y="82"/>
                  <a:pt x="2450" y="84"/>
                  <a:pt x="2454" y="84"/>
                </a:cubicBezTo>
                <a:cubicBezTo>
                  <a:pt x="2475" y="84"/>
                  <a:pt x="2475" y="84"/>
                  <a:pt x="2475" y="84"/>
                </a:cubicBezTo>
                <a:cubicBezTo>
                  <a:pt x="2479" y="84"/>
                  <a:pt x="2481" y="83"/>
                  <a:pt x="2484" y="81"/>
                </a:cubicBezTo>
                <a:cubicBezTo>
                  <a:pt x="2501" y="101"/>
                  <a:pt x="2538" y="109"/>
                  <a:pt x="2558" y="109"/>
                </a:cubicBezTo>
                <a:cubicBezTo>
                  <a:pt x="2600" y="109"/>
                  <a:pt x="2600" y="109"/>
                  <a:pt x="2600" y="109"/>
                </a:cubicBezTo>
                <a:cubicBezTo>
                  <a:pt x="2601" y="114"/>
                  <a:pt x="2605" y="117"/>
                  <a:pt x="2609" y="117"/>
                </a:cubicBezTo>
                <a:cubicBezTo>
                  <a:pt x="2615" y="117"/>
                  <a:pt x="2619" y="113"/>
                  <a:pt x="2619" y="108"/>
                </a:cubicBezTo>
                <a:cubicBezTo>
                  <a:pt x="2619" y="86"/>
                  <a:pt x="2619" y="86"/>
                  <a:pt x="2619" y="86"/>
                </a:cubicBezTo>
                <a:cubicBezTo>
                  <a:pt x="2693" y="86"/>
                  <a:pt x="2693" y="86"/>
                  <a:pt x="2693" y="86"/>
                </a:cubicBezTo>
                <a:cubicBezTo>
                  <a:pt x="2696" y="86"/>
                  <a:pt x="2698" y="84"/>
                  <a:pt x="2698" y="81"/>
                </a:cubicBezTo>
                <a:cubicBezTo>
                  <a:pt x="2698" y="78"/>
                  <a:pt x="2696" y="76"/>
                  <a:pt x="2693" y="76"/>
                </a:cubicBezTo>
              </a:path>
            </a:pathLst>
          </a:custGeom>
          <a:solidFill>
            <a:srgbClr val="EEB211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35" name="Freeform 10"/>
          <p:cNvSpPr>
            <a:spLocks/>
          </p:cNvSpPr>
          <p:nvPr/>
        </p:nvSpPr>
        <p:spPr bwMode="auto">
          <a:xfrm>
            <a:off x="1681163" y="4538663"/>
            <a:ext cx="98425" cy="776287"/>
          </a:xfrm>
          <a:custGeom>
            <a:avLst/>
            <a:gdLst>
              <a:gd name="T0" fmla="*/ 36 w 36"/>
              <a:gd name="T1" fmla="*/ 18 h 283"/>
              <a:gd name="T2" fmla="*/ 18 w 36"/>
              <a:gd name="T3" fmla="*/ 0 h 283"/>
              <a:gd name="T4" fmla="*/ 0 w 36"/>
              <a:gd name="T5" fmla="*/ 18 h 283"/>
              <a:gd name="T6" fmla="*/ 0 w 36"/>
              <a:gd name="T7" fmla="*/ 283 h 283"/>
              <a:gd name="T8" fmla="*/ 36 w 36"/>
              <a:gd name="T9" fmla="*/ 283 h 283"/>
              <a:gd name="T10" fmla="*/ 36 w 36"/>
              <a:gd name="T11" fmla="*/ 18 h 28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6"/>
              <a:gd name="T19" fmla="*/ 0 h 283"/>
              <a:gd name="T20" fmla="*/ 36 w 36"/>
              <a:gd name="T21" fmla="*/ 283 h 28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6" h="283">
                <a:moveTo>
                  <a:pt x="36" y="18"/>
                </a:moveTo>
                <a:cubicBezTo>
                  <a:pt x="36" y="9"/>
                  <a:pt x="28" y="0"/>
                  <a:pt x="18" y="0"/>
                </a:cubicBezTo>
                <a:cubicBezTo>
                  <a:pt x="8" y="0"/>
                  <a:pt x="0" y="9"/>
                  <a:pt x="0" y="18"/>
                </a:cubicBezTo>
                <a:cubicBezTo>
                  <a:pt x="0" y="283"/>
                  <a:pt x="0" y="283"/>
                  <a:pt x="0" y="283"/>
                </a:cubicBezTo>
                <a:cubicBezTo>
                  <a:pt x="36" y="283"/>
                  <a:pt x="36" y="283"/>
                  <a:pt x="36" y="283"/>
                </a:cubicBezTo>
                <a:lnTo>
                  <a:pt x="36" y="18"/>
                </a:lnTo>
                <a:close/>
              </a:path>
            </a:pathLst>
          </a:custGeom>
          <a:solidFill>
            <a:srgbClr val="D50F25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36" name="Freeform 11"/>
          <p:cNvSpPr>
            <a:spLocks/>
          </p:cNvSpPr>
          <p:nvPr/>
        </p:nvSpPr>
        <p:spPr bwMode="auto">
          <a:xfrm>
            <a:off x="69850" y="5218113"/>
            <a:ext cx="1016000" cy="244475"/>
          </a:xfrm>
          <a:custGeom>
            <a:avLst/>
            <a:gdLst>
              <a:gd name="T0" fmla="*/ 197 w 370"/>
              <a:gd name="T1" fmla="*/ 36 h 89"/>
              <a:gd name="T2" fmla="*/ 185 w 370"/>
              <a:gd name="T3" fmla="*/ 25 h 89"/>
              <a:gd name="T4" fmla="*/ 169 w 370"/>
              <a:gd name="T5" fmla="*/ 25 h 89"/>
              <a:gd name="T6" fmla="*/ 162 w 370"/>
              <a:gd name="T7" fmla="*/ 27 h 89"/>
              <a:gd name="T8" fmla="*/ 106 w 370"/>
              <a:gd name="T9" fmla="*/ 6 h 89"/>
              <a:gd name="T10" fmla="*/ 74 w 370"/>
              <a:gd name="T11" fmla="*/ 6 h 89"/>
              <a:gd name="T12" fmla="*/ 67 w 370"/>
              <a:gd name="T13" fmla="*/ 0 h 89"/>
              <a:gd name="T14" fmla="*/ 60 w 370"/>
              <a:gd name="T15" fmla="*/ 7 h 89"/>
              <a:gd name="T16" fmla="*/ 60 w 370"/>
              <a:gd name="T17" fmla="*/ 24 h 89"/>
              <a:gd name="T18" fmla="*/ 4 w 370"/>
              <a:gd name="T19" fmla="*/ 24 h 89"/>
              <a:gd name="T20" fmla="*/ 0 w 370"/>
              <a:gd name="T21" fmla="*/ 28 h 89"/>
              <a:gd name="T22" fmla="*/ 4 w 370"/>
              <a:gd name="T23" fmla="*/ 31 h 89"/>
              <a:gd name="T24" fmla="*/ 60 w 370"/>
              <a:gd name="T25" fmla="*/ 31 h 89"/>
              <a:gd name="T26" fmla="*/ 60 w 370"/>
              <a:gd name="T27" fmla="*/ 57 h 89"/>
              <a:gd name="T28" fmla="*/ 4 w 370"/>
              <a:gd name="T29" fmla="*/ 57 h 89"/>
              <a:gd name="T30" fmla="*/ 0 w 370"/>
              <a:gd name="T31" fmla="*/ 61 h 89"/>
              <a:gd name="T32" fmla="*/ 4 w 370"/>
              <a:gd name="T33" fmla="*/ 65 h 89"/>
              <a:gd name="T34" fmla="*/ 60 w 370"/>
              <a:gd name="T35" fmla="*/ 65 h 89"/>
              <a:gd name="T36" fmla="*/ 60 w 370"/>
              <a:gd name="T37" fmla="*/ 82 h 89"/>
              <a:gd name="T38" fmla="*/ 67 w 370"/>
              <a:gd name="T39" fmla="*/ 89 h 89"/>
              <a:gd name="T40" fmla="*/ 74 w 370"/>
              <a:gd name="T41" fmla="*/ 82 h 89"/>
              <a:gd name="T42" fmla="*/ 106 w 370"/>
              <a:gd name="T43" fmla="*/ 82 h 89"/>
              <a:gd name="T44" fmla="*/ 163 w 370"/>
              <a:gd name="T45" fmla="*/ 61 h 89"/>
              <a:gd name="T46" fmla="*/ 169 w 370"/>
              <a:gd name="T47" fmla="*/ 62 h 89"/>
              <a:gd name="T48" fmla="*/ 185 w 370"/>
              <a:gd name="T49" fmla="*/ 62 h 89"/>
              <a:gd name="T50" fmla="*/ 195 w 370"/>
              <a:gd name="T51" fmla="*/ 56 h 89"/>
              <a:gd name="T52" fmla="*/ 370 w 370"/>
              <a:gd name="T53" fmla="*/ 56 h 89"/>
              <a:gd name="T54" fmla="*/ 370 w 370"/>
              <a:gd name="T55" fmla="*/ 36 h 89"/>
              <a:gd name="T56" fmla="*/ 197 w 370"/>
              <a:gd name="T57" fmla="*/ 36 h 8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370"/>
              <a:gd name="T88" fmla="*/ 0 h 89"/>
              <a:gd name="T89" fmla="*/ 370 w 370"/>
              <a:gd name="T90" fmla="*/ 89 h 8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370" h="89">
                <a:moveTo>
                  <a:pt x="197" y="36"/>
                </a:moveTo>
                <a:cubicBezTo>
                  <a:pt x="196" y="30"/>
                  <a:pt x="191" y="25"/>
                  <a:pt x="185" y="25"/>
                </a:cubicBezTo>
                <a:cubicBezTo>
                  <a:pt x="169" y="25"/>
                  <a:pt x="169" y="25"/>
                  <a:pt x="169" y="25"/>
                </a:cubicBezTo>
                <a:cubicBezTo>
                  <a:pt x="166" y="25"/>
                  <a:pt x="164" y="26"/>
                  <a:pt x="162" y="27"/>
                </a:cubicBezTo>
                <a:cubicBezTo>
                  <a:pt x="149" y="12"/>
                  <a:pt x="121" y="6"/>
                  <a:pt x="106" y="6"/>
                </a:cubicBezTo>
                <a:cubicBezTo>
                  <a:pt x="74" y="6"/>
                  <a:pt x="74" y="6"/>
                  <a:pt x="74" y="6"/>
                </a:cubicBezTo>
                <a:cubicBezTo>
                  <a:pt x="74" y="3"/>
                  <a:pt x="71" y="0"/>
                  <a:pt x="67" y="0"/>
                </a:cubicBezTo>
                <a:cubicBezTo>
                  <a:pt x="63" y="0"/>
                  <a:pt x="60" y="3"/>
                  <a:pt x="60" y="7"/>
                </a:cubicBezTo>
                <a:cubicBezTo>
                  <a:pt x="60" y="24"/>
                  <a:pt x="60" y="24"/>
                  <a:pt x="60" y="24"/>
                </a:cubicBezTo>
                <a:cubicBezTo>
                  <a:pt x="4" y="24"/>
                  <a:pt x="4" y="24"/>
                  <a:pt x="4" y="24"/>
                </a:cubicBezTo>
                <a:cubicBezTo>
                  <a:pt x="2" y="24"/>
                  <a:pt x="0" y="26"/>
                  <a:pt x="0" y="28"/>
                </a:cubicBezTo>
                <a:cubicBezTo>
                  <a:pt x="0" y="30"/>
                  <a:pt x="2" y="31"/>
                  <a:pt x="4" y="31"/>
                </a:cubicBezTo>
                <a:cubicBezTo>
                  <a:pt x="60" y="31"/>
                  <a:pt x="60" y="31"/>
                  <a:pt x="60" y="31"/>
                </a:cubicBezTo>
                <a:cubicBezTo>
                  <a:pt x="60" y="57"/>
                  <a:pt x="60" y="57"/>
                  <a:pt x="60" y="57"/>
                </a:cubicBezTo>
                <a:cubicBezTo>
                  <a:pt x="4" y="57"/>
                  <a:pt x="4" y="57"/>
                  <a:pt x="4" y="57"/>
                </a:cubicBezTo>
                <a:cubicBezTo>
                  <a:pt x="2" y="57"/>
                  <a:pt x="0" y="59"/>
                  <a:pt x="0" y="61"/>
                </a:cubicBezTo>
                <a:cubicBezTo>
                  <a:pt x="0" y="63"/>
                  <a:pt x="2" y="65"/>
                  <a:pt x="4" y="65"/>
                </a:cubicBezTo>
                <a:cubicBezTo>
                  <a:pt x="60" y="65"/>
                  <a:pt x="60" y="65"/>
                  <a:pt x="60" y="65"/>
                </a:cubicBezTo>
                <a:cubicBezTo>
                  <a:pt x="60" y="82"/>
                  <a:pt x="60" y="82"/>
                  <a:pt x="60" y="82"/>
                </a:cubicBezTo>
                <a:cubicBezTo>
                  <a:pt x="60" y="86"/>
                  <a:pt x="63" y="89"/>
                  <a:pt x="67" y="89"/>
                </a:cubicBezTo>
                <a:cubicBezTo>
                  <a:pt x="71" y="89"/>
                  <a:pt x="74" y="86"/>
                  <a:pt x="74" y="82"/>
                </a:cubicBezTo>
                <a:cubicBezTo>
                  <a:pt x="106" y="82"/>
                  <a:pt x="106" y="82"/>
                  <a:pt x="106" y="82"/>
                </a:cubicBezTo>
                <a:cubicBezTo>
                  <a:pt x="122" y="82"/>
                  <a:pt x="150" y="76"/>
                  <a:pt x="163" y="61"/>
                </a:cubicBezTo>
                <a:cubicBezTo>
                  <a:pt x="165" y="61"/>
                  <a:pt x="167" y="62"/>
                  <a:pt x="169" y="62"/>
                </a:cubicBezTo>
                <a:cubicBezTo>
                  <a:pt x="185" y="62"/>
                  <a:pt x="185" y="62"/>
                  <a:pt x="185" y="62"/>
                </a:cubicBezTo>
                <a:cubicBezTo>
                  <a:pt x="189" y="62"/>
                  <a:pt x="193" y="59"/>
                  <a:pt x="195" y="56"/>
                </a:cubicBezTo>
                <a:cubicBezTo>
                  <a:pt x="370" y="56"/>
                  <a:pt x="370" y="56"/>
                  <a:pt x="370" y="56"/>
                </a:cubicBezTo>
                <a:cubicBezTo>
                  <a:pt x="370" y="36"/>
                  <a:pt x="370" y="36"/>
                  <a:pt x="370" y="36"/>
                </a:cubicBezTo>
                <a:lnTo>
                  <a:pt x="197" y="36"/>
                </a:lnTo>
                <a:close/>
              </a:path>
            </a:pathLst>
          </a:custGeom>
          <a:solidFill>
            <a:srgbClr val="339E35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37" name="Freeform 12"/>
          <p:cNvSpPr>
            <a:spLocks/>
          </p:cNvSpPr>
          <p:nvPr/>
        </p:nvSpPr>
        <p:spPr bwMode="auto">
          <a:xfrm>
            <a:off x="1779588" y="2300288"/>
            <a:ext cx="4205287" cy="3070225"/>
          </a:xfrm>
          <a:custGeom>
            <a:avLst/>
            <a:gdLst>
              <a:gd name="T0" fmla="*/ 1296 w 1533"/>
              <a:gd name="T1" fmla="*/ 1119 h 1119"/>
              <a:gd name="T2" fmla="*/ 1533 w 1533"/>
              <a:gd name="T3" fmla="*/ 882 h 1119"/>
              <a:gd name="T4" fmla="*/ 1533 w 1533"/>
              <a:gd name="T5" fmla="*/ 10 h 1119"/>
              <a:gd name="T6" fmla="*/ 1523 w 1533"/>
              <a:gd name="T7" fmla="*/ 0 h 1119"/>
              <a:gd name="T8" fmla="*/ 1513 w 1533"/>
              <a:gd name="T9" fmla="*/ 10 h 1119"/>
              <a:gd name="T10" fmla="*/ 1513 w 1533"/>
              <a:gd name="T11" fmla="*/ 10 h 1119"/>
              <a:gd name="T12" fmla="*/ 1513 w 1533"/>
              <a:gd name="T13" fmla="*/ 882 h 1119"/>
              <a:gd name="T14" fmla="*/ 1449 w 1533"/>
              <a:gd name="T15" fmla="*/ 1035 h 1119"/>
              <a:gd name="T16" fmla="*/ 1296 w 1533"/>
              <a:gd name="T17" fmla="*/ 1099 h 1119"/>
              <a:gd name="T18" fmla="*/ 0 w 1533"/>
              <a:gd name="T19" fmla="*/ 1099 h 1119"/>
              <a:gd name="T20" fmla="*/ 0 w 1533"/>
              <a:gd name="T21" fmla="*/ 1119 h 1119"/>
              <a:gd name="T22" fmla="*/ 1296 w 1533"/>
              <a:gd name="T23" fmla="*/ 1119 h 11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533"/>
              <a:gd name="T37" fmla="*/ 0 h 1119"/>
              <a:gd name="T38" fmla="*/ 1533 w 1533"/>
              <a:gd name="T39" fmla="*/ 1119 h 111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533" h="1119">
                <a:moveTo>
                  <a:pt x="1296" y="1119"/>
                </a:moveTo>
                <a:cubicBezTo>
                  <a:pt x="1427" y="1119"/>
                  <a:pt x="1533" y="1012"/>
                  <a:pt x="1533" y="882"/>
                </a:cubicBezTo>
                <a:cubicBezTo>
                  <a:pt x="1533" y="10"/>
                  <a:pt x="1533" y="10"/>
                  <a:pt x="1533" y="10"/>
                </a:cubicBezTo>
                <a:cubicBezTo>
                  <a:pt x="1533" y="5"/>
                  <a:pt x="1529" y="0"/>
                  <a:pt x="1523" y="0"/>
                </a:cubicBezTo>
                <a:cubicBezTo>
                  <a:pt x="1518" y="0"/>
                  <a:pt x="1513" y="5"/>
                  <a:pt x="1513" y="10"/>
                </a:cubicBezTo>
                <a:cubicBezTo>
                  <a:pt x="1513" y="10"/>
                  <a:pt x="1513" y="10"/>
                  <a:pt x="1513" y="10"/>
                </a:cubicBezTo>
                <a:cubicBezTo>
                  <a:pt x="1513" y="882"/>
                  <a:pt x="1513" y="882"/>
                  <a:pt x="1513" y="882"/>
                </a:cubicBezTo>
                <a:cubicBezTo>
                  <a:pt x="1513" y="942"/>
                  <a:pt x="1489" y="996"/>
                  <a:pt x="1449" y="1035"/>
                </a:cubicBezTo>
                <a:cubicBezTo>
                  <a:pt x="1410" y="1074"/>
                  <a:pt x="1356" y="1099"/>
                  <a:pt x="1296" y="1099"/>
                </a:cubicBezTo>
                <a:cubicBezTo>
                  <a:pt x="0" y="1099"/>
                  <a:pt x="0" y="1099"/>
                  <a:pt x="0" y="1099"/>
                </a:cubicBezTo>
                <a:cubicBezTo>
                  <a:pt x="0" y="1119"/>
                  <a:pt x="0" y="1119"/>
                  <a:pt x="0" y="1119"/>
                </a:cubicBezTo>
                <a:cubicBezTo>
                  <a:pt x="1296" y="1119"/>
                  <a:pt x="1296" y="1119"/>
                  <a:pt x="1296" y="1119"/>
                </a:cubicBezTo>
              </a:path>
            </a:pathLst>
          </a:custGeom>
          <a:solidFill>
            <a:srgbClr val="339E35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38" name="Rectangle 13"/>
          <p:cNvSpPr>
            <a:spLocks noChangeArrowheads="1"/>
          </p:cNvSpPr>
          <p:nvPr/>
        </p:nvSpPr>
        <p:spPr bwMode="auto">
          <a:xfrm>
            <a:off x="1038225" y="5314950"/>
            <a:ext cx="1123950" cy="55563"/>
          </a:xfrm>
          <a:prstGeom prst="rect">
            <a:avLst/>
          </a:prstGeom>
          <a:solidFill>
            <a:srgbClr val="339E35"/>
          </a:soli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39" name="Freeform 14"/>
          <p:cNvSpPr>
            <a:spLocks/>
          </p:cNvSpPr>
          <p:nvPr/>
        </p:nvSpPr>
        <p:spPr bwMode="auto">
          <a:xfrm>
            <a:off x="2555875" y="4583113"/>
            <a:ext cx="5994400" cy="2274887"/>
          </a:xfrm>
          <a:custGeom>
            <a:avLst/>
            <a:gdLst>
              <a:gd name="T0" fmla="*/ 2185 w 2185"/>
              <a:gd name="T1" fmla="*/ 829 h 829"/>
              <a:gd name="T2" fmla="*/ 2185 w 2185"/>
              <a:gd name="T3" fmla="*/ 788 h 829"/>
              <a:gd name="T4" fmla="*/ 2185 w 2185"/>
              <a:gd name="T5" fmla="*/ 643 h 829"/>
              <a:gd name="T6" fmla="*/ 2114 w 2185"/>
              <a:gd name="T7" fmla="*/ 533 h 829"/>
              <a:gd name="T8" fmla="*/ 1948 w 2185"/>
              <a:gd name="T9" fmla="*/ 488 h 829"/>
              <a:gd name="T10" fmla="*/ 237 w 2185"/>
              <a:gd name="T11" fmla="*/ 488 h 829"/>
              <a:gd name="T12" fmla="*/ 84 w 2185"/>
              <a:gd name="T13" fmla="*/ 425 h 829"/>
              <a:gd name="T14" fmla="*/ 20 w 2185"/>
              <a:gd name="T15" fmla="*/ 272 h 829"/>
              <a:gd name="T16" fmla="*/ 20 w 2185"/>
              <a:gd name="T17" fmla="*/ 10 h 829"/>
              <a:gd name="T18" fmla="*/ 10 w 2185"/>
              <a:gd name="T19" fmla="*/ 0 h 829"/>
              <a:gd name="T20" fmla="*/ 0 w 2185"/>
              <a:gd name="T21" fmla="*/ 10 h 829"/>
              <a:gd name="T22" fmla="*/ 0 w 2185"/>
              <a:gd name="T23" fmla="*/ 10 h 829"/>
              <a:gd name="T24" fmla="*/ 0 w 2185"/>
              <a:gd name="T25" fmla="*/ 272 h 829"/>
              <a:gd name="T26" fmla="*/ 237 w 2185"/>
              <a:gd name="T27" fmla="*/ 508 h 829"/>
              <a:gd name="T28" fmla="*/ 1948 w 2185"/>
              <a:gd name="T29" fmla="*/ 508 h 829"/>
              <a:gd name="T30" fmla="*/ 2103 w 2185"/>
              <a:gd name="T31" fmla="*/ 549 h 829"/>
              <a:gd name="T32" fmla="*/ 2165 w 2185"/>
              <a:gd name="T33" fmla="*/ 643 h 829"/>
              <a:gd name="T34" fmla="*/ 2165 w 2185"/>
              <a:gd name="T35" fmla="*/ 788 h 829"/>
              <a:gd name="T36" fmla="*/ 2165 w 2185"/>
              <a:gd name="T37" fmla="*/ 829 h 829"/>
              <a:gd name="T38" fmla="*/ 2185 w 2185"/>
              <a:gd name="T39" fmla="*/ 829 h 82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185"/>
              <a:gd name="T61" fmla="*/ 0 h 829"/>
              <a:gd name="T62" fmla="*/ 2185 w 2185"/>
              <a:gd name="T63" fmla="*/ 829 h 82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185" h="829">
                <a:moveTo>
                  <a:pt x="2185" y="829"/>
                </a:moveTo>
                <a:cubicBezTo>
                  <a:pt x="2185" y="788"/>
                  <a:pt x="2185" y="788"/>
                  <a:pt x="2185" y="788"/>
                </a:cubicBezTo>
                <a:cubicBezTo>
                  <a:pt x="2185" y="788"/>
                  <a:pt x="2185" y="723"/>
                  <a:pt x="2185" y="643"/>
                </a:cubicBezTo>
                <a:cubicBezTo>
                  <a:pt x="2185" y="599"/>
                  <a:pt x="2157" y="560"/>
                  <a:pt x="2114" y="533"/>
                </a:cubicBezTo>
                <a:cubicBezTo>
                  <a:pt x="2071" y="505"/>
                  <a:pt x="2012" y="489"/>
                  <a:pt x="1948" y="488"/>
                </a:cubicBezTo>
                <a:cubicBezTo>
                  <a:pt x="237" y="488"/>
                  <a:pt x="237" y="488"/>
                  <a:pt x="237" y="488"/>
                </a:cubicBezTo>
                <a:cubicBezTo>
                  <a:pt x="178" y="488"/>
                  <a:pt x="123" y="464"/>
                  <a:pt x="84" y="425"/>
                </a:cubicBezTo>
                <a:cubicBezTo>
                  <a:pt x="45" y="385"/>
                  <a:pt x="20" y="331"/>
                  <a:pt x="20" y="272"/>
                </a:cubicBezTo>
                <a:cubicBezTo>
                  <a:pt x="20" y="10"/>
                  <a:pt x="20" y="10"/>
                  <a:pt x="20" y="10"/>
                </a:cubicBezTo>
                <a:cubicBezTo>
                  <a:pt x="20" y="5"/>
                  <a:pt x="16" y="0"/>
                  <a:pt x="10" y="0"/>
                </a:cubicBezTo>
                <a:cubicBezTo>
                  <a:pt x="5" y="0"/>
                  <a:pt x="0" y="5"/>
                  <a:pt x="0" y="10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272"/>
                  <a:pt x="0" y="272"/>
                  <a:pt x="0" y="272"/>
                </a:cubicBezTo>
                <a:cubicBezTo>
                  <a:pt x="0" y="402"/>
                  <a:pt x="107" y="508"/>
                  <a:pt x="237" y="508"/>
                </a:cubicBezTo>
                <a:cubicBezTo>
                  <a:pt x="1948" y="508"/>
                  <a:pt x="1948" y="508"/>
                  <a:pt x="1948" y="508"/>
                </a:cubicBezTo>
                <a:cubicBezTo>
                  <a:pt x="2009" y="508"/>
                  <a:pt x="2064" y="524"/>
                  <a:pt x="2103" y="549"/>
                </a:cubicBezTo>
                <a:cubicBezTo>
                  <a:pt x="2142" y="574"/>
                  <a:pt x="2165" y="608"/>
                  <a:pt x="2165" y="643"/>
                </a:cubicBezTo>
                <a:cubicBezTo>
                  <a:pt x="2165" y="723"/>
                  <a:pt x="2165" y="788"/>
                  <a:pt x="2165" y="788"/>
                </a:cubicBezTo>
                <a:cubicBezTo>
                  <a:pt x="2165" y="829"/>
                  <a:pt x="2165" y="829"/>
                  <a:pt x="2165" y="829"/>
                </a:cubicBezTo>
                <a:cubicBezTo>
                  <a:pt x="2185" y="829"/>
                  <a:pt x="2185" y="829"/>
                  <a:pt x="2185" y="829"/>
                </a:cubicBezTo>
              </a:path>
            </a:pathLst>
          </a:custGeom>
          <a:solidFill>
            <a:srgbClr val="3369E8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40" name="Freeform 15"/>
          <p:cNvSpPr>
            <a:spLocks/>
          </p:cNvSpPr>
          <p:nvPr/>
        </p:nvSpPr>
        <p:spPr bwMode="auto">
          <a:xfrm>
            <a:off x="1382713" y="3603625"/>
            <a:ext cx="676275" cy="1179513"/>
          </a:xfrm>
          <a:custGeom>
            <a:avLst/>
            <a:gdLst>
              <a:gd name="T0" fmla="*/ 247 w 247"/>
              <a:gd name="T1" fmla="*/ 415 h 430"/>
              <a:gd name="T2" fmla="*/ 233 w 247"/>
              <a:gd name="T3" fmla="*/ 430 h 430"/>
              <a:gd name="T4" fmla="*/ 15 w 247"/>
              <a:gd name="T5" fmla="*/ 430 h 430"/>
              <a:gd name="T6" fmla="*/ 0 w 247"/>
              <a:gd name="T7" fmla="*/ 415 h 430"/>
              <a:gd name="T8" fmla="*/ 0 w 247"/>
              <a:gd name="T9" fmla="*/ 14 h 430"/>
              <a:gd name="T10" fmla="*/ 15 w 247"/>
              <a:gd name="T11" fmla="*/ 0 h 430"/>
              <a:gd name="T12" fmla="*/ 233 w 247"/>
              <a:gd name="T13" fmla="*/ 0 h 430"/>
              <a:gd name="T14" fmla="*/ 247 w 247"/>
              <a:gd name="T15" fmla="*/ 14 h 430"/>
              <a:gd name="T16" fmla="*/ 247 w 247"/>
              <a:gd name="T17" fmla="*/ 415 h 4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47"/>
              <a:gd name="T28" fmla="*/ 0 h 430"/>
              <a:gd name="T29" fmla="*/ 247 w 247"/>
              <a:gd name="T30" fmla="*/ 430 h 43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47" h="430">
                <a:moveTo>
                  <a:pt x="247" y="415"/>
                </a:moveTo>
                <a:cubicBezTo>
                  <a:pt x="247" y="423"/>
                  <a:pt x="241" y="430"/>
                  <a:pt x="233" y="430"/>
                </a:cubicBezTo>
                <a:cubicBezTo>
                  <a:pt x="15" y="430"/>
                  <a:pt x="15" y="430"/>
                  <a:pt x="15" y="430"/>
                </a:cubicBezTo>
                <a:cubicBezTo>
                  <a:pt x="7" y="430"/>
                  <a:pt x="0" y="423"/>
                  <a:pt x="0" y="415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6"/>
                  <a:pt x="7" y="0"/>
                  <a:pt x="15" y="0"/>
                </a:cubicBezTo>
                <a:cubicBezTo>
                  <a:pt x="233" y="0"/>
                  <a:pt x="233" y="0"/>
                  <a:pt x="233" y="0"/>
                </a:cubicBezTo>
                <a:cubicBezTo>
                  <a:pt x="241" y="0"/>
                  <a:pt x="247" y="6"/>
                  <a:pt x="247" y="14"/>
                </a:cubicBezTo>
                <a:lnTo>
                  <a:pt x="247" y="415"/>
                </a:lnTo>
                <a:close/>
              </a:path>
            </a:pathLst>
          </a:custGeom>
          <a:solidFill>
            <a:srgbClr val="D50F25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41" name="Freeform 16"/>
          <p:cNvSpPr>
            <a:spLocks/>
          </p:cNvSpPr>
          <p:nvPr/>
        </p:nvSpPr>
        <p:spPr bwMode="auto">
          <a:xfrm>
            <a:off x="1425575" y="3651250"/>
            <a:ext cx="587375" cy="965200"/>
          </a:xfrm>
          <a:custGeom>
            <a:avLst/>
            <a:gdLst>
              <a:gd name="T0" fmla="*/ 214 w 214"/>
              <a:gd name="T1" fmla="*/ 337 h 352"/>
              <a:gd name="T2" fmla="*/ 199 w 214"/>
              <a:gd name="T3" fmla="*/ 352 h 352"/>
              <a:gd name="T4" fmla="*/ 14 w 214"/>
              <a:gd name="T5" fmla="*/ 352 h 352"/>
              <a:gd name="T6" fmla="*/ 0 w 214"/>
              <a:gd name="T7" fmla="*/ 337 h 352"/>
              <a:gd name="T8" fmla="*/ 0 w 214"/>
              <a:gd name="T9" fmla="*/ 15 h 352"/>
              <a:gd name="T10" fmla="*/ 14 w 214"/>
              <a:gd name="T11" fmla="*/ 0 h 352"/>
              <a:gd name="T12" fmla="*/ 199 w 214"/>
              <a:gd name="T13" fmla="*/ 0 h 352"/>
              <a:gd name="T14" fmla="*/ 214 w 214"/>
              <a:gd name="T15" fmla="*/ 15 h 352"/>
              <a:gd name="T16" fmla="*/ 214 w 214"/>
              <a:gd name="T17" fmla="*/ 337 h 35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14"/>
              <a:gd name="T28" fmla="*/ 0 h 352"/>
              <a:gd name="T29" fmla="*/ 214 w 214"/>
              <a:gd name="T30" fmla="*/ 352 h 35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14" h="352">
                <a:moveTo>
                  <a:pt x="214" y="337"/>
                </a:moveTo>
                <a:cubicBezTo>
                  <a:pt x="214" y="345"/>
                  <a:pt x="207" y="352"/>
                  <a:pt x="199" y="352"/>
                </a:cubicBezTo>
                <a:cubicBezTo>
                  <a:pt x="14" y="352"/>
                  <a:pt x="14" y="352"/>
                  <a:pt x="14" y="352"/>
                </a:cubicBezTo>
                <a:cubicBezTo>
                  <a:pt x="6" y="352"/>
                  <a:pt x="0" y="345"/>
                  <a:pt x="0" y="337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7"/>
                  <a:pt x="6" y="0"/>
                  <a:pt x="14" y="0"/>
                </a:cubicBezTo>
                <a:cubicBezTo>
                  <a:pt x="199" y="0"/>
                  <a:pt x="199" y="0"/>
                  <a:pt x="199" y="0"/>
                </a:cubicBezTo>
                <a:cubicBezTo>
                  <a:pt x="207" y="0"/>
                  <a:pt x="214" y="7"/>
                  <a:pt x="214" y="15"/>
                </a:cubicBezTo>
                <a:lnTo>
                  <a:pt x="214" y="337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42" name="Oval 17"/>
          <p:cNvSpPr>
            <a:spLocks noChangeArrowheads="1"/>
          </p:cNvSpPr>
          <p:nvPr/>
        </p:nvSpPr>
        <p:spPr bwMode="auto">
          <a:xfrm>
            <a:off x="1671638" y="4638675"/>
            <a:ext cx="114300" cy="115888"/>
          </a:xfrm>
          <a:prstGeom prst="ellipse">
            <a:avLst/>
          </a:pr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43" name="Oval 18"/>
          <p:cNvSpPr>
            <a:spLocks noChangeArrowheads="1"/>
          </p:cNvSpPr>
          <p:nvPr/>
        </p:nvSpPr>
        <p:spPr bwMode="auto">
          <a:xfrm>
            <a:off x="3810000" y="4503738"/>
            <a:ext cx="1300163" cy="1303337"/>
          </a:xfrm>
          <a:prstGeom prst="ellipse">
            <a:avLst/>
          </a:prstGeom>
          <a:solidFill>
            <a:srgbClr val="58595B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44" name="Freeform 19"/>
          <p:cNvSpPr>
            <a:spLocks/>
          </p:cNvSpPr>
          <p:nvPr/>
        </p:nvSpPr>
        <p:spPr bwMode="auto">
          <a:xfrm>
            <a:off x="5019675" y="4895850"/>
            <a:ext cx="25400" cy="30163"/>
          </a:xfrm>
          <a:custGeom>
            <a:avLst/>
            <a:gdLst>
              <a:gd name="T0" fmla="*/ 4 w 9"/>
              <a:gd name="T1" fmla="*/ 10 h 11"/>
              <a:gd name="T2" fmla="*/ 4 w 9"/>
              <a:gd name="T3" fmla="*/ 9 h 11"/>
              <a:gd name="T4" fmla="*/ 5 w 9"/>
              <a:gd name="T5" fmla="*/ 9 h 11"/>
              <a:gd name="T6" fmla="*/ 7 w 9"/>
              <a:gd name="T7" fmla="*/ 7 h 11"/>
              <a:gd name="T8" fmla="*/ 8 w 9"/>
              <a:gd name="T9" fmla="*/ 6 h 11"/>
              <a:gd name="T10" fmla="*/ 7 w 9"/>
              <a:gd name="T11" fmla="*/ 6 h 11"/>
              <a:gd name="T12" fmla="*/ 7 w 9"/>
              <a:gd name="T13" fmla="*/ 5 h 11"/>
              <a:gd name="T14" fmla="*/ 6 w 9"/>
              <a:gd name="T15" fmla="*/ 0 h 11"/>
              <a:gd name="T16" fmla="*/ 5 w 9"/>
              <a:gd name="T17" fmla="*/ 0 h 11"/>
              <a:gd name="T18" fmla="*/ 4 w 9"/>
              <a:gd name="T19" fmla="*/ 7 h 11"/>
              <a:gd name="T20" fmla="*/ 0 w 9"/>
              <a:gd name="T21" fmla="*/ 10 h 11"/>
              <a:gd name="T22" fmla="*/ 4 w 9"/>
              <a:gd name="T23" fmla="*/ 10 h 1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9"/>
              <a:gd name="T37" fmla="*/ 0 h 11"/>
              <a:gd name="T38" fmla="*/ 9 w 9"/>
              <a:gd name="T39" fmla="*/ 11 h 1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9" h="11">
                <a:moveTo>
                  <a:pt x="4" y="10"/>
                </a:moveTo>
                <a:cubicBezTo>
                  <a:pt x="5" y="9"/>
                  <a:pt x="4" y="9"/>
                  <a:pt x="4" y="9"/>
                </a:cubicBezTo>
                <a:cubicBezTo>
                  <a:pt x="5" y="9"/>
                  <a:pt x="5" y="9"/>
                  <a:pt x="5" y="9"/>
                </a:cubicBezTo>
                <a:cubicBezTo>
                  <a:pt x="5" y="8"/>
                  <a:pt x="6" y="8"/>
                  <a:pt x="7" y="7"/>
                </a:cubicBezTo>
                <a:cubicBezTo>
                  <a:pt x="7" y="7"/>
                  <a:pt x="7" y="6"/>
                  <a:pt x="8" y="6"/>
                </a:cubicBezTo>
                <a:cubicBezTo>
                  <a:pt x="8" y="5"/>
                  <a:pt x="7" y="6"/>
                  <a:pt x="7" y="6"/>
                </a:cubicBezTo>
                <a:cubicBezTo>
                  <a:pt x="7" y="5"/>
                  <a:pt x="7" y="5"/>
                  <a:pt x="7" y="5"/>
                </a:cubicBezTo>
                <a:cubicBezTo>
                  <a:pt x="9" y="6"/>
                  <a:pt x="6" y="1"/>
                  <a:pt x="6" y="0"/>
                </a:cubicBezTo>
                <a:cubicBezTo>
                  <a:pt x="5" y="0"/>
                  <a:pt x="5" y="0"/>
                  <a:pt x="5" y="0"/>
                </a:cubicBezTo>
                <a:cubicBezTo>
                  <a:pt x="6" y="2"/>
                  <a:pt x="5" y="6"/>
                  <a:pt x="4" y="7"/>
                </a:cubicBezTo>
                <a:cubicBezTo>
                  <a:pt x="3" y="9"/>
                  <a:pt x="2" y="10"/>
                  <a:pt x="0" y="10"/>
                </a:cubicBezTo>
                <a:cubicBezTo>
                  <a:pt x="2" y="11"/>
                  <a:pt x="3" y="11"/>
                  <a:pt x="4" y="1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45" name="Freeform 20"/>
          <p:cNvSpPr>
            <a:spLocks/>
          </p:cNvSpPr>
          <p:nvPr/>
        </p:nvSpPr>
        <p:spPr bwMode="auto">
          <a:xfrm>
            <a:off x="4718050" y="4951413"/>
            <a:ext cx="52388" cy="79375"/>
          </a:xfrm>
          <a:custGeom>
            <a:avLst/>
            <a:gdLst>
              <a:gd name="T0" fmla="*/ 18 w 19"/>
              <a:gd name="T1" fmla="*/ 23 h 29"/>
              <a:gd name="T2" fmla="*/ 17 w 19"/>
              <a:gd name="T3" fmla="*/ 22 h 29"/>
              <a:gd name="T4" fmla="*/ 16 w 19"/>
              <a:gd name="T5" fmla="*/ 22 h 29"/>
              <a:gd name="T6" fmla="*/ 16 w 19"/>
              <a:gd name="T7" fmla="*/ 21 h 29"/>
              <a:gd name="T8" fmla="*/ 17 w 19"/>
              <a:gd name="T9" fmla="*/ 21 h 29"/>
              <a:gd name="T10" fmla="*/ 16 w 19"/>
              <a:gd name="T11" fmla="*/ 20 h 29"/>
              <a:gd name="T12" fmla="*/ 15 w 19"/>
              <a:gd name="T13" fmla="*/ 21 h 29"/>
              <a:gd name="T14" fmla="*/ 13 w 19"/>
              <a:gd name="T15" fmla="*/ 13 h 29"/>
              <a:gd name="T16" fmla="*/ 12 w 19"/>
              <a:gd name="T17" fmla="*/ 13 h 29"/>
              <a:gd name="T18" fmla="*/ 10 w 19"/>
              <a:gd name="T19" fmla="*/ 12 h 29"/>
              <a:gd name="T20" fmla="*/ 9 w 19"/>
              <a:gd name="T21" fmla="*/ 9 h 29"/>
              <a:gd name="T22" fmla="*/ 7 w 19"/>
              <a:gd name="T23" fmla="*/ 8 h 29"/>
              <a:gd name="T24" fmla="*/ 10 w 19"/>
              <a:gd name="T25" fmla="*/ 8 h 29"/>
              <a:gd name="T26" fmla="*/ 9 w 19"/>
              <a:gd name="T27" fmla="*/ 7 h 29"/>
              <a:gd name="T28" fmla="*/ 15 w 19"/>
              <a:gd name="T29" fmla="*/ 7 h 29"/>
              <a:gd name="T30" fmla="*/ 15 w 19"/>
              <a:gd name="T31" fmla="*/ 7 h 29"/>
              <a:gd name="T32" fmla="*/ 16 w 19"/>
              <a:gd name="T33" fmla="*/ 7 h 29"/>
              <a:gd name="T34" fmla="*/ 15 w 19"/>
              <a:gd name="T35" fmla="*/ 6 h 29"/>
              <a:gd name="T36" fmla="*/ 10 w 19"/>
              <a:gd name="T37" fmla="*/ 3 h 29"/>
              <a:gd name="T38" fmla="*/ 8 w 19"/>
              <a:gd name="T39" fmla="*/ 2 h 29"/>
              <a:gd name="T40" fmla="*/ 3 w 19"/>
              <a:gd name="T41" fmla="*/ 4 h 29"/>
              <a:gd name="T42" fmla="*/ 4 w 19"/>
              <a:gd name="T43" fmla="*/ 5 h 29"/>
              <a:gd name="T44" fmla="*/ 1 w 19"/>
              <a:gd name="T45" fmla="*/ 6 h 29"/>
              <a:gd name="T46" fmla="*/ 0 w 19"/>
              <a:gd name="T47" fmla="*/ 8 h 29"/>
              <a:gd name="T48" fmla="*/ 2 w 19"/>
              <a:gd name="T49" fmla="*/ 10 h 29"/>
              <a:gd name="T50" fmla="*/ 8 w 19"/>
              <a:gd name="T51" fmla="*/ 19 h 29"/>
              <a:gd name="T52" fmla="*/ 10 w 19"/>
              <a:gd name="T53" fmla="*/ 20 h 29"/>
              <a:gd name="T54" fmla="*/ 8 w 19"/>
              <a:gd name="T55" fmla="*/ 20 h 29"/>
              <a:gd name="T56" fmla="*/ 8 w 19"/>
              <a:gd name="T57" fmla="*/ 22 h 29"/>
              <a:gd name="T58" fmla="*/ 7 w 19"/>
              <a:gd name="T59" fmla="*/ 23 h 29"/>
              <a:gd name="T60" fmla="*/ 7 w 19"/>
              <a:gd name="T61" fmla="*/ 22 h 29"/>
              <a:gd name="T62" fmla="*/ 10 w 19"/>
              <a:gd name="T63" fmla="*/ 27 h 29"/>
              <a:gd name="T64" fmla="*/ 15 w 19"/>
              <a:gd name="T65" fmla="*/ 29 h 29"/>
              <a:gd name="T66" fmla="*/ 19 w 19"/>
              <a:gd name="T67" fmla="*/ 28 h 29"/>
              <a:gd name="T68" fmla="*/ 18 w 19"/>
              <a:gd name="T69" fmla="*/ 23 h 2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9"/>
              <a:gd name="T106" fmla="*/ 0 h 29"/>
              <a:gd name="T107" fmla="*/ 19 w 19"/>
              <a:gd name="T108" fmla="*/ 29 h 29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9" h="29">
                <a:moveTo>
                  <a:pt x="18" y="23"/>
                </a:moveTo>
                <a:cubicBezTo>
                  <a:pt x="17" y="23"/>
                  <a:pt x="17" y="22"/>
                  <a:pt x="17" y="22"/>
                </a:cubicBezTo>
                <a:cubicBezTo>
                  <a:pt x="16" y="22"/>
                  <a:pt x="16" y="22"/>
                  <a:pt x="16" y="22"/>
                </a:cubicBezTo>
                <a:cubicBezTo>
                  <a:pt x="16" y="22"/>
                  <a:pt x="16" y="21"/>
                  <a:pt x="16" y="21"/>
                </a:cubicBezTo>
                <a:cubicBezTo>
                  <a:pt x="17" y="21"/>
                  <a:pt x="17" y="21"/>
                  <a:pt x="17" y="21"/>
                </a:cubicBezTo>
                <a:cubicBezTo>
                  <a:pt x="17" y="21"/>
                  <a:pt x="16" y="21"/>
                  <a:pt x="16" y="20"/>
                </a:cubicBezTo>
                <a:cubicBezTo>
                  <a:pt x="16" y="20"/>
                  <a:pt x="15" y="20"/>
                  <a:pt x="15" y="21"/>
                </a:cubicBezTo>
                <a:cubicBezTo>
                  <a:pt x="15" y="18"/>
                  <a:pt x="13" y="16"/>
                  <a:pt x="13" y="13"/>
                </a:cubicBezTo>
                <a:cubicBezTo>
                  <a:pt x="13" y="13"/>
                  <a:pt x="12" y="13"/>
                  <a:pt x="12" y="13"/>
                </a:cubicBezTo>
                <a:cubicBezTo>
                  <a:pt x="11" y="13"/>
                  <a:pt x="11" y="12"/>
                  <a:pt x="10" y="12"/>
                </a:cubicBezTo>
                <a:cubicBezTo>
                  <a:pt x="10" y="11"/>
                  <a:pt x="9" y="10"/>
                  <a:pt x="9" y="9"/>
                </a:cubicBezTo>
                <a:cubicBezTo>
                  <a:pt x="8" y="9"/>
                  <a:pt x="7" y="9"/>
                  <a:pt x="7" y="8"/>
                </a:cubicBezTo>
                <a:cubicBezTo>
                  <a:pt x="8" y="8"/>
                  <a:pt x="9" y="9"/>
                  <a:pt x="10" y="8"/>
                </a:cubicBezTo>
                <a:cubicBezTo>
                  <a:pt x="9" y="8"/>
                  <a:pt x="9" y="8"/>
                  <a:pt x="9" y="7"/>
                </a:cubicBezTo>
                <a:cubicBezTo>
                  <a:pt x="9" y="5"/>
                  <a:pt x="13" y="7"/>
                  <a:pt x="15" y="7"/>
                </a:cubicBezTo>
                <a:cubicBezTo>
                  <a:pt x="15" y="7"/>
                  <a:pt x="15" y="7"/>
                  <a:pt x="15" y="7"/>
                </a:cubicBezTo>
                <a:cubicBezTo>
                  <a:pt x="15" y="7"/>
                  <a:pt x="15" y="7"/>
                  <a:pt x="16" y="7"/>
                </a:cubicBezTo>
                <a:cubicBezTo>
                  <a:pt x="15" y="7"/>
                  <a:pt x="15" y="6"/>
                  <a:pt x="15" y="6"/>
                </a:cubicBezTo>
                <a:cubicBezTo>
                  <a:pt x="11" y="8"/>
                  <a:pt x="14" y="0"/>
                  <a:pt x="10" y="3"/>
                </a:cubicBezTo>
                <a:cubicBezTo>
                  <a:pt x="9" y="2"/>
                  <a:pt x="9" y="2"/>
                  <a:pt x="8" y="2"/>
                </a:cubicBezTo>
                <a:cubicBezTo>
                  <a:pt x="6" y="3"/>
                  <a:pt x="5" y="3"/>
                  <a:pt x="3" y="4"/>
                </a:cubicBezTo>
                <a:cubicBezTo>
                  <a:pt x="3" y="5"/>
                  <a:pt x="4" y="5"/>
                  <a:pt x="4" y="5"/>
                </a:cubicBezTo>
                <a:cubicBezTo>
                  <a:pt x="3" y="5"/>
                  <a:pt x="2" y="6"/>
                  <a:pt x="1" y="6"/>
                </a:cubicBezTo>
                <a:cubicBezTo>
                  <a:pt x="1" y="7"/>
                  <a:pt x="1" y="8"/>
                  <a:pt x="0" y="8"/>
                </a:cubicBezTo>
                <a:cubicBezTo>
                  <a:pt x="0" y="9"/>
                  <a:pt x="2" y="10"/>
                  <a:pt x="2" y="10"/>
                </a:cubicBezTo>
                <a:cubicBezTo>
                  <a:pt x="2" y="15"/>
                  <a:pt x="6" y="16"/>
                  <a:pt x="8" y="19"/>
                </a:cubicBezTo>
                <a:cubicBezTo>
                  <a:pt x="9" y="19"/>
                  <a:pt x="10" y="19"/>
                  <a:pt x="10" y="20"/>
                </a:cubicBezTo>
                <a:cubicBezTo>
                  <a:pt x="9" y="19"/>
                  <a:pt x="8" y="20"/>
                  <a:pt x="8" y="20"/>
                </a:cubicBezTo>
                <a:cubicBezTo>
                  <a:pt x="8" y="21"/>
                  <a:pt x="8" y="22"/>
                  <a:pt x="8" y="22"/>
                </a:cubicBezTo>
                <a:cubicBezTo>
                  <a:pt x="7" y="22"/>
                  <a:pt x="8" y="23"/>
                  <a:pt x="7" y="23"/>
                </a:cubicBezTo>
                <a:cubicBezTo>
                  <a:pt x="7" y="22"/>
                  <a:pt x="7" y="22"/>
                  <a:pt x="7" y="22"/>
                </a:cubicBezTo>
                <a:cubicBezTo>
                  <a:pt x="7" y="26"/>
                  <a:pt x="8" y="26"/>
                  <a:pt x="10" y="27"/>
                </a:cubicBezTo>
                <a:cubicBezTo>
                  <a:pt x="12" y="28"/>
                  <a:pt x="13" y="29"/>
                  <a:pt x="15" y="29"/>
                </a:cubicBezTo>
                <a:cubicBezTo>
                  <a:pt x="16" y="29"/>
                  <a:pt x="17" y="28"/>
                  <a:pt x="19" y="28"/>
                </a:cubicBezTo>
                <a:cubicBezTo>
                  <a:pt x="18" y="27"/>
                  <a:pt x="18" y="25"/>
                  <a:pt x="18" y="23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46" name="Freeform 21"/>
          <p:cNvSpPr>
            <a:spLocks/>
          </p:cNvSpPr>
          <p:nvPr/>
        </p:nvSpPr>
        <p:spPr bwMode="auto">
          <a:xfrm>
            <a:off x="4608513" y="4956175"/>
            <a:ext cx="90487" cy="50800"/>
          </a:xfrm>
          <a:custGeom>
            <a:avLst/>
            <a:gdLst>
              <a:gd name="T0" fmla="*/ 19 w 33"/>
              <a:gd name="T1" fmla="*/ 5 h 18"/>
              <a:gd name="T2" fmla="*/ 19 w 33"/>
              <a:gd name="T3" fmla="*/ 4 h 18"/>
              <a:gd name="T4" fmla="*/ 21 w 33"/>
              <a:gd name="T5" fmla="*/ 5 h 18"/>
              <a:gd name="T6" fmla="*/ 22 w 33"/>
              <a:gd name="T7" fmla="*/ 2 h 18"/>
              <a:gd name="T8" fmla="*/ 21 w 33"/>
              <a:gd name="T9" fmla="*/ 1 h 18"/>
              <a:gd name="T10" fmla="*/ 23 w 33"/>
              <a:gd name="T11" fmla="*/ 0 h 18"/>
              <a:gd name="T12" fmla="*/ 15 w 33"/>
              <a:gd name="T13" fmla="*/ 2 h 18"/>
              <a:gd name="T14" fmla="*/ 15 w 33"/>
              <a:gd name="T15" fmla="*/ 3 h 18"/>
              <a:gd name="T16" fmla="*/ 14 w 33"/>
              <a:gd name="T17" fmla="*/ 2 h 18"/>
              <a:gd name="T18" fmla="*/ 15 w 33"/>
              <a:gd name="T19" fmla="*/ 4 h 18"/>
              <a:gd name="T20" fmla="*/ 17 w 33"/>
              <a:gd name="T21" fmla="*/ 4 h 18"/>
              <a:gd name="T22" fmla="*/ 19 w 33"/>
              <a:gd name="T23" fmla="*/ 4 h 18"/>
              <a:gd name="T24" fmla="*/ 18 w 33"/>
              <a:gd name="T25" fmla="*/ 5 h 18"/>
              <a:gd name="T26" fmla="*/ 16 w 33"/>
              <a:gd name="T27" fmla="*/ 5 h 18"/>
              <a:gd name="T28" fmla="*/ 16 w 33"/>
              <a:gd name="T29" fmla="*/ 6 h 18"/>
              <a:gd name="T30" fmla="*/ 12 w 33"/>
              <a:gd name="T31" fmla="*/ 6 h 18"/>
              <a:gd name="T32" fmla="*/ 12 w 33"/>
              <a:gd name="T33" fmla="*/ 5 h 18"/>
              <a:gd name="T34" fmla="*/ 10 w 33"/>
              <a:gd name="T35" fmla="*/ 4 h 18"/>
              <a:gd name="T36" fmla="*/ 12 w 33"/>
              <a:gd name="T37" fmla="*/ 3 h 18"/>
              <a:gd name="T38" fmla="*/ 12 w 33"/>
              <a:gd name="T39" fmla="*/ 2 h 18"/>
              <a:gd name="T40" fmla="*/ 9 w 33"/>
              <a:gd name="T41" fmla="*/ 2 h 18"/>
              <a:gd name="T42" fmla="*/ 8 w 33"/>
              <a:gd name="T43" fmla="*/ 2 h 18"/>
              <a:gd name="T44" fmla="*/ 9 w 33"/>
              <a:gd name="T45" fmla="*/ 2 h 18"/>
              <a:gd name="T46" fmla="*/ 7 w 33"/>
              <a:gd name="T47" fmla="*/ 1 h 18"/>
              <a:gd name="T48" fmla="*/ 6 w 33"/>
              <a:gd name="T49" fmla="*/ 1 h 18"/>
              <a:gd name="T50" fmla="*/ 4 w 33"/>
              <a:gd name="T51" fmla="*/ 4 h 18"/>
              <a:gd name="T52" fmla="*/ 4 w 33"/>
              <a:gd name="T53" fmla="*/ 6 h 18"/>
              <a:gd name="T54" fmla="*/ 3 w 33"/>
              <a:gd name="T55" fmla="*/ 6 h 18"/>
              <a:gd name="T56" fmla="*/ 3 w 33"/>
              <a:gd name="T57" fmla="*/ 5 h 18"/>
              <a:gd name="T58" fmla="*/ 2 w 33"/>
              <a:gd name="T59" fmla="*/ 9 h 18"/>
              <a:gd name="T60" fmla="*/ 2 w 33"/>
              <a:gd name="T61" fmla="*/ 9 h 18"/>
              <a:gd name="T62" fmla="*/ 1 w 33"/>
              <a:gd name="T63" fmla="*/ 11 h 18"/>
              <a:gd name="T64" fmla="*/ 0 w 33"/>
              <a:gd name="T65" fmla="*/ 12 h 18"/>
              <a:gd name="T66" fmla="*/ 9 w 33"/>
              <a:gd name="T67" fmla="*/ 15 h 18"/>
              <a:gd name="T68" fmla="*/ 17 w 33"/>
              <a:gd name="T69" fmla="*/ 14 h 18"/>
              <a:gd name="T70" fmla="*/ 19 w 33"/>
              <a:gd name="T71" fmla="*/ 14 h 18"/>
              <a:gd name="T72" fmla="*/ 19 w 33"/>
              <a:gd name="T73" fmla="*/ 15 h 18"/>
              <a:gd name="T74" fmla="*/ 30 w 33"/>
              <a:gd name="T75" fmla="*/ 11 h 18"/>
              <a:gd name="T76" fmla="*/ 19 w 33"/>
              <a:gd name="T77" fmla="*/ 5 h 1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33"/>
              <a:gd name="T118" fmla="*/ 0 h 18"/>
              <a:gd name="T119" fmla="*/ 33 w 33"/>
              <a:gd name="T120" fmla="*/ 18 h 18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33" h="18">
                <a:moveTo>
                  <a:pt x="19" y="5"/>
                </a:moveTo>
                <a:cubicBezTo>
                  <a:pt x="19" y="5"/>
                  <a:pt x="19" y="4"/>
                  <a:pt x="19" y="4"/>
                </a:cubicBezTo>
                <a:cubicBezTo>
                  <a:pt x="20" y="5"/>
                  <a:pt x="20" y="4"/>
                  <a:pt x="21" y="5"/>
                </a:cubicBezTo>
                <a:cubicBezTo>
                  <a:pt x="20" y="3"/>
                  <a:pt x="22" y="2"/>
                  <a:pt x="22" y="2"/>
                </a:cubicBezTo>
                <a:cubicBezTo>
                  <a:pt x="22" y="2"/>
                  <a:pt x="21" y="2"/>
                  <a:pt x="21" y="1"/>
                </a:cubicBezTo>
                <a:cubicBezTo>
                  <a:pt x="22" y="1"/>
                  <a:pt x="23" y="0"/>
                  <a:pt x="23" y="0"/>
                </a:cubicBezTo>
                <a:cubicBezTo>
                  <a:pt x="19" y="0"/>
                  <a:pt x="18" y="1"/>
                  <a:pt x="15" y="2"/>
                </a:cubicBezTo>
                <a:cubicBezTo>
                  <a:pt x="14" y="3"/>
                  <a:pt x="15" y="3"/>
                  <a:pt x="15" y="3"/>
                </a:cubicBezTo>
                <a:cubicBezTo>
                  <a:pt x="14" y="2"/>
                  <a:pt x="14" y="2"/>
                  <a:pt x="14" y="2"/>
                </a:cubicBezTo>
                <a:cubicBezTo>
                  <a:pt x="14" y="4"/>
                  <a:pt x="16" y="3"/>
                  <a:pt x="15" y="4"/>
                </a:cubicBezTo>
                <a:cubicBezTo>
                  <a:pt x="16" y="4"/>
                  <a:pt x="17" y="5"/>
                  <a:pt x="17" y="4"/>
                </a:cubicBezTo>
                <a:cubicBezTo>
                  <a:pt x="17" y="5"/>
                  <a:pt x="18" y="4"/>
                  <a:pt x="19" y="4"/>
                </a:cubicBezTo>
                <a:cubicBezTo>
                  <a:pt x="18" y="5"/>
                  <a:pt x="18" y="5"/>
                  <a:pt x="18" y="5"/>
                </a:cubicBezTo>
                <a:cubicBezTo>
                  <a:pt x="18" y="5"/>
                  <a:pt x="17" y="5"/>
                  <a:pt x="16" y="5"/>
                </a:cubicBezTo>
                <a:cubicBezTo>
                  <a:pt x="16" y="6"/>
                  <a:pt x="16" y="6"/>
                  <a:pt x="16" y="6"/>
                </a:cubicBezTo>
                <a:cubicBezTo>
                  <a:pt x="14" y="5"/>
                  <a:pt x="13" y="8"/>
                  <a:pt x="12" y="6"/>
                </a:cubicBezTo>
                <a:cubicBezTo>
                  <a:pt x="12" y="6"/>
                  <a:pt x="13" y="5"/>
                  <a:pt x="12" y="5"/>
                </a:cubicBezTo>
                <a:cubicBezTo>
                  <a:pt x="11" y="5"/>
                  <a:pt x="11" y="4"/>
                  <a:pt x="10" y="4"/>
                </a:cubicBezTo>
                <a:cubicBezTo>
                  <a:pt x="10" y="3"/>
                  <a:pt x="12" y="3"/>
                  <a:pt x="12" y="3"/>
                </a:cubicBezTo>
                <a:cubicBezTo>
                  <a:pt x="12" y="2"/>
                  <a:pt x="12" y="2"/>
                  <a:pt x="12" y="2"/>
                </a:cubicBezTo>
                <a:cubicBezTo>
                  <a:pt x="12" y="2"/>
                  <a:pt x="8" y="3"/>
                  <a:pt x="9" y="2"/>
                </a:cubicBezTo>
                <a:cubicBezTo>
                  <a:pt x="9" y="2"/>
                  <a:pt x="8" y="2"/>
                  <a:pt x="8" y="2"/>
                </a:cubicBezTo>
                <a:cubicBezTo>
                  <a:pt x="9" y="2"/>
                  <a:pt x="9" y="2"/>
                  <a:pt x="9" y="2"/>
                </a:cubicBezTo>
                <a:cubicBezTo>
                  <a:pt x="8" y="2"/>
                  <a:pt x="8" y="2"/>
                  <a:pt x="7" y="1"/>
                </a:cubicBezTo>
                <a:cubicBezTo>
                  <a:pt x="6" y="1"/>
                  <a:pt x="6" y="1"/>
                  <a:pt x="6" y="1"/>
                </a:cubicBezTo>
                <a:cubicBezTo>
                  <a:pt x="6" y="3"/>
                  <a:pt x="5" y="4"/>
                  <a:pt x="4" y="4"/>
                </a:cubicBezTo>
                <a:cubicBezTo>
                  <a:pt x="5" y="4"/>
                  <a:pt x="4" y="5"/>
                  <a:pt x="4" y="6"/>
                </a:cubicBezTo>
                <a:cubicBezTo>
                  <a:pt x="4" y="6"/>
                  <a:pt x="3" y="6"/>
                  <a:pt x="3" y="6"/>
                </a:cubicBezTo>
                <a:cubicBezTo>
                  <a:pt x="3" y="6"/>
                  <a:pt x="3" y="5"/>
                  <a:pt x="3" y="5"/>
                </a:cubicBezTo>
                <a:cubicBezTo>
                  <a:pt x="3" y="7"/>
                  <a:pt x="2" y="7"/>
                  <a:pt x="2" y="9"/>
                </a:cubicBezTo>
                <a:cubicBezTo>
                  <a:pt x="2" y="10"/>
                  <a:pt x="2" y="10"/>
                  <a:pt x="2" y="9"/>
                </a:cubicBezTo>
                <a:cubicBezTo>
                  <a:pt x="1" y="10"/>
                  <a:pt x="1" y="10"/>
                  <a:pt x="1" y="11"/>
                </a:cubicBezTo>
                <a:cubicBezTo>
                  <a:pt x="1" y="11"/>
                  <a:pt x="1" y="12"/>
                  <a:pt x="0" y="12"/>
                </a:cubicBezTo>
                <a:cubicBezTo>
                  <a:pt x="1" y="15"/>
                  <a:pt x="5" y="16"/>
                  <a:pt x="9" y="15"/>
                </a:cubicBezTo>
                <a:cubicBezTo>
                  <a:pt x="10" y="13"/>
                  <a:pt x="16" y="12"/>
                  <a:pt x="17" y="14"/>
                </a:cubicBezTo>
                <a:cubicBezTo>
                  <a:pt x="18" y="14"/>
                  <a:pt x="18" y="14"/>
                  <a:pt x="19" y="14"/>
                </a:cubicBezTo>
                <a:cubicBezTo>
                  <a:pt x="19" y="14"/>
                  <a:pt x="19" y="15"/>
                  <a:pt x="19" y="15"/>
                </a:cubicBezTo>
                <a:cubicBezTo>
                  <a:pt x="22" y="16"/>
                  <a:pt x="33" y="18"/>
                  <a:pt x="30" y="11"/>
                </a:cubicBezTo>
                <a:cubicBezTo>
                  <a:pt x="26" y="9"/>
                  <a:pt x="23" y="7"/>
                  <a:pt x="19" y="5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47" name="Freeform 22"/>
          <p:cNvSpPr>
            <a:spLocks/>
          </p:cNvSpPr>
          <p:nvPr/>
        </p:nvSpPr>
        <p:spPr bwMode="auto">
          <a:xfrm>
            <a:off x="3878263" y="4849813"/>
            <a:ext cx="36512" cy="9525"/>
          </a:xfrm>
          <a:custGeom>
            <a:avLst/>
            <a:gdLst>
              <a:gd name="T0" fmla="*/ 13 w 13"/>
              <a:gd name="T1" fmla="*/ 0 h 4"/>
              <a:gd name="T2" fmla="*/ 4 w 13"/>
              <a:gd name="T3" fmla="*/ 2 h 4"/>
              <a:gd name="T4" fmla="*/ 2 w 13"/>
              <a:gd name="T5" fmla="*/ 1 h 4"/>
              <a:gd name="T6" fmla="*/ 2 w 13"/>
              <a:gd name="T7" fmla="*/ 1 h 4"/>
              <a:gd name="T8" fmla="*/ 2 w 13"/>
              <a:gd name="T9" fmla="*/ 1 h 4"/>
              <a:gd name="T10" fmla="*/ 2 w 13"/>
              <a:gd name="T11" fmla="*/ 2 h 4"/>
              <a:gd name="T12" fmla="*/ 1 w 13"/>
              <a:gd name="T13" fmla="*/ 2 h 4"/>
              <a:gd name="T14" fmla="*/ 0 w 13"/>
              <a:gd name="T15" fmla="*/ 4 h 4"/>
              <a:gd name="T16" fmla="*/ 11 w 13"/>
              <a:gd name="T17" fmla="*/ 1 h 4"/>
              <a:gd name="T18" fmla="*/ 13 w 13"/>
              <a:gd name="T19" fmla="*/ 0 h 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3"/>
              <a:gd name="T31" fmla="*/ 0 h 4"/>
              <a:gd name="T32" fmla="*/ 13 w 13"/>
              <a:gd name="T33" fmla="*/ 4 h 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3" h="4">
                <a:moveTo>
                  <a:pt x="13" y="0"/>
                </a:moveTo>
                <a:cubicBezTo>
                  <a:pt x="10" y="0"/>
                  <a:pt x="8" y="2"/>
                  <a:pt x="4" y="2"/>
                </a:cubicBezTo>
                <a:cubicBezTo>
                  <a:pt x="4" y="1"/>
                  <a:pt x="3" y="1"/>
                  <a:pt x="2" y="1"/>
                </a:cubicBezTo>
                <a:cubicBezTo>
                  <a:pt x="2" y="1"/>
                  <a:pt x="2" y="1"/>
                  <a:pt x="2" y="1"/>
                </a:cubicBezTo>
                <a:cubicBezTo>
                  <a:pt x="2" y="1"/>
                  <a:pt x="2" y="1"/>
                  <a:pt x="2" y="1"/>
                </a:cubicBezTo>
                <a:cubicBezTo>
                  <a:pt x="2" y="1"/>
                  <a:pt x="2" y="2"/>
                  <a:pt x="2" y="2"/>
                </a:cubicBezTo>
                <a:cubicBezTo>
                  <a:pt x="1" y="2"/>
                  <a:pt x="1" y="2"/>
                  <a:pt x="1" y="2"/>
                </a:cubicBezTo>
                <a:cubicBezTo>
                  <a:pt x="1" y="3"/>
                  <a:pt x="1" y="4"/>
                  <a:pt x="0" y="4"/>
                </a:cubicBezTo>
                <a:cubicBezTo>
                  <a:pt x="4" y="4"/>
                  <a:pt x="8" y="1"/>
                  <a:pt x="11" y="1"/>
                </a:cubicBezTo>
                <a:cubicBezTo>
                  <a:pt x="10" y="0"/>
                  <a:pt x="13" y="1"/>
                  <a:pt x="13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48" name="Freeform 23"/>
          <p:cNvSpPr>
            <a:spLocks/>
          </p:cNvSpPr>
          <p:nvPr/>
        </p:nvSpPr>
        <p:spPr bwMode="auto">
          <a:xfrm>
            <a:off x="3843338" y="5102225"/>
            <a:ext cx="1587" cy="1588"/>
          </a:xfrm>
          <a:custGeom>
            <a:avLst/>
            <a:gdLst>
              <a:gd name="T0" fmla="*/ 0 w 1628"/>
              <a:gd name="T1" fmla="*/ 0 h 1"/>
              <a:gd name="T2" fmla="*/ 0 w 1628"/>
              <a:gd name="T3" fmla="*/ 1 h 1"/>
              <a:gd name="T4" fmla="*/ 0 w 1628"/>
              <a:gd name="T5" fmla="*/ 0 h 1"/>
              <a:gd name="T6" fmla="*/ 0 w 1628"/>
              <a:gd name="T7" fmla="*/ 0 h 1"/>
              <a:gd name="T8" fmla="*/ 0 60000 65536"/>
              <a:gd name="T9" fmla="*/ 0 60000 65536"/>
              <a:gd name="T10" fmla="*/ 0 60000 65536"/>
              <a:gd name="T11" fmla="*/ 0 60000 65536"/>
              <a:gd name="T12" fmla="*/ 0 w 1628"/>
              <a:gd name="T13" fmla="*/ 0 h 1"/>
              <a:gd name="T14" fmla="*/ 1628 w 1628"/>
              <a:gd name="T15" fmla="*/ 1 h 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628" h="1">
                <a:moveTo>
                  <a:pt x="0" y="0"/>
                </a:move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49" name="Freeform 24"/>
          <p:cNvSpPr>
            <a:spLocks/>
          </p:cNvSpPr>
          <p:nvPr/>
        </p:nvSpPr>
        <p:spPr bwMode="auto">
          <a:xfrm>
            <a:off x="3810000" y="5170488"/>
            <a:ext cx="228600" cy="476250"/>
          </a:xfrm>
          <a:custGeom>
            <a:avLst/>
            <a:gdLst>
              <a:gd name="T0" fmla="*/ 81 w 83"/>
              <a:gd name="T1" fmla="*/ 172 h 174"/>
              <a:gd name="T2" fmla="*/ 81 w 83"/>
              <a:gd name="T3" fmla="*/ 172 h 174"/>
              <a:gd name="T4" fmla="*/ 82 w 83"/>
              <a:gd name="T5" fmla="*/ 169 h 174"/>
              <a:gd name="T6" fmla="*/ 79 w 83"/>
              <a:gd name="T7" fmla="*/ 168 h 174"/>
              <a:gd name="T8" fmla="*/ 77 w 83"/>
              <a:gd name="T9" fmla="*/ 168 h 174"/>
              <a:gd name="T10" fmla="*/ 79 w 83"/>
              <a:gd name="T11" fmla="*/ 166 h 174"/>
              <a:gd name="T12" fmla="*/ 79 w 83"/>
              <a:gd name="T13" fmla="*/ 165 h 174"/>
              <a:gd name="T14" fmla="*/ 81 w 83"/>
              <a:gd name="T15" fmla="*/ 167 h 174"/>
              <a:gd name="T16" fmla="*/ 80 w 83"/>
              <a:gd name="T17" fmla="*/ 166 h 174"/>
              <a:gd name="T18" fmla="*/ 80 w 83"/>
              <a:gd name="T19" fmla="*/ 163 h 174"/>
              <a:gd name="T20" fmla="*/ 80 w 83"/>
              <a:gd name="T21" fmla="*/ 161 h 174"/>
              <a:gd name="T22" fmla="*/ 80 w 83"/>
              <a:gd name="T23" fmla="*/ 157 h 174"/>
              <a:gd name="T24" fmla="*/ 79 w 83"/>
              <a:gd name="T25" fmla="*/ 155 h 174"/>
              <a:gd name="T26" fmla="*/ 78 w 83"/>
              <a:gd name="T27" fmla="*/ 157 h 174"/>
              <a:gd name="T28" fmla="*/ 78 w 83"/>
              <a:gd name="T29" fmla="*/ 158 h 174"/>
              <a:gd name="T30" fmla="*/ 77 w 83"/>
              <a:gd name="T31" fmla="*/ 159 h 174"/>
              <a:gd name="T32" fmla="*/ 75 w 83"/>
              <a:gd name="T33" fmla="*/ 151 h 174"/>
              <a:gd name="T34" fmla="*/ 73 w 83"/>
              <a:gd name="T35" fmla="*/ 142 h 174"/>
              <a:gd name="T36" fmla="*/ 72 w 83"/>
              <a:gd name="T37" fmla="*/ 118 h 174"/>
              <a:gd name="T38" fmla="*/ 71 w 83"/>
              <a:gd name="T39" fmla="*/ 106 h 174"/>
              <a:gd name="T40" fmla="*/ 55 w 83"/>
              <a:gd name="T41" fmla="*/ 82 h 174"/>
              <a:gd name="T42" fmla="*/ 43 w 83"/>
              <a:gd name="T43" fmla="*/ 61 h 174"/>
              <a:gd name="T44" fmla="*/ 43 w 83"/>
              <a:gd name="T45" fmla="*/ 59 h 174"/>
              <a:gd name="T46" fmla="*/ 45 w 83"/>
              <a:gd name="T47" fmla="*/ 53 h 174"/>
              <a:gd name="T48" fmla="*/ 43 w 83"/>
              <a:gd name="T49" fmla="*/ 48 h 174"/>
              <a:gd name="T50" fmla="*/ 48 w 83"/>
              <a:gd name="T51" fmla="*/ 42 h 174"/>
              <a:gd name="T52" fmla="*/ 48 w 83"/>
              <a:gd name="T53" fmla="*/ 39 h 174"/>
              <a:gd name="T54" fmla="*/ 52 w 83"/>
              <a:gd name="T55" fmla="*/ 36 h 174"/>
              <a:gd name="T56" fmla="*/ 51 w 83"/>
              <a:gd name="T57" fmla="*/ 31 h 174"/>
              <a:gd name="T58" fmla="*/ 49 w 83"/>
              <a:gd name="T59" fmla="*/ 24 h 174"/>
              <a:gd name="T60" fmla="*/ 45 w 83"/>
              <a:gd name="T61" fmla="*/ 24 h 174"/>
              <a:gd name="T62" fmla="*/ 43 w 83"/>
              <a:gd name="T63" fmla="*/ 26 h 174"/>
              <a:gd name="T64" fmla="*/ 42 w 83"/>
              <a:gd name="T65" fmla="*/ 24 h 174"/>
              <a:gd name="T66" fmla="*/ 39 w 83"/>
              <a:gd name="T67" fmla="*/ 24 h 174"/>
              <a:gd name="T68" fmla="*/ 37 w 83"/>
              <a:gd name="T69" fmla="*/ 23 h 174"/>
              <a:gd name="T70" fmla="*/ 35 w 83"/>
              <a:gd name="T71" fmla="*/ 20 h 174"/>
              <a:gd name="T72" fmla="*/ 33 w 83"/>
              <a:gd name="T73" fmla="*/ 17 h 174"/>
              <a:gd name="T74" fmla="*/ 29 w 83"/>
              <a:gd name="T75" fmla="*/ 11 h 174"/>
              <a:gd name="T76" fmla="*/ 29 w 83"/>
              <a:gd name="T77" fmla="*/ 10 h 174"/>
              <a:gd name="T78" fmla="*/ 16 w 83"/>
              <a:gd name="T79" fmla="*/ 3 h 174"/>
              <a:gd name="T80" fmla="*/ 14 w 83"/>
              <a:gd name="T81" fmla="*/ 3 h 174"/>
              <a:gd name="T82" fmla="*/ 5 w 83"/>
              <a:gd name="T83" fmla="*/ 2 h 174"/>
              <a:gd name="T84" fmla="*/ 79 w 83"/>
              <a:gd name="T85" fmla="*/ 172 h 174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83"/>
              <a:gd name="T130" fmla="*/ 0 h 174"/>
              <a:gd name="T131" fmla="*/ 83 w 83"/>
              <a:gd name="T132" fmla="*/ 174 h 174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83" h="174">
                <a:moveTo>
                  <a:pt x="80" y="172"/>
                </a:moveTo>
                <a:cubicBezTo>
                  <a:pt x="80" y="171"/>
                  <a:pt x="81" y="171"/>
                  <a:pt x="81" y="171"/>
                </a:cubicBezTo>
                <a:cubicBezTo>
                  <a:pt x="81" y="172"/>
                  <a:pt x="81" y="172"/>
                  <a:pt x="81" y="172"/>
                </a:cubicBezTo>
                <a:cubicBezTo>
                  <a:pt x="81" y="172"/>
                  <a:pt x="82" y="173"/>
                  <a:pt x="82" y="174"/>
                </a:cubicBezTo>
                <a:cubicBezTo>
                  <a:pt x="83" y="173"/>
                  <a:pt x="82" y="173"/>
                  <a:pt x="83" y="173"/>
                </a:cubicBezTo>
                <a:cubicBezTo>
                  <a:pt x="82" y="172"/>
                  <a:pt x="82" y="172"/>
                  <a:pt x="81" y="172"/>
                </a:cubicBezTo>
                <a:cubicBezTo>
                  <a:pt x="81" y="171"/>
                  <a:pt x="82" y="171"/>
                  <a:pt x="82" y="171"/>
                </a:cubicBezTo>
                <a:cubicBezTo>
                  <a:pt x="81" y="171"/>
                  <a:pt x="81" y="171"/>
                  <a:pt x="81" y="171"/>
                </a:cubicBezTo>
                <a:cubicBezTo>
                  <a:pt x="81" y="170"/>
                  <a:pt x="81" y="170"/>
                  <a:pt x="82" y="169"/>
                </a:cubicBezTo>
                <a:cubicBezTo>
                  <a:pt x="81" y="169"/>
                  <a:pt x="81" y="169"/>
                  <a:pt x="80" y="168"/>
                </a:cubicBezTo>
                <a:cubicBezTo>
                  <a:pt x="80" y="169"/>
                  <a:pt x="80" y="169"/>
                  <a:pt x="80" y="169"/>
                </a:cubicBezTo>
                <a:cubicBezTo>
                  <a:pt x="80" y="168"/>
                  <a:pt x="79" y="169"/>
                  <a:pt x="79" y="168"/>
                </a:cubicBezTo>
                <a:cubicBezTo>
                  <a:pt x="78" y="168"/>
                  <a:pt x="78" y="168"/>
                  <a:pt x="78" y="168"/>
                </a:cubicBezTo>
                <a:cubicBezTo>
                  <a:pt x="78" y="168"/>
                  <a:pt x="79" y="169"/>
                  <a:pt x="78" y="169"/>
                </a:cubicBezTo>
                <a:cubicBezTo>
                  <a:pt x="78" y="169"/>
                  <a:pt x="78" y="169"/>
                  <a:pt x="77" y="168"/>
                </a:cubicBezTo>
                <a:cubicBezTo>
                  <a:pt x="78" y="167"/>
                  <a:pt x="78" y="167"/>
                  <a:pt x="79" y="167"/>
                </a:cubicBezTo>
                <a:cubicBezTo>
                  <a:pt x="79" y="167"/>
                  <a:pt x="78" y="167"/>
                  <a:pt x="78" y="166"/>
                </a:cubicBezTo>
                <a:cubicBezTo>
                  <a:pt x="78" y="166"/>
                  <a:pt x="79" y="166"/>
                  <a:pt x="79" y="166"/>
                </a:cubicBezTo>
                <a:cubicBezTo>
                  <a:pt x="79" y="165"/>
                  <a:pt x="79" y="165"/>
                  <a:pt x="79" y="165"/>
                </a:cubicBezTo>
                <a:cubicBezTo>
                  <a:pt x="78" y="166"/>
                  <a:pt x="78" y="166"/>
                  <a:pt x="78" y="166"/>
                </a:cubicBezTo>
                <a:cubicBezTo>
                  <a:pt x="78" y="165"/>
                  <a:pt x="79" y="165"/>
                  <a:pt x="79" y="165"/>
                </a:cubicBezTo>
                <a:cubicBezTo>
                  <a:pt x="79" y="165"/>
                  <a:pt x="78" y="165"/>
                  <a:pt x="79" y="164"/>
                </a:cubicBezTo>
                <a:cubicBezTo>
                  <a:pt x="79" y="164"/>
                  <a:pt x="80" y="165"/>
                  <a:pt x="79" y="166"/>
                </a:cubicBezTo>
                <a:cubicBezTo>
                  <a:pt x="80" y="166"/>
                  <a:pt x="80" y="167"/>
                  <a:pt x="81" y="167"/>
                </a:cubicBezTo>
                <a:cubicBezTo>
                  <a:pt x="81" y="167"/>
                  <a:pt x="81" y="166"/>
                  <a:pt x="81" y="166"/>
                </a:cubicBezTo>
                <a:cubicBezTo>
                  <a:pt x="81" y="166"/>
                  <a:pt x="80" y="166"/>
                  <a:pt x="80" y="165"/>
                </a:cubicBezTo>
                <a:cubicBezTo>
                  <a:pt x="80" y="166"/>
                  <a:pt x="80" y="166"/>
                  <a:pt x="80" y="166"/>
                </a:cubicBezTo>
                <a:cubicBezTo>
                  <a:pt x="80" y="166"/>
                  <a:pt x="80" y="165"/>
                  <a:pt x="79" y="165"/>
                </a:cubicBezTo>
                <a:cubicBezTo>
                  <a:pt x="80" y="165"/>
                  <a:pt x="81" y="165"/>
                  <a:pt x="81" y="165"/>
                </a:cubicBezTo>
                <a:cubicBezTo>
                  <a:pt x="81" y="165"/>
                  <a:pt x="81" y="163"/>
                  <a:pt x="80" y="163"/>
                </a:cubicBezTo>
                <a:cubicBezTo>
                  <a:pt x="81" y="163"/>
                  <a:pt x="80" y="162"/>
                  <a:pt x="81" y="162"/>
                </a:cubicBezTo>
                <a:cubicBezTo>
                  <a:pt x="80" y="162"/>
                  <a:pt x="80" y="162"/>
                  <a:pt x="80" y="162"/>
                </a:cubicBezTo>
                <a:cubicBezTo>
                  <a:pt x="80" y="161"/>
                  <a:pt x="80" y="161"/>
                  <a:pt x="80" y="161"/>
                </a:cubicBezTo>
                <a:cubicBezTo>
                  <a:pt x="80" y="160"/>
                  <a:pt x="80" y="160"/>
                  <a:pt x="79" y="160"/>
                </a:cubicBezTo>
                <a:cubicBezTo>
                  <a:pt x="80" y="158"/>
                  <a:pt x="79" y="158"/>
                  <a:pt x="79" y="157"/>
                </a:cubicBezTo>
                <a:cubicBezTo>
                  <a:pt x="79" y="157"/>
                  <a:pt x="79" y="156"/>
                  <a:pt x="80" y="157"/>
                </a:cubicBezTo>
                <a:cubicBezTo>
                  <a:pt x="80" y="156"/>
                  <a:pt x="79" y="156"/>
                  <a:pt x="79" y="156"/>
                </a:cubicBezTo>
                <a:cubicBezTo>
                  <a:pt x="79" y="156"/>
                  <a:pt x="79" y="156"/>
                  <a:pt x="79" y="156"/>
                </a:cubicBezTo>
                <a:cubicBezTo>
                  <a:pt x="79" y="155"/>
                  <a:pt x="79" y="155"/>
                  <a:pt x="79" y="155"/>
                </a:cubicBezTo>
                <a:cubicBezTo>
                  <a:pt x="78" y="155"/>
                  <a:pt x="78" y="155"/>
                  <a:pt x="78" y="155"/>
                </a:cubicBezTo>
                <a:cubicBezTo>
                  <a:pt x="78" y="155"/>
                  <a:pt x="78" y="156"/>
                  <a:pt x="77" y="156"/>
                </a:cubicBezTo>
                <a:cubicBezTo>
                  <a:pt x="77" y="156"/>
                  <a:pt x="78" y="156"/>
                  <a:pt x="78" y="157"/>
                </a:cubicBezTo>
                <a:cubicBezTo>
                  <a:pt x="77" y="157"/>
                  <a:pt x="77" y="157"/>
                  <a:pt x="77" y="157"/>
                </a:cubicBezTo>
                <a:cubicBezTo>
                  <a:pt x="77" y="157"/>
                  <a:pt x="78" y="157"/>
                  <a:pt x="77" y="157"/>
                </a:cubicBezTo>
                <a:cubicBezTo>
                  <a:pt x="77" y="158"/>
                  <a:pt x="78" y="158"/>
                  <a:pt x="78" y="158"/>
                </a:cubicBezTo>
                <a:cubicBezTo>
                  <a:pt x="78" y="158"/>
                  <a:pt x="78" y="159"/>
                  <a:pt x="78" y="159"/>
                </a:cubicBezTo>
                <a:cubicBezTo>
                  <a:pt x="78" y="159"/>
                  <a:pt x="78" y="159"/>
                  <a:pt x="78" y="160"/>
                </a:cubicBezTo>
                <a:cubicBezTo>
                  <a:pt x="78" y="160"/>
                  <a:pt x="77" y="160"/>
                  <a:pt x="77" y="159"/>
                </a:cubicBezTo>
                <a:cubicBezTo>
                  <a:pt x="77" y="158"/>
                  <a:pt x="76" y="157"/>
                  <a:pt x="76" y="155"/>
                </a:cubicBezTo>
                <a:cubicBezTo>
                  <a:pt x="77" y="155"/>
                  <a:pt x="76" y="156"/>
                  <a:pt x="77" y="156"/>
                </a:cubicBezTo>
                <a:cubicBezTo>
                  <a:pt x="75" y="154"/>
                  <a:pt x="75" y="153"/>
                  <a:pt x="75" y="151"/>
                </a:cubicBezTo>
                <a:cubicBezTo>
                  <a:pt x="76" y="149"/>
                  <a:pt x="73" y="146"/>
                  <a:pt x="73" y="143"/>
                </a:cubicBezTo>
                <a:cubicBezTo>
                  <a:pt x="73" y="143"/>
                  <a:pt x="73" y="144"/>
                  <a:pt x="74" y="143"/>
                </a:cubicBezTo>
                <a:cubicBezTo>
                  <a:pt x="74" y="143"/>
                  <a:pt x="73" y="143"/>
                  <a:pt x="73" y="142"/>
                </a:cubicBezTo>
                <a:cubicBezTo>
                  <a:pt x="74" y="142"/>
                  <a:pt x="74" y="142"/>
                  <a:pt x="74" y="142"/>
                </a:cubicBezTo>
                <a:cubicBezTo>
                  <a:pt x="74" y="136"/>
                  <a:pt x="75" y="131"/>
                  <a:pt x="72" y="125"/>
                </a:cubicBezTo>
                <a:cubicBezTo>
                  <a:pt x="73" y="124"/>
                  <a:pt x="71" y="121"/>
                  <a:pt x="72" y="118"/>
                </a:cubicBezTo>
                <a:cubicBezTo>
                  <a:pt x="72" y="114"/>
                  <a:pt x="72" y="111"/>
                  <a:pt x="72" y="108"/>
                </a:cubicBezTo>
                <a:cubicBezTo>
                  <a:pt x="72" y="107"/>
                  <a:pt x="71" y="108"/>
                  <a:pt x="71" y="107"/>
                </a:cubicBezTo>
                <a:cubicBezTo>
                  <a:pt x="71" y="107"/>
                  <a:pt x="71" y="107"/>
                  <a:pt x="71" y="106"/>
                </a:cubicBezTo>
                <a:cubicBezTo>
                  <a:pt x="72" y="106"/>
                  <a:pt x="72" y="106"/>
                  <a:pt x="72" y="106"/>
                </a:cubicBezTo>
                <a:cubicBezTo>
                  <a:pt x="72" y="102"/>
                  <a:pt x="72" y="94"/>
                  <a:pt x="68" y="92"/>
                </a:cubicBezTo>
                <a:cubicBezTo>
                  <a:pt x="64" y="88"/>
                  <a:pt x="57" y="88"/>
                  <a:pt x="55" y="82"/>
                </a:cubicBezTo>
                <a:cubicBezTo>
                  <a:pt x="55" y="80"/>
                  <a:pt x="53" y="77"/>
                  <a:pt x="52" y="75"/>
                </a:cubicBezTo>
                <a:cubicBezTo>
                  <a:pt x="49" y="71"/>
                  <a:pt x="48" y="64"/>
                  <a:pt x="43" y="62"/>
                </a:cubicBezTo>
                <a:cubicBezTo>
                  <a:pt x="43" y="61"/>
                  <a:pt x="43" y="61"/>
                  <a:pt x="43" y="61"/>
                </a:cubicBezTo>
                <a:cubicBezTo>
                  <a:pt x="43" y="61"/>
                  <a:pt x="43" y="61"/>
                  <a:pt x="43" y="61"/>
                </a:cubicBezTo>
                <a:cubicBezTo>
                  <a:pt x="44" y="60"/>
                  <a:pt x="43" y="60"/>
                  <a:pt x="43" y="59"/>
                </a:cubicBezTo>
                <a:cubicBezTo>
                  <a:pt x="43" y="59"/>
                  <a:pt x="43" y="59"/>
                  <a:pt x="43" y="59"/>
                </a:cubicBezTo>
                <a:cubicBezTo>
                  <a:pt x="41" y="56"/>
                  <a:pt x="46" y="55"/>
                  <a:pt x="46" y="52"/>
                </a:cubicBezTo>
                <a:cubicBezTo>
                  <a:pt x="46" y="52"/>
                  <a:pt x="45" y="53"/>
                  <a:pt x="45" y="52"/>
                </a:cubicBezTo>
                <a:cubicBezTo>
                  <a:pt x="45" y="53"/>
                  <a:pt x="45" y="53"/>
                  <a:pt x="45" y="53"/>
                </a:cubicBezTo>
                <a:cubicBezTo>
                  <a:pt x="45" y="53"/>
                  <a:pt x="45" y="54"/>
                  <a:pt x="45" y="54"/>
                </a:cubicBezTo>
                <a:cubicBezTo>
                  <a:pt x="45" y="52"/>
                  <a:pt x="43" y="52"/>
                  <a:pt x="43" y="51"/>
                </a:cubicBezTo>
                <a:cubicBezTo>
                  <a:pt x="44" y="51"/>
                  <a:pt x="43" y="49"/>
                  <a:pt x="43" y="48"/>
                </a:cubicBezTo>
                <a:cubicBezTo>
                  <a:pt x="44" y="48"/>
                  <a:pt x="44" y="47"/>
                  <a:pt x="44" y="46"/>
                </a:cubicBezTo>
                <a:cubicBezTo>
                  <a:pt x="45" y="46"/>
                  <a:pt x="45" y="45"/>
                  <a:pt x="45" y="43"/>
                </a:cubicBezTo>
                <a:cubicBezTo>
                  <a:pt x="46" y="43"/>
                  <a:pt x="47" y="43"/>
                  <a:pt x="48" y="42"/>
                </a:cubicBezTo>
                <a:cubicBezTo>
                  <a:pt x="48" y="42"/>
                  <a:pt x="48" y="41"/>
                  <a:pt x="47" y="41"/>
                </a:cubicBezTo>
                <a:cubicBezTo>
                  <a:pt x="47" y="41"/>
                  <a:pt x="48" y="41"/>
                  <a:pt x="48" y="41"/>
                </a:cubicBezTo>
                <a:cubicBezTo>
                  <a:pt x="48" y="40"/>
                  <a:pt x="48" y="40"/>
                  <a:pt x="48" y="39"/>
                </a:cubicBezTo>
                <a:cubicBezTo>
                  <a:pt x="49" y="39"/>
                  <a:pt x="50" y="38"/>
                  <a:pt x="50" y="39"/>
                </a:cubicBezTo>
                <a:cubicBezTo>
                  <a:pt x="50" y="38"/>
                  <a:pt x="50" y="38"/>
                  <a:pt x="50" y="38"/>
                </a:cubicBezTo>
                <a:cubicBezTo>
                  <a:pt x="51" y="37"/>
                  <a:pt x="51" y="36"/>
                  <a:pt x="52" y="36"/>
                </a:cubicBezTo>
                <a:cubicBezTo>
                  <a:pt x="51" y="35"/>
                  <a:pt x="51" y="35"/>
                  <a:pt x="51" y="35"/>
                </a:cubicBezTo>
                <a:cubicBezTo>
                  <a:pt x="52" y="34"/>
                  <a:pt x="52" y="34"/>
                  <a:pt x="52" y="34"/>
                </a:cubicBezTo>
                <a:cubicBezTo>
                  <a:pt x="51" y="34"/>
                  <a:pt x="52" y="32"/>
                  <a:pt x="51" y="31"/>
                </a:cubicBezTo>
                <a:cubicBezTo>
                  <a:pt x="51" y="31"/>
                  <a:pt x="52" y="31"/>
                  <a:pt x="52" y="30"/>
                </a:cubicBezTo>
                <a:cubicBezTo>
                  <a:pt x="51" y="29"/>
                  <a:pt x="51" y="29"/>
                  <a:pt x="52" y="28"/>
                </a:cubicBezTo>
                <a:cubicBezTo>
                  <a:pt x="51" y="27"/>
                  <a:pt x="50" y="26"/>
                  <a:pt x="49" y="24"/>
                </a:cubicBezTo>
                <a:cubicBezTo>
                  <a:pt x="50" y="24"/>
                  <a:pt x="50" y="24"/>
                  <a:pt x="50" y="24"/>
                </a:cubicBezTo>
                <a:cubicBezTo>
                  <a:pt x="50" y="23"/>
                  <a:pt x="50" y="24"/>
                  <a:pt x="49" y="24"/>
                </a:cubicBezTo>
                <a:cubicBezTo>
                  <a:pt x="48" y="20"/>
                  <a:pt x="46" y="23"/>
                  <a:pt x="45" y="24"/>
                </a:cubicBezTo>
                <a:cubicBezTo>
                  <a:pt x="45" y="25"/>
                  <a:pt x="46" y="25"/>
                  <a:pt x="46" y="26"/>
                </a:cubicBezTo>
                <a:cubicBezTo>
                  <a:pt x="45" y="26"/>
                  <a:pt x="44" y="27"/>
                  <a:pt x="44" y="27"/>
                </a:cubicBezTo>
                <a:cubicBezTo>
                  <a:pt x="43" y="26"/>
                  <a:pt x="44" y="26"/>
                  <a:pt x="43" y="26"/>
                </a:cubicBezTo>
                <a:cubicBezTo>
                  <a:pt x="43" y="26"/>
                  <a:pt x="43" y="26"/>
                  <a:pt x="43" y="26"/>
                </a:cubicBezTo>
                <a:cubicBezTo>
                  <a:pt x="43" y="26"/>
                  <a:pt x="44" y="26"/>
                  <a:pt x="43" y="25"/>
                </a:cubicBezTo>
                <a:cubicBezTo>
                  <a:pt x="43" y="26"/>
                  <a:pt x="42" y="25"/>
                  <a:pt x="42" y="24"/>
                </a:cubicBezTo>
                <a:cubicBezTo>
                  <a:pt x="41" y="24"/>
                  <a:pt x="40" y="24"/>
                  <a:pt x="41" y="24"/>
                </a:cubicBezTo>
                <a:cubicBezTo>
                  <a:pt x="40" y="24"/>
                  <a:pt x="40" y="24"/>
                  <a:pt x="39" y="24"/>
                </a:cubicBezTo>
                <a:cubicBezTo>
                  <a:pt x="39" y="24"/>
                  <a:pt x="39" y="24"/>
                  <a:pt x="39" y="24"/>
                </a:cubicBezTo>
                <a:cubicBezTo>
                  <a:pt x="39" y="25"/>
                  <a:pt x="39" y="23"/>
                  <a:pt x="38" y="23"/>
                </a:cubicBezTo>
                <a:cubicBezTo>
                  <a:pt x="38" y="23"/>
                  <a:pt x="38" y="23"/>
                  <a:pt x="38" y="24"/>
                </a:cubicBezTo>
                <a:cubicBezTo>
                  <a:pt x="38" y="24"/>
                  <a:pt x="37" y="23"/>
                  <a:pt x="37" y="23"/>
                </a:cubicBezTo>
                <a:cubicBezTo>
                  <a:pt x="38" y="22"/>
                  <a:pt x="37" y="21"/>
                  <a:pt x="35" y="20"/>
                </a:cubicBezTo>
                <a:cubicBezTo>
                  <a:pt x="35" y="19"/>
                  <a:pt x="35" y="19"/>
                  <a:pt x="34" y="19"/>
                </a:cubicBezTo>
                <a:cubicBezTo>
                  <a:pt x="34" y="19"/>
                  <a:pt x="35" y="19"/>
                  <a:pt x="35" y="20"/>
                </a:cubicBezTo>
                <a:cubicBezTo>
                  <a:pt x="34" y="20"/>
                  <a:pt x="34" y="20"/>
                  <a:pt x="34" y="20"/>
                </a:cubicBezTo>
                <a:cubicBezTo>
                  <a:pt x="34" y="20"/>
                  <a:pt x="33" y="20"/>
                  <a:pt x="32" y="19"/>
                </a:cubicBezTo>
                <a:cubicBezTo>
                  <a:pt x="33" y="18"/>
                  <a:pt x="33" y="18"/>
                  <a:pt x="33" y="17"/>
                </a:cubicBezTo>
                <a:cubicBezTo>
                  <a:pt x="33" y="17"/>
                  <a:pt x="33" y="17"/>
                  <a:pt x="32" y="17"/>
                </a:cubicBezTo>
                <a:cubicBezTo>
                  <a:pt x="33" y="16"/>
                  <a:pt x="33" y="17"/>
                  <a:pt x="33" y="17"/>
                </a:cubicBezTo>
                <a:cubicBezTo>
                  <a:pt x="32" y="15"/>
                  <a:pt x="30" y="13"/>
                  <a:pt x="29" y="11"/>
                </a:cubicBezTo>
                <a:cubicBezTo>
                  <a:pt x="29" y="11"/>
                  <a:pt x="29" y="12"/>
                  <a:pt x="30" y="11"/>
                </a:cubicBezTo>
                <a:cubicBezTo>
                  <a:pt x="30" y="11"/>
                  <a:pt x="29" y="11"/>
                  <a:pt x="29" y="10"/>
                </a:cubicBezTo>
                <a:cubicBezTo>
                  <a:pt x="29" y="11"/>
                  <a:pt x="29" y="11"/>
                  <a:pt x="29" y="10"/>
                </a:cubicBezTo>
                <a:cubicBezTo>
                  <a:pt x="28" y="11"/>
                  <a:pt x="28" y="11"/>
                  <a:pt x="28" y="11"/>
                </a:cubicBezTo>
                <a:cubicBezTo>
                  <a:pt x="27" y="11"/>
                  <a:pt x="26" y="10"/>
                  <a:pt x="24" y="10"/>
                </a:cubicBezTo>
                <a:cubicBezTo>
                  <a:pt x="20" y="9"/>
                  <a:pt x="17" y="6"/>
                  <a:pt x="16" y="3"/>
                </a:cubicBezTo>
                <a:cubicBezTo>
                  <a:pt x="15" y="4"/>
                  <a:pt x="14" y="3"/>
                  <a:pt x="15" y="3"/>
                </a:cubicBezTo>
                <a:cubicBezTo>
                  <a:pt x="15" y="3"/>
                  <a:pt x="14" y="3"/>
                  <a:pt x="14" y="3"/>
                </a:cubicBezTo>
                <a:cubicBezTo>
                  <a:pt x="14" y="3"/>
                  <a:pt x="14" y="3"/>
                  <a:pt x="14" y="3"/>
                </a:cubicBezTo>
                <a:cubicBezTo>
                  <a:pt x="14" y="3"/>
                  <a:pt x="14" y="2"/>
                  <a:pt x="13" y="3"/>
                </a:cubicBezTo>
                <a:cubicBezTo>
                  <a:pt x="14" y="3"/>
                  <a:pt x="14" y="3"/>
                  <a:pt x="14" y="3"/>
                </a:cubicBezTo>
                <a:cubicBezTo>
                  <a:pt x="11" y="5"/>
                  <a:pt x="7" y="4"/>
                  <a:pt x="5" y="2"/>
                </a:cubicBezTo>
                <a:cubicBezTo>
                  <a:pt x="3" y="2"/>
                  <a:pt x="1" y="1"/>
                  <a:pt x="0" y="0"/>
                </a:cubicBezTo>
                <a:cubicBezTo>
                  <a:pt x="1" y="69"/>
                  <a:pt x="32" y="130"/>
                  <a:pt x="80" y="172"/>
                </a:cubicBezTo>
                <a:cubicBezTo>
                  <a:pt x="79" y="172"/>
                  <a:pt x="79" y="172"/>
                  <a:pt x="79" y="172"/>
                </a:cubicBezTo>
                <a:cubicBezTo>
                  <a:pt x="80" y="172"/>
                  <a:pt x="80" y="172"/>
                  <a:pt x="80" y="172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50" name="Freeform 25"/>
          <p:cNvSpPr>
            <a:spLocks/>
          </p:cNvSpPr>
          <p:nvPr/>
        </p:nvSpPr>
        <p:spPr bwMode="auto">
          <a:xfrm>
            <a:off x="4608513" y="4857750"/>
            <a:ext cx="14287" cy="9525"/>
          </a:xfrm>
          <a:custGeom>
            <a:avLst/>
            <a:gdLst>
              <a:gd name="T0" fmla="*/ 3 w 5"/>
              <a:gd name="T1" fmla="*/ 4 h 4"/>
              <a:gd name="T2" fmla="*/ 3 w 5"/>
              <a:gd name="T3" fmla="*/ 4 h 4"/>
              <a:gd name="T4" fmla="*/ 4 w 5"/>
              <a:gd name="T5" fmla="*/ 3 h 4"/>
              <a:gd name="T6" fmla="*/ 5 w 5"/>
              <a:gd name="T7" fmla="*/ 3 h 4"/>
              <a:gd name="T8" fmla="*/ 5 w 5"/>
              <a:gd name="T9" fmla="*/ 2 h 4"/>
              <a:gd name="T10" fmla="*/ 1 w 5"/>
              <a:gd name="T11" fmla="*/ 0 h 4"/>
              <a:gd name="T12" fmla="*/ 0 w 5"/>
              <a:gd name="T13" fmla="*/ 1 h 4"/>
              <a:gd name="T14" fmla="*/ 3 w 5"/>
              <a:gd name="T15" fmla="*/ 4 h 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"/>
              <a:gd name="T25" fmla="*/ 0 h 4"/>
              <a:gd name="T26" fmla="*/ 5 w 5"/>
              <a:gd name="T27" fmla="*/ 4 h 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" h="4">
                <a:moveTo>
                  <a:pt x="3" y="4"/>
                </a:moveTo>
                <a:cubicBezTo>
                  <a:pt x="3" y="3"/>
                  <a:pt x="3" y="4"/>
                  <a:pt x="3" y="4"/>
                </a:cubicBezTo>
                <a:cubicBezTo>
                  <a:pt x="3" y="3"/>
                  <a:pt x="3" y="3"/>
                  <a:pt x="4" y="3"/>
                </a:cubicBezTo>
                <a:cubicBezTo>
                  <a:pt x="4" y="3"/>
                  <a:pt x="4" y="3"/>
                  <a:pt x="5" y="3"/>
                </a:cubicBezTo>
                <a:cubicBezTo>
                  <a:pt x="5" y="3"/>
                  <a:pt x="5" y="2"/>
                  <a:pt x="5" y="2"/>
                </a:cubicBezTo>
                <a:cubicBezTo>
                  <a:pt x="5" y="1"/>
                  <a:pt x="3" y="0"/>
                  <a:pt x="1" y="0"/>
                </a:cubicBezTo>
                <a:cubicBezTo>
                  <a:pt x="1" y="0"/>
                  <a:pt x="1" y="0"/>
                  <a:pt x="0" y="1"/>
                </a:cubicBezTo>
                <a:cubicBezTo>
                  <a:pt x="1" y="2"/>
                  <a:pt x="2" y="3"/>
                  <a:pt x="3" y="4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51" name="Rectangle 26"/>
          <p:cNvSpPr>
            <a:spLocks noChangeArrowheads="1"/>
          </p:cNvSpPr>
          <p:nvPr/>
        </p:nvSpPr>
        <p:spPr bwMode="auto">
          <a:xfrm>
            <a:off x="4781550" y="5121275"/>
            <a:ext cx="1588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52" name="Freeform 27"/>
          <p:cNvSpPr>
            <a:spLocks/>
          </p:cNvSpPr>
          <p:nvPr/>
        </p:nvSpPr>
        <p:spPr bwMode="auto">
          <a:xfrm>
            <a:off x="5072063" y="5199063"/>
            <a:ext cx="34925" cy="61912"/>
          </a:xfrm>
          <a:custGeom>
            <a:avLst/>
            <a:gdLst>
              <a:gd name="T0" fmla="*/ 10 w 13"/>
              <a:gd name="T1" fmla="*/ 8 h 23"/>
              <a:gd name="T2" fmla="*/ 11 w 13"/>
              <a:gd name="T3" fmla="*/ 7 h 23"/>
              <a:gd name="T4" fmla="*/ 11 w 13"/>
              <a:gd name="T5" fmla="*/ 6 h 23"/>
              <a:gd name="T6" fmla="*/ 10 w 13"/>
              <a:gd name="T7" fmla="*/ 7 h 23"/>
              <a:gd name="T8" fmla="*/ 10 w 13"/>
              <a:gd name="T9" fmla="*/ 7 h 23"/>
              <a:gd name="T10" fmla="*/ 8 w 13"/>
              <a:gd name="T11" fmla="*/ 3 h 23"/>
              <a:gd name="T12" fmla="*/ 8 w 13"/>
              <a:gd name="T13" fmla="*/ 4 h 23"/>
              <a:gd name="T14" fmla="*/ 6 w 13"/>
              <a:gd name="T15" fmla="*/ 2 h 23"/>
              <a:gd name="T16" fmla="*/ 4 w 13"/>
              <a:gd name="T17" fmla="*/ 2 h 23"/>
              <a:gd name="T18" fmla="*/ 4 w 13"/>
              <a:gd name="T19" fmla="*/ 0 h 23"/>
              <a:gd name="T20" fmla="*/ 2 w 13"/>
              <a:gd name="T21" fmla="*/ 0 h 23"/>
              <a:gd name="T22" fmla="*/ 1 w 13"/>
              <a:gd name="T23" fmla="*/ 11 h 23"/>
              <a:gd name="T24" fmla="*/ 2 w 13"/>
              <a:gd name="T25" fmla="*/ 11 h 23"/>
              <a:gd name="T26" fmla="*/ 4 w 13"/>
              <a:gd name="T27" fmla="*/ 17 h 23"/>
              <a:gd name="T28" fmla="*/ 6 w 13"/>
              <a:gd name="T29" fmla="*/ 17 h 23"/>
              <a:gd name="T30" fmla="*/ 11 w 13"/>
              <a:gd name="T31" fmla="*/ 23 h 23"/>
              <a:gd name="T32" fmla="*/ 13 w 13"/>
              <a:gd name="T33" fmla="*/ 8 h 23"/>
              <a:gd name="T34" fmla="*/ 10 w 13"/>
              <a:gd name="T35" fmla="*/ 8 h 2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3"/>
              <a:gd name="T55" fmla="*/ 0 h 23"/>
              <a:gd name="T56" fmla="*/ 13 w 13"/>
              <a:gd name="T57" fmla="*/ 23 h 23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3" h="23">
                <a:moveTo>
                  <a:pt x="10" y="8"/>
                </a:moveTo>
                <a:cubicBezTo>
                  <a:pt x="11" y="7"/>
                  <a:pt x="11" y="7"/>
                  <a:pt x="11" y="7"/>
                </a:cubicBezTo>
                <a:cubicBezTo>
                  <a:pt x="11" y="7"/>
                  <a:pt x="11" y="7"/>
                  <a:pt x="11" y="6"/>
                </a:cubicBezTo>
                <a:cubicBezTo>
                  <a:pt x="10" y="7"/>
                  <a:pt x="10" y="7"/>
                  <a:pt x="10" y="7"/>
                </a:cubicBezTo>
                <a:cubicBezTo>
                  <a:pt x="10" y="7"/>
                  <a:pt x="10" y="7"/>
                  <a:pt x="10" y="7"/>
                </a:cubicBezTo>
                <a:cubicBezTo>
                  <a:pt x="9" y="5"/>
                  <a:pt x="9" y="3"/>
                  <a:pt x="8" y="3"/>
                </a:cubicBezTo>
                <a:cubicBezTo>
                  <a:pt x="7" y="4"/>
                  <a:pt x="8" y="4"/>
                  <a:pt x="8" y="4"/>
                </a:cubicBezTo>
                <a:cubicBezTo>
                  <a:pt x="7" y="3"/>
                  <a:pt x="7" y="3"/>
                  <a:pt x="6" y="2"/>
                </a:cubicBezTo>
                <a:cubicBezTo>
                  <a:pt x="5" y="3"/>
                  <a:pt x="5" y="2"/>
                  <a:pt x="4" y="2"/>
                </a:cubicBezTo>
                <a:cubicBezTo>
                  <a:pt x="4" y="2"/>
                  <a:pt x="4" y="1"/>
                  <a:pt x="4" y="0"/>
                </a:cubicBezTo>
                <a:cubicBezTo>
                  <a:pt x="4" y="0"/>
                  <a:pt x="3" y="0"/>
                  <a:pt x="2" y="0"/>
                </a:cubicBezTo>
                <a:cubicBezTo>
                  <a:pt x="3" y="4"/>
                  <a:pt x="0" y="8"/>
                  <a:pt x="1" y="11"/>
                </a:cubicBezTo>
                <a:cubicBezTo>
                  <a:pt x="2" y="11"/>
                  <a:pt x="2" y="11"/>
                  <a:pt x="2" y="11"/>
                </a:cubicBezTo>
                <a:cubicBezTo>
                  <a:pt x="3" y="13"/>
                  <a:pt x="4" y="15"/>
                  <a:pt x="4" y="17"/>
                </a:cubicBezTo>
                <a:cubicBezTo>
                  <a:pt x="5" y="17"/>
                  <a:pt x="5" y="18"/>
                  <a:pt x="6" y="17"/>
                </a:cubicBezTo>
                <a:cubicBezTo>
                  <a:pt x="8" y="19"/>
                  <a:pt x="10" y="21"/>
                  <a:pt x="11" y="23"/>
                </a:cubicBezTo>
                <a:cubicBezTo>
                  <a:pt x="12" y="18"/>
                  <a:pt x="12" y="13"/>
                  <a:pt x="13" y="8"/>
                </a:cubicBezTo>
                <a:cubicBezTo>
                  <a:pt x="13" y="7"/>
                  <a:pt x="11" y="8"/>
                  <a:pt x="10" y="8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53" name="Freeform 28"/>
          <p:cNvSpPr>
            <a:spLocks/>
          </p:cNvSpPr>
          <p:nvPr/>
        </p:nvSpPr>
        <p:spPr bwMode="auto">
          <a:xfrm>
            <a:off x="5106988" y="5151438"/>
            <a:ext cx="3175" cy="11112"/>
          </a:xfrm>
          <a:custGeom>
            <a:avLst/>
            <a:gdLst>
              <a:gd name="T0" fmla="*/ 0 w 1"/>
              <a:gd name="T1" fmla="*/ 3 h 4"/>
              <a:gd name="T2" fmla="*/ 1 w 1"/>
              <a:gd name="T3" fmla="*/ 4 h 4"/>
              <a:gd name="T4" fmla="*/ 1 w 1"/>
              <a:gd name="T5" fmla="*/ 2 h 4"/>
              <a:gd name="T6" fmla="*/ 1 w 1"/>
              <a:gd name="T7" fmla="*/ 0 h 4"/>
              <a:gd name="T8" fmla="*/ 0 w 1"/>
              <a:gd name="T9" fmla="*/ 3 h 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"/>
              <a:gd name="T16" fmla="*/ 0 h 4"/>
              <a:gd name="T17" fmla="*/ 1 w 1"/>
              <a:gd name="T18" fmla="*/ 4 h 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" h="4">
                <a:moveTo>
                  <a:pt x="0" y="3"/>
                </a:moveTo>
                <a:cubicBezTo>
                  <a:pt x="0" y="3"/>
                  <a:pt x="1" y="4"/>
                  <a:pt x="1" y="4"/>
                </a:cubicBezTo>
                <a:cubicBezTo>
                  <a:pt x="1" y="3"/>
                  <a:pt x="1" y="2"/>
                  <a:pt x="1" y="2"/>
                </a:cubicBezTo>
                <a:cubicBezTo>
                  <a:pt x="1" y="1"/>
                  <a:pt x="1" y="0"/>
                  <a:pt x="1" y="0"/>
                </a:cubicBezTo>
                <a:cubicBezTo>
                  <a:pt x="0" y="0"/>
                  <a:pt x="0" y="1"/>
                  <a:pt x="0" y="3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54" name="Freeform 29"/>
          <p:cNvSpPr>
            <a:spLocks/>
          </p:cNvSpPr>
          <p:nvPr/>
        </p:nvSpPr>
        <p:spPr bwMode="auto">
          <a:xfrm>
            <a:off x="4627563" y="5318125"/>
            <a:ext cx="14287" cy="41275"/>
          </a:xfrm>
          <a:custGeom>
            <a:avLst/>
            <a:gdLst>
              <a:gd name="T0" fmla="*/ 2 w 5"/>
              <a:gd name="T1" fmla="*/ 8 h 15"/>
              <a:gd name="T2" fmla="*/ 1 w 5"/>
              <a:gd name="T3" fmla="*/ 0 h 15"/>
              <a:gd name="T4" fmla="*/ 1 w 5"/>
              <a:gd name="T5" fmla="*/ 3 h 15"/>
              <a:gd name="T6" fmla="*/ 1 w 5"/>
              <a:gd name="T7" fmla="*/ 2 h 15"/>
              <a:gd name="T8" fmla="*/ 1 w 5"/>
              <a:gd name="T9" fmla="*/ 6 h 15"/>
              <a:gd name="T10" fmla="*/ 4 w 5"/>
              <a:gd name="T11" fmla="*/ 13 h 15"/>
              <a:gd name="T12" fmla="*/ 4 w 5"/>
              <a:gd name="T13" fmla="*/ 14 h 15"/>
              <a:gd name="T14" fmla="*/ 5 w 5"/>
              <a:gd name="T15" fmla="*/ 15 h 15"/>
              <a:gd name="T16" fmla="*/ 2 w 5"/>
              <a:gd name="T17" fmla="*/ 8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"/>
              <a:gd name="T28" fmla="*/ 0 h 15"/>
              <a:gd name="T29" fmla="*/ 5 w 5"/>
              <a:gd name="T30" fmla="*/ 15 h 1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" h="15">
                <a:moveTo>
                  <a:pt x="2" y="8"/>
                </a:moveTo>
                <a:cubicBezTo>
                  <a:pt x="3" y="6"/>
                  <a:pt x="2" y="3"/>
                  <a:pt x="1" y="0"/>
                </a:cubicBezTo>
                <a:cubicBezTo>
                  <a:pt x="1" y="1"/>
                  <a:pt x="0" y="2"/>
                  <a:pt x="1" y="3"/>
                </a:cubicBezTo>
                <a:cubicBezTo>
                  <a:pt x="1" y="2"/>
                  <a:pt x="1" y="2"/>
                  <a:pt x="1" y="2"/>
                </a:cubicBezTo>
                <a:cubicBezTo>
                  <a:pt x="1" y="4"/>
                  <a:pt x="0" y="5"/>
                  <a:pt x="1" y="6"/>
                </a:cubicBezTo>
                <a:cubicBezTo>
                  <a:pt x="0" y="9"/>
                  <a:pt x="4" y="11"/>
                  <a:pt x="4" y="13"/>
                </a:cubicBezTo>
                <a:cubicBezTo>
                  <a:pt x="4" y="14"/>
                  <a:pt x="4" y="14"/>
                  <a:pt x="4" y="14"/>
                </a:cubicBezTo>
                <a:cubicBezTo>
                  <a:pt x="4" y="14"/>
                  <a:pt x="5" y="15"/>
                  <a:pt x="5" y="15"/>
                </a:cubicBezTo>
                <a:cubicBezTo>
                  <a:pt x="4" y="12"/>
                  <a:pt x="4" y="9"/>
                  <a:pt x="2" y="8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55" name="Freeform 30"/>
          <p:cNvSpPr>
            <a:spLocks/>
          </p:cNvSpPr>
          <p:nvPr/>
        </p:nvSpPr>
        <p:spPr bwMode="auto">
          <a:xfrm>
            <a:off x="4646613" y="5291138"/>
            <a:ext cx="19050" cy="23812"/>
          </a:xfrm>
          <a:custGeom>
            <a:avLst/>
            <a:gdLst>
              <a:gd name="T0" fmla="*/ 1 w 7"/>
              <a:gd name="T1" fmla="*/ 8 h 9"/>
              <a:gd name="T2" fmla="*/ 1 w 7"/>
              <a:gd name="T3" fmla="*/ 7 h 9"/>
              <a:gd name="T4" fmla="*/ 1 w 7"/>
              <a:gd name="T5" fmla="*/ 8 h 9"/>
              <a:gd name="T6" fmla="*/ 5 w 7"/>
              <a:gd name="T7" fmla="*/ 7 h 9"/>
              <a:gd name="T8" fmla="*/ 3 w 7"/>
              <a:gd name="T9" fmla="*/ 7 h 9"/>
              <a:gd name="T10" fmla="*/ 4 w 7"/>
              <a:gd name="T11" fmla="*/ 7 h 9"/>
              <a:gd name="T12" fmla="*/ 3 w 7"/>
              <a:gd name="T13" fmla="*/ 7 h 9"/>
              <a:gd name="T14" fmla="*/ 5 w 7"/>
              <a:gd name="T15" fmla="*/ 4 h 9"/>
              <a:gd name="T16" fmla="*/ 5 w 7"/>
              <a:gd name="T17" fmla="*/ 3 h 9"/>
              <a:gd name="T18" fmla="*/ 6 w 7"/>
              <a:gd name="T19" fmla="*/ 3 h 9"/>
              <a:gd name="T20" fmla="*/ 7 w 7"/>
              <a:gd name="T21" fmla="*/ 2 h 9"/>
              <a:gd name="T22" fmla="*/ 6 w 7"/>
              <a:gd name="T23" fmla="*/ 2 h 9"/>
              <a:gd name="T24" fmla="*/ 6 w 7"/>
              <a:gd name="T25" fmla="*/ 3 h 9"/>
              <a:gd name="T26" fmla="*/ 5 w 7"/>
              <a:gd name="T27" fmla="*/ 1 h 9"/>
              <a:gd name="T28" fmla="*/ 4 w 7"/>
              <a:gd name="T29" fmla="*/ 1 h 9"/>
              <a:gd name="T30" fmla="*/ 4 w 7"/>
              <a:gd name="T31" fmla="*/ 1 h 9"/>
              <a:gd name="T32" fmla="*/ 3 w 7"/>
              <a:gd name="T33" fmla="*/ 1 h 9"/>
              <a:gd name="T34" fmla="*/ 2 w 7"/>
              <a:gd name="T35" fmla="*/ 1 h 9"/>
              <a:gd name="T36" fmla="*/ 0 w 7"/>
              <a:gd name="T37" fmla="*/ 2 h 9"/>
              <a:gd name="T38" fmla="*/ 0 w 7"/>
              <a:gd name="T39" fmla="*/ 7 h 9"/>
              <a:gd name="T40" fmla="*/ 0 w 7"/>
              <a:gd name="T41" fmla="*/ 9 h 9"/>
              <a:gd name="T42" fmla="*/ 1 w 7"/>
              <a:gd name="T43" fmla="*/ 8 h 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7"/>
              <a:gd name="T67" fmla="*/ 0 h 9"/>
              <a:gd name="T68" fmla="*/ 7 w 7"/>
              <a:gd name="T69" fmla="*/ 9 h 9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7" h="9">
                <a:moveTo>
                  <a:pt x="1" y="8"/>
                </a:moveTo>
                <a:cubicBezTo>
                  <a:pt x="1" y="8"/>
                  <a:pt x="1" y="7"/>
                  <a:pt x="1" y="7"/>
                </a:cubicBezTo>
                <a:cubicBezTo>
                  <a:pt x="1" y="8"/>
                  <a:pt x="1" y="8"/>
                  <a:pt x="1" y="8"/>
                </a:cubicBezTo>
                <a:cubicBezTo>
                  <a:pt x="3" y="8"/>
                  <a:pt x="4" y="9"/>
                  <a:pt x="5" y="7"/>
                </a:cubicBezTo>
                <a:cubicBezTo>
                  <a:pt x="4" y="7"/>
                  <a:pt x="3" y="7"/>
                  <a:pt x="3" y="7"/>
                </a:cubicBezTo>
                <a:cubicBezTo>
                  <a:pt x="3" y="7"/>
                  <a:pt x="4" y="7"/>
                  <a:pt x="4" y="7"/>
                </a:cubicBezTo>
                <a:cubicBezTo>
                  <a:pt x="4" y="6"/>
                  <a:pt x="3" y="7"/>
                  <a:pt x="3" y="7"/>
                </a:cubicBezTo>
                <a:cubicBezTo>
                  <a:pt x="5" y="6"/>
                  <a:pt x="4" y="5"/>
                  <a:pt x="5" y="4"/>
                </a:cubicBezTo>
                <a:cubicBezTo>
                  <a:pt x="6" y="4"/>
                  <a:pt x="5" y="4"/>
                  <a:pt x="5" y="3"/>
                </a:cubicBezTo>
                <a:cubicBezTo>
                  <a:pt x="6" y="3"/>
                  <a:pt x="6" y="3"/>
                  <a:pt x="6" y="3"/>
                </a:cubicBezTo>
                <a:cubicBezTo>
                  <a:pt x="6" y="3"/>
                  <a:pt x="7" y="3"/>
                  <a:pt x="7" y="2"/>
                </a:cubicBezTo>
                <a:cubicBezTo>
                  <a:pt x="7" y="2"/>
                  <a:pt x="6" y="2"/>
                  <a:pt x="6" y="2"/>
                </a:cubicBezTo>
                <a:cubicBezTo>
                  <a:pt x="6" y="3"/>
                  <a:pt x="6" y="3"/>
                  <a:pt x="6" y="3"/>
                </a:cubicBezTo>
                <a:cubicBezTo>
                  <a:pt x="5" y="2"/>
                  <a:pt x="5" y="2"/>
                  <a:pt x="5" y="1"/>
                </a:cubicBezTo>
                <a:cubicBezTo>
                  <a:pt x="5" y="2"/>
                  <a:pt x="4" y="1"/>
                  <a:pt x="4" y="1"/>
                </a:cubicBezTo>
                <a:cubicBezTo>
                  <a:pt x="4" y="1"/>
                  <a:pt x="4" y="1"/>
                  <a:pt x="4" y="1"/>
                </a:cubicBezTo>
                <a:cubicBezTo>
                  <a:pt x="4" y="1"/>
                  <a:pt x="4" y="0"/>
                  <a:pt x="3" y="1"/>
                </a:cubicBezTo>
                <a:cubicBezTo>
                  <a:pt x="3" y="1"/>
                  <a:pt x="2" y="2"/>
                  <a:pt x="2" y="1"/>
                </a:cubicBezTo>
                <a:cubicBezTo>
                  <a:pt x="2" y="2"/>
                  <a:pt x="1" y="2"/>
                  <a:pt x="0" y="2"/>
                </a:cubicBezTo>
                <a:cubicBezTo>
                  <a:pt x="0" y="3"/>
                  <a:pt x="0" y="5"/>
                  <a:pt x="0" y="7"/>
                </a:cubicBezTo>
                <a:cubicBezTo>
                  <a:pt x="0" y="7"/>
                  <a:pt x="0" y="8"/>
                  <a:pt x="0" y="9"/>
                </a:cubicBezTo>
                <a:cubicBezTo>
                  <a:pt x="0" y="8"/>
                  <a:pt x="1" y="8"/>
                  <a:pt x="1" y="8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56" name="Freeform 31"/>
          <p:cNvSpPr>
            <a:spLocks/>
          </p:cNvSpPr>
          <p:nvPr/>
        </p:nvSpPr>
        <p:spPr bwMode="auto">
          <a:xfrm>
            <a:off x="4660900" y="5365750"/>
            <a:ext cx="7938" cy="33338"/>
          </a:xfrm>
          <a:custGeom>
            <a:avLst/>
            <a:gdLst>
              <a:gd name="T0" fmla="*/ 0 w 3"/>
              <a:gd name="T1" fmla="*/ 0 h 12"/>
              <a:gd name="T2" fmla="*/ 0 w 3"/>
              <a:gd name="T3" fmla="*/ 10 h 12"/>
              <a:gd name="T4" fmla="*/ 1 w 3"/>
              <a:gd name="T5" fmla="*/ 12 h 12"/>
              <a:gd name="T6" fmla="*/ 2 w 3"/>
              <a:gd name="T7" fmla="*/ 11 h 12"/>
              <a:gd name="T8" fmla="*/ 2 w 3"/>
              <a:gd name="T9" fmla="*/ 12 h 12"/>
              <a:gd name="T10" fmla="*/ 1 w 3"/>
              <a:gd name="T11" fmla="*/ 6 h 12"/>
              <a:gd name="T12" fmla="*/ 0 w 3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12"/>
              <a:gd name="T23" fmla="*/ 3 w 3"/>
              <a:gd name="T24" fmla="*/ 12 h 1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12">
                <a:moveTo>
                  <a:pt x="0" y="0"/>
                </a:moveTo>
                <a:cubicBezTo>
                  <a:pt x="1" y="3"/>
                  <a:pt x="0" y="6"/>
                  <a:pt x="0" y="10"/>
                </a:cubicBezTo>
                <a:cubicBezTo>
                  <a:pt x="1" y="10"/>
                  <a:pt x="1" y="11"/>
                  <a:pt x="1" y="12"/>
                </a:cubicBezTo>
                <a:cubicBezTo>
                  <a:pt x="2" y="12"/>
                  <a:pt x="1" y="11"/>
                  <a:pt x="2" y="11"/>
                </a:cubicBezTo>
                <a:cubicBezTo>
                  <a:pt x="2" y="12"/>
                  <a:pt x="2" y="12"/>
                  <a:pt x="2" y="12"/>
                </a:cubicBezTo>
                <a:cubicBezTo>
                  <a:pt x="1" y="11"/>
                  <a:pt x="2" y="8"/>
                  <a:pt x="1" y="6"/>
                </a:cubicBezTo>
                <a:cubicBezTo>
                  <a:pt x="3" y="6"/>
                  <a:pt x="1" y="1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57" name="Freeform 32"/>
          <p:cNvSpPr>
            <a:spLocks/>
          </p:cNvSpPr>
          <p:nvPr/>
        </p:nvSpPr>
        <p:spPr bwMode="auto">
          <a:xfrm>
            <a:off x="3930650" y="4943475"/>
            <a:ext cx="44450" cy="20638"/>
          </a:xfrm>
          <a:custGeom>
            <a:avLst/>
            <a:gdLst>
              <a:gd name="T0" fmla="*/ 2 w 16"/>
              <a:gd name="T1" fmla="*/ 6 h 8"/>
              <a:gd name="T2" fmla="*/ 10 w 16"/>
              <a:gd name="T3" fmla="*/ 4 h 8"/>
              <a:gd name="T4" fmla="*/ 8 w 16"/>
              <a:gd name="T5" fmla="*/ 6 h 8"/>
              <a:gd name="T6" fmla="*/ 9 w 16"/>
              <a:gd name="T7" fmla="*/ 5 h 8"/>
              <a:gd name="T8" fmla="*/ 15 w 16"/>
              <a:gd name="T9" fmla="*/ 6 h 8"/>
              <a:gd name="T10" fmla="*/ 14 w 16"/>
              <a:gd name="T11" fmla="*/ 6 h 8"/>
              <a:gd name="T12" fmla="*/ 16 w 16"/>
              <a:gd name="T13" fmla="*/ 6 h 8"/>
              <a:gd name="T14" fmla="*/ 16 w 16"/>
              <a:gd name="T15" fmla="*/ 6 h 8"/>
              <a:gd name="T16" fmla="*/ 15 w 16"/>
              <a:gd name="T17" fmla="*/ 6 h 8"/>
              <a:gd name="T18" fmla="*/ 16 w 16"/>
              <a:gd name="T19" fmla="*/ 5 h 8"/>
              <a:gd name="T20" fmla="*/ 15 w 16"/>
              <a:gd name="T21" fmla="*/ 5 h 8"/>
              <a:gd name="T22" fmla="*/ 16 w 16"/>
              <a:gd name="T23" fmla="*/ 4 h 8"/>
              <a:gd name="T24" fmla="*/ 16 w 16"/>
              <a:gd name="T25" fmla="*/ 3 h 8"/>
              <a:gd name="T26" fmla="*/ 16 w 16"/>
              <a:gd name="T27" fmla="*/ 3 h 8"/>
              <a:gd name="T28" fmla="*/ 14 w 16"/>
              <a:gd name="T29" fmla="*/ 1 h 8"/>
              <a:gd name="T30" fmla="*/ 11 w 16"/>
              <a:gd name="T31" fmla="*/ 0 h 8"/>
              <a:gd name="T32" fmla="*/ 11 w 16"/>
              <a:gd name="T33" fmla="*/ 0 h 8"/>
              <a:gd name="T34" fmla="*/ 9 w 16"/>
              <a:gd name="T35" fmla="*/ 1 h 8"/>
              <a:gd name="T36" fmla="*/ 10 w 16"/>
              <a:gd name="T37" fmla="*/ 1 h 8"/>
              <a:gd name="T38" fmla="*/ 8 w 16"/>
              <a:gd name="T39" fmla="*/ 2 h 8"/>
              <a:gd name="T40" fmla="*/ 9 w 16"/>
              <a:gd name="T41" fmla="*/ 1 h 8"/>
              <a:gd name="T42" fmla="*/ 0 w 16"/>
              <a:gd name="T43" fmla="*/ 6 h 8"/>
              <a:gd name="T44" fmla="*/ 3 w 16"/>
              <a:gd name="T45" fmla="*/ 5 h 8"/>
              <a:gd name="T46" fmla="*/ 2 w 16"/>
              <a:gd name="T47" fmla="*/ 6 h 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6"/>
              <a:gd name="T73" fmla="*/ 0 h 8"/>
              <a:gd name="T74" fmla="*/ 16 w 16"/>
              <a:gd name="T75" fmla="*/ 8 h 8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6" h="8">
                <a:moveTo>
                  <a:pt x="2" y="6"/>
                </a:moveTo>
                <a:cubicBezTo>
                  <a:pt x="5" y="6"/>
                  <a:pt x="7" y="4"/>
                  <a:pt x="10" y="4"/>
                </a:cubicBezTo>
                <a:cubicBezTo>
                  <a:pt x="9" y="4"/>
                  <a:pt x="8" y="5"/>
                  <a:pt x="8" y="6"/>
                </a:cubicBezTo>
                <a:cubicBezTo>
                  <a:pt x="8" y="5"/>
                  <a:pt x="8" y="6"/>
                  <a:pt x="9" y="5"/>
                </a:cubicBezTo>
                <a:cubicBezTo>
                  <a:pt x="10" y="8"/>
                  <a:pt x="13" y="5"/>
                  <a:pt x="15" y="6"/>
                </a:cubicBezTo>
                <a:cubicBezTo>
                  <a:pt x="15" y="6"/>
                  <a:pt x="14" y="6"/>
                  <a:pt x="14" y="6"/>
                </a:cubicBezTo>
                <a:cubicBezTo>
                  <a:pt x="14" y="7"/>
                  <a:pt x="15" y="6"/>
                  <a:pt x="16" y="6"/>
                </a:cubicBezTo>
                <a:cubicBezTo>
                  <a:pt x="15" y="8"/>
                  <a:pt x="16" y="7"/>
                  <a:pt x="16" y="6"/>
                </a:cubicBezTo>
                <a:cubicBezTo>
                  <a:pt x="15" y="6"/>
                  <a:pt x="15" y="6"/>
                  <a:pt x="15" y="6"/>
                </a:cubicBezTo>
                <a:cubicBezTo>
                  <a:pt x="16" y="6"/>
                  <a:pt x="15" y="6"/>
                  <a:pt x="16" y="5"/>
                </a:cubicBezTo>
                <a:cubicBezTo>
                  <a:pt x="15" y="5"/>
                  <a:pt x="15" y="5"/>
                  <a:pt x="15" y="5"/>
                </a:cubicBezTo>
                <a:cubicBezTo>
                  <a:pt x="16" y="5"/>
                  <a:pt x="16" y="5"/>
                  <a:pt x="16" y="4"/>
                </a:cubicBezTo>
                <a:cubicBezTo>
                  <a:pt x="16" y="4"/>
                  <a:pt x="15" y="4"/>
                  <a:pt x="16" y="3"/>
                </a:cubicBezTo>
                <a:cubicBezTo>
                  <a:pt x="16" y="3"/>
                  <a:pt x="16" y="3"/>
                  <a:pt x="16" y="3"/>
                </a:cubicBezTo>
                <a:cubicBezTo>
                  <a:pt x="14" y="3"/>
                  <a:pt x="14" y="3"/>
                  <a:pt x="14" y="1"/>
                </a:cubicBezTo>
                <a:cubicBezTo>
                  <a:pt x="13" y="1"/>
                  <a:pt x="11" y="0"/>
                  <a:pt x="11" y="0"/>
                </a:cubicBezTo>
                <a:cubicBezTo>
                  <a:pt x="11" y="1"/>
                  <a:pt x="11" y="0"/>
                  <a:pt x="11" y="0"/>
                </a:cubicBezTo>
                <a:cubicBezTo>
                  <a:pt x="11" y="1"/>
                  <a:pt x="10" y="1"/>
                  <a:pt x="9" y="1"/>
                </a:cubicBezTo>
                <a:cubicBezTo>
                  <a:pt x="10" y="1"/>
                  <a:pt x="10" y="1"/>
                  <a:pt x="10" y="1"/>
                </a:cubicBezTo>
                <a:cubicBezTo>
                  <a:pt x="9" y="1"/>
                  <a:pt x="9" y="2"/>
                  <a:pt x="8" y="2"/>
                </a:cubicBezTo>
                <a:cubicBezTo>
                  <a:pt x="9" y="1"/>
                  <a:pt x="9" y="1"/>
                  <a:pt x="9" y="1"/>
                </a:cubicBezTo>
                <a:cubicBezTo>
                  <a:pt x="6" y="3"/>
                  <a:pt x="2" y="4"/>
                  <a:pt x="0" y="6"/>
                </a:cubicBezTo>
                <a:cubicBezTo>
                  <a:pt x="1" y="6"/>
                  <a:pt x="2" y="5"/>
                  <a:pt x="3" y="5"/>
                </a:cubicBezTo>
                <a:cubicBezTo>
                  <a:pt x="3" y="6"/>
                  <a:pt x="2" y="6"/>
                  <a:pt x="2" y="6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58" name="Freeform 33"/>
          <p:cNvSpPr>
            <a:spLocks/>
          </p:cNvSpPr>
          <p:nvPr/>
        </p:nvSpPr>
        <p:spPr bwMode="auto">
          <a:xfrm>
            <a:off x="3917950" y="4910138"/>
            <a:ext cx="9525" cy="15875"/>
          </a:xfrm>
          <a:custGeom>
            <a:avLst/>
            <a:gdLst>
              <a:gd name="T0" fmla="*/ 1 w 4"/>
              <a:gd name="T1" fmla="*/ 5 h 6"/>
              <a:gd name="T2" fmla="*/ 2 w 4"/>
              <a:gd name="T3" fmla="*/ 4 h 6"/>
              <a:gd name="T4" fmla="*/ 2 w 4"/>
              <a:gd name="T5" fmla="*/ 5 h 6"/>
              <a:gd name="T6" fmla="*/ 1 w 4"/>
              <a:gd name="T7" fmla="*/ 6 h 6"/>
              <a:gd name="T8" fmla="*/ 3 w 4"/>
              <a:gd name="T9" fmla="*/ 5 h 6"/>
              <a:gd name="T10" fmla="*/ 3 w 4"/>
              <a:gd name="T11" fmla="*/ 0 h 6"/>
              <a:gd name="T12" fmla="*/ 2 w 4"/>
              <a:gd name="T13" fmla="*/ 0 h 6"/>
              <a:gd name="T14" fmla="*/ 0 w 4"/>
              <a:gd name="T15" fmla="*/ 2 h 6"/>
              <a:gd name="T16" fmla="*/ 1 w 4"/>
              <a:gd name="T17" fmla="*/ 2 h 6"/>
              <a:gd name="T18" fmla="*/ 0 w 4"/>
              <a:gd name="T19" fmla="*/ 2 h 6"/>
              <a:gd name="T20" fmla="*/ 1 w 4"/>
              <a:gd name="T21" fmla="*/ 5 h 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"/>
              <a:gd name="T34" fmla="*/ 0 h 6"/>
              <a:gd name="T35" fmla="*/ 4 w 4"/>
              <a:gd name="T36" fmla="*/ 6 h 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" h="6">
                <a:moveTo>
                  <a:pt x="1" y="5"/>
                </a:moveTo>
                <a:cubicBezTo>
                  <a:pt x="1" y="5"/>
                  <a:pt x="1" y="4"/>
                  <a:pt x="2" y="4"/>
                </a:cubicBezTo>
                <a:cubicBezTo>
                  <a:pt x="2" y="4"/>
                  <a:pt x="2" y="4"/>
                  <a:pt x="2" y="5"/>
                </a:cubicBezTo>
                <a:cubicBezTo>
                  <a:pt x="2" y="5"/>
                  <a:pt x="1" y="5"/>
                  <a:pt x="1" y="6"/>
                </a:cubicBezTo>
                <a:cubicBezTo>
                  <a:pt x="2" y="5"/>
                  <a:pt x="2" y="5"/>
                  <a:pt x="3" y="5"/>
                </a:cubicBezTo>
                <a:cubicBezTo>
                  <a:pt x="2" y="3"/>
                  <a:pt x="4" y="2"/>
                  <a:pt x="3" y="0"/>
                </a:cubicBezTo>
                <a:cubicBezTo>
                  <a:pt x="3" y="0"/>
                  <a:pt x="2" y="0"/>
                  <a:pt x="2" y="0"/>
                </a:cubicBezTo>
                <a:cubicBezTo>
                  <a:pt x="1" y="0"/>
                  <a:pt x="1" y="1"/>
                  <a:pt x="0" y="2"/>
                </a:cubicBezTo>
                <a:cubicBezTo>
                  <a:pt x="1" y="2"/>
                  <a:pt x="1" y="2"/>
                  <a:pt x="1" y="2"/>
                </a:cubicBezTo>
                <a:cubicBezTo>
                  <a:pt x="1" y="2"/>
                  <a:pt x="1" y="2"/>
                  <a:pt x="0" y="2"/>
                </a:cubicBezTo>
                <a:cubicBezTo>
                  <a:pt x="0" y="3"/>
                  <a:pt x="1" y="3"/>
                  <a:pt x="1" y="5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59" name="Freeform 34"/>
          <p:cNvSpPr>
            <a:spLocks/>
          </p:cNvSpPr>
          <p:nvPr/>
        </p:nvSpPr>
        <p:spPr bwMode="auto">
          <a:xfrm>
            <a:off x="4033838" y="5645150"/>
            <a:ext cx="1587" cy="1588"/>
          </a:xfrm>
          <a:custGeom>
            <a:avLst/>
            <a:gdLst>
              <a:gd name="T0" fmla="*/ 0 w 1628"/>
              <a:gd name="T1" fmla="*/ 0 h 1"/>
              <a:gd name="T2" fmla="*/ 0 w 1628"/>
              <a:gd name="T3" fmla="*/ 0 h 1"/>
              <a:gd name="T4" fmla="*/ 0 w 1628"/>
              <a:gd name="T5" fmla="*/ 1 h 1"/>
              <a:gd name="T6" fmla="*/ 0 w 1628"/>
              <a:gd name="T7" fmla="*/ 0 h 1"/>
              <a:gd name="T8" fmla="*/ 0 60000 65536"/>
              <a:gd name="T9" fmla="*/ 0 60000 65536"/>
              <a:gd name="T10" fmla="*/ 0 60000 65536"/>
              <a:gd name="T11" fmla="*/ 0 60000 65536"/>
              <a:gd name="T12" fmla="*/ 0 w 1628"/>
              <a:gd name="T13" fmla="*/ 0 h 1"/>
              <a:gd name="T14" fmla="*/ 1628 w 1628"/>
              <a:gd name="T15" fmla="*/ 1 h 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628"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60" name="Freeform 35"/>
          <p:cNvSpPr>
            <a:spLocks noEditPoints="1"/>
          </p:cNvSpPr>
          <p:nvPr/>
        </p:nvSpPr>
        <p:spPr bwMode="auto">
          <a:xfrm>
            <a:off x="3830638" y="4503738"/>
            <a:ext cx="1268412" cy="1303337"/>
          </a:xfrm>
          <a:custGeom>
            <a:avLst/>
            <a:gdLst>
              <a:gd name="T0" fmla="*/ 436 w 462"/>
              <a:gd name="T1" fmla="*/ 236 h 475"/>
              <a:gd name="T2" fmla="*/ 389 w 462"/>
              <a:gd name="T3" fmla="*/ 232 h 475"/>
              <a:gd name="T4" fmla="*/ 334 w 462"/>
              <a:gd name="T5" fmla="*/ 216 h 475"/>
              <a:gd name="T6" fmla="*/ 302 w 462"/>
              <a:gd name="T7" fmla="*/ 211 h 475"/>
              <a:gd name="T8" fmla="*/ 303 w 462"/>
              <a:gd name="T9" fmla="*/ 341 h 475"/>
              <a:gd name="T10" fmla="*/ 244 w 462"/>
              <a:gd name="T11" fmla="*/ 291 h 475"/>
              <a:gd name="T12" fmla="*/ 186 w 462"/>
              <a:gd name="T13" fmla="*/ 236 h 475"/>
              <a:gd name="T14" fmla="*/ 289 w 462"/>
              <a:gd name="T15" fmla="*/ 207 h 475"/>
              <a:gd name="T16" fmla="*/ 282 w 462"/>
              <a:gd name="T17" fmla="*/ 185 h 475"/>
              <a:gd name="T18" fmla="*/ 272 w 462"/>
              <a:gd name="T19" fmla="*/ 192 h 475"/>
              <a:gd name="T20" fmla="*/ 254 w 462"/>
              <a:gd name="T21" fmla="*/ 174 h 475"/>
              <a:gd name="T22" fmla="*/ 234 w 462"/>
              <a:gd name="T23" fmla="*/ 174 h 475"/>
              <a:gd name="T24" fmla="*/ 226 w 462"/>
              <a:gd name="T25" fmla="*/ 159 h 475"/>
              <a:gd name="T26" fmla="*/ 245 w 462"/>
              <a:gd name="T27" fmla="*/ 144 h 475"/>
              <a:gd name="T28" fmla="*/ 267 w 462"/>
              <a:gd name="T29" fmla="*/ 122 h 475"/>
              <a:gd name="T30" fmla="*/ 248 w 462"/>
              <a:gd name="T31" fmla="*/ 143 h 475"/>
              <a:gd name="T32" fmla="*/ 249 w 462"/>
              <a:gd name="T33" fmla="*/ 122 h 475"/>
              <a:gd name="T34" fmla="*/ 278 w 462"/>
              <a:gd name="T35" fmla="*/ 108 h 475"/>
              <a:gd name="T36" fmla="*/ 321 w 462"/>
              <a:gd name="T37" fmla="*/ 113 h 475"/>
              <a:gd name="T38" fmla="*/ 353 w 462"/>
              <a:gd name="T39" fmla="*/ 108 h 475"/>
              <a:gd name="T40" fmla="*/ 404 w 462"/>
              <a:gd name="T41" fmla="*/ 96 h 475"/>
              <a:gd name="T42" fmla="*/ 59 w 462"/>
              <a:gd name="T43" fmla="*/ 108 h 475"/>
              <a:gd name="T44" fmla="*/ 43 w 462"/>
              <a:gd name="T45" fmla="*/ 116 h 475"/>
              <a:gd name="T46" fmla="*/ 69 w 462"/>
              <a:gd name="T47" fmla="*/ 112 h 475"/>
              <a:gd name="T48" fmla="*/ 86 w 462"/>
              <a:gd name="T49" fmla="*/ 112 h 475"/>
              <a:gd name="T50" fmla="*/ 60 w 462"/>
              <a:gd name="T51" fmla="*/ 128 h 475"/>
              <a:gd name="T52" fmla="*/ 99 w 462"/>
              <a:gd name="T53" fmla="*/ 131 h 475"/>
              <a:gd name="T54" fmla="*/ 109 w 462"/>
              <a:gd name="T55" fmla="*/ 142 h 475"/>
              <a:gd name="T56" fmla="*/ 92 w 462"/>
              <a:gd name="T57" fmla="*/ 165 h 475"/>
              <a:gd name="T58" fmla="*/ 79 w 462"/>
              <a:gd name="T59" fmla="*/ 174 h 475"/>
              <a:gd name="T60" fmla="*/ 60 w 462"/>
              <a:gd name="T61" fmla="*/ 194 h 475"/>
              <a:gd name="T62" fmla="*/ 22 w 462"/>
              <a:gd name="T63" fmla="*/ 209 h 475"/>
              <a:gd name="T64" fmla="*/ 3 w 462"/>
              <a:gd name="T65" fmla="*/ 224 h 475"/>
              <a:gd name="T66" fmla="*/ 34 w 462"/>
              <a:gd name="T67" fmla="*/ 264 h 475"/>
              <a:gd name="T68" fmla="*/ 83 w 462"/>
              <a:gd name="T69" fmla="*/ 266 h 475"/>
              <a:gd name="T70" fmla="*/ 117 w 462"/>
              <a:gd name="T71" fmla="*/ 292 h 475"/>
              <a:gd name="T72" fmla="*/ 115 w 462"/>
              <a:gd name="T73" fmla="*/ 356 h 475"/>
              <a:gd name="T74" fmla="*/ 89 w 462"/>
              <a:gd name="T75" fmla="*/ 407 h 475"/>
              <a:gd name="T76" fmla="*/ 388 w 462"/>
              <a:gd name="T77" fmla="*/ 92 h 475"/>
              <a:gd name="T78" fmla="*/ 319 w 462"/>
              <a:gd name="T79" fmla="*/ 98 h 475"/>
              <a:gd name="T80" fmla="*/ 252 w 462"/>
              <a:gd name="T81" fmla="*/ 89 h 475"/>
              <a:gd name="T82" fmla="*/ 253 w 462"/>
              <a:gd name="T83" fmla="*/ 92 h 475"/>
              <a:gd name="T84" fmla="*/ 45 w 462"/>
              <a:gd name="T85" fmla="*/ 229 h 475"/>
              <a:gd name="T86" fmla="*/ 186 w 462"/>
              <a:gd name="T87" fmla="*/ 121 h 475"/>
              <a:gd name="T88" fmla="*/ 206 w 462"/>
              <a:gd name="T89" fmla="*/ 153 h 475"/>
              <a:gd name="T90" fmla="*/ 226 w 462"/>
              <a:gd name="T91" fmla="*/ 147 h 475"/>
              <a:gd name="T92" fmla="*/ 216 w 462"/>
              <a:gd name="T93" fmla="*/ 144 h 475"/>
              <a:gd name="T94" fmla="*/ 105 w 462"/>
              <a:gd name="T95" fmla="*/ 87 h 475"/>
              <a:gd name="T96" fmla="*/ 105 w 462"/>
              <a:gd name="T97" fmla="*/ 94 h 475"/>
              <a:gd name="T98" fmla="*/ 54 w 462"/>
              <a:gd name="T99" fmla="*/ 96 h 475"/>
              <a:gd name="T100" fmla="*/ 67 w 462"/>
              <a:gd name="T101" fmla="*/ 107 h 475"/>
              <a:gd name="T102" fmla="*/ 79 w 462"/>
              <a:gd name="T103" fmla="*/ 92 h 475"/>
              <a:gd name="T104" fmla="*/ 100 w 462"/>
              <a:gd name="T105" fmla="*/ 99 h 475"/>
              <a:gd name="T106" fmla="*/ 113 w 462"/>
              <a:gd name="T107" fmla="*/ 158 h 475"/>
              <a:gd name="T108" fmla="*/ 111 w 462"/>
              <a:gd name="T109" fmla="*/ 119 h 475"/>
              <a:gd name="T110" fmla="*/ 98 w 462"/>
              <a:gd name="T111" fmla="*/ 122 h 475"/>
              <a:gd name="T112" fmla="*/ 95 w 462"/>
              <a:gd name="T113" fmla="*/ 101 h 475"/>
              <a:gd name="T114" fmla="*/ 110 w 462"/>
              <a:gd name="T115" fmla="*/ 107 h 475"/>
              <a:gd name="T116" fmla="*/ 162 w 462"/>
              <a:gd name="T117" fmla="*/ 119 h 475"/>
              <a:gd name="T118" fmla="*/ 144 w 462"/>
              <a:gd name="T119" fmla="*/ 106 h 475"/>
              <a:gd name="T120" fmla="*/ 183 w 462"/>
              <a:gd name="T121" fmla="*/ 83 h 475"/>
              <a:gd name="T122" fmla="*/ 189 w 462"/>
              <a:gd name="T123" fmla="*/ 103 h 475"/>
              <a:gd name="T124" fmla="*/ 332 w 462"/>
              <a:gd name="T125" fmla="*/ 329 h 47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62"/>
              <a:gd name="T190" fmla="*/ 0 h 475"/>
              <a:gd name="T191" fmla="*/ 462 w 462"/>
              <a:gd name="T192" fmla="*/ 475 h 475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62" h="475">
                <a:moveTo>
                  <a:pt x="453" y="288"/>
                </a:moveTo>
                <a:cubicBezTo>
                  <a:pt x="454" y="286"/>
                  <a:pt x="452" y="285"/>
                  <a:pt x="453" y="284"/>
                </a:cubicBezTo>
                <a:cubicBezTo>
                  <a:pt x="452" y="283"/>
                  <a:pt x="451" y="283"/>
                  <a:pt x="450" y="282"/>
                </a:cubicBezTo>
                <a:cubicBezTo>
                  <a:pt x="449" y="278"/>
                  <a:pt x="444" y="278"/>
                  <a:pt x="444" y="274"/>
                </a:cubicBezTo>
                <a:cubicBezTo>
                  <a:pt x="446" y="275"/>
                  <a:pt x="451" y="274"/>
                  <a:pt x="451" y="277"/>
                </a:cubicBezTo>
                <a:cubicBezTo>
                  <a:pt x="452" y="279"/>
                  <a:pt x="455" y="279"/>
                  <a:pt x="455" y="281"/>
                </a:cubicBezTo>
                <a:cubicBezTo>
                  <a:pt x="456" y="282"/>
                  <a:pt x="456" y="281"/>
                  <a:pt x="456" y="281"/>
                </a:cubicBezTo>
                <a:cubicBezTo>
                  <a:pt x="456" y="282"/>
                  <a:pt x="457" y="283"/>
                  <a:pt x="457" y="283"/>
                </a:cubicBezTo>
                <a:cubicBezTo>
                  <a:pt x="458" y="283"/>
                  <a:pt x="457" y="282"/>
                  <a:pt x="457" y="283"/>
                </a:cubicBezTo>
                <a:cubicBezTo>
                  <a:pt x="458" y="283"/>
                  <a:pt x="459" y="283"/>
                  <a:pt x="459" y="284"/>
                </a:cubicBezTo>
                <a:cubicBezTo>
                  <a:pt x="460" y="284"/>
                  <a:pt x="461" y="285"/>
                  <a:pt x="461" y="286"/>
                </a:cubicBezTo>
                <a:cubicBezTo>
                  <a:pt x="461" y="285"/>
                  <a:pt x="462" y="284"/>
                  <a:pt x="462" y="284"/>
                </a:cubicBezTo>
                <a:cubicBezTo>
                  <a:pt x="460" y="282"/>
                  <a:pt x="458" y="281"/>
                  <a:pt x="457" y="278"/>
                </a:cubicBezTo>
                <a:cubicBezTo>
                  <a:pt x="457" y="277"/>
                  <a:pt x="456" y="276"/>
                  <a:pt x="456" y="275"/>
                </a:cubicBezTo>
                <a:cubicBezTo>
                  <a:pt x="456" y="274"/>
                  <a:pt x="456" y="275"/>
                  <a:pt x="456" y="275"/>
                </a:cubicBezTo>
                <a:cubicBezTo>
                  <a:pt x="457" y="273"/>
                  <a:pt x="455" y="270"/>
                  <a:pt x="453" y="270"/>
                </a:cubicBezTo>
                <a:cubicBezTo>
                  <a:pt x="454" y="269"/>
                  <a:pt x="453" y="268"/>
                  <a:pt x="453" y="268"/>
                </a:cubicBezTo>
                <a:cubicBezTo>
                  <a:pt x="453" y="267"/>
                  <a:pt x="452" y="268"/>
                  <a:pt x="452" y="267"/>
                </a:cubicBezTo>
                <a:cubicBezTo>
                  <a:pt x="451" y="267"/>
                  <a:pt x="452" y="268"/>
                  <a:pt x="451" y="268"/>
                </a:cubicBezTo>
                <a:cubicBezTo>
                  <a:pt x="451" y="264"/>
                  <a:pt x="451" y="261"/>
                  <a:pt x="452" y="258"/>
                </a:cubicBezTo>
                <a:cubicBezTo>
                  <a:pt x="451" y="257"/>
                  <a:pt x="451" y="258"/>
                  <a:pt x="451" y="258"/>
                </a:cubicBezTo>
                <a:cubicBezTo>
                  <a:pt x="451" y="257"/>
                  <a:pt x="451" y="257"/>
                  <a:pt x="451" y="256"/>
                </a:cubicBezTo>
                <a:cubicBezTo>
                  <a:pt x="451" y="256"/>
                  <a:pt x="451" y="256"/>
                  <a:pt x="451" y="256"/>
                </a:cubicBezTo>
                <a:cubicBezTo>
                  <a:pt x="451" y="255"/>
                  <a:pt x="450" y="254"/>
                  <a:pt x="450" y="252"/>
                </a:cubicBezTo>
                <a:cubicBezTo>
                  <a:pt x="450" y="253"/>
                  <a:pt x="450" y="253"/>
                  <a:pt x="450" y="253"/>
                </a:cubicBezTo>
                <a:cubicBezTo>
                  <a:pt x="448" y="250"/>
                  <a:pt x="448" y="246"/>
                  <a:pt x="446" y="243"/>
                </a:cubicBezTo>
                <a:cubicBezTo>
                  <a:pt x="446" y="246"/>
                  <a:pt x="443" y="245"/>
                  <a:pt x="443" y="247"/>
                </a:cubicBezTo>
                <a:cubicBezTo>
                  <a:pt x="442" y="247"/>
                  <a:pt x="442" y="247"/>
                  <a:pt x="442" y="247"/>
                </a:cubicBezTo>
                <a:cubicBezTo>
                  <a:pt x="441" y="247"/>
                  <a:pt x="441" y="247"/>
                  <a:pt x="441" y="247"/>
                </a:cubicBezTo>
                <a:cubicBezTo>
                  <a:pt x="441" y="246"/>
                  <a:pt x="441" y="246"/>
                  <a:pt x="441" y="246"/>
                </a:cubicBezTo>
                <a:cubicBezTo>
                  <a:pt x="440" y="247"/>
                  <a:pt x="440" y="247"/>
                  <a:pt x="440" y="247"/>
                </a:cubicBezTo>
                <a:cubicBezTo>
                  <a:pt x="441" y="242"/>
                  <a:pt x="439" y="239"/>
                  <a:pt x="437" y="237"/>
                </a:cubicBezTo>
                <a:cubicBezTo>
                  <a:pt x="438" y="237"/>
                  <a:pt x="438" y="238"/>
                  <a:pt x="438" y="238"/>
                </a:cubicBezTo>
                <a:cubicBezTo>
                  <a:pt x="437" y="237"/>
                  <a:pt x="437" y="236"/>
                  <a:pt x="436" y="236"/>
                </a:cubicBezTo>
                <a:cubicBezTo>
                  <a:pt x="436" y="236"/>
                  <a:pt x="436" y="236"/>
                  <a:pt x="436" y="236"/>
                </a:cubicBezTo>
                <a:cubicBezTo>
                  <a:pt x="436" y="237"/>
                  <a:pt x="436" y="236"/>
                  <a:pt x="436" y="236"/>
                </a:cubicBezTo>
                <a:cubicBezTo>
                  <a:pt x="435" y="236"/>
                  <a:pt x="436" y="236"/>
                  <a:pt x="436" y="235"/>
                </a:cubicBezTo>
                <a:cubicBezTo>
                  <a:pt x="435" y="236"/>
                  <a:pt x="435" y="236"/>
                  <a:pt x="435" y="236"/>
                </a:cubicBezTo>
                <a:cubicBezTo>
                  <a:pt x="433" y="234"/>
                  <a:pt x="433" y="230"/>
                  <a:pt x="431" y="229"/>
                </a:cubicBezTo>
                <a:cubicBezTo>
                  <a:pt x="430" y="229"/>
                  <a:pt x="431" y="229"/>
                  <a:pt x="430" y="229"/>
                </a:cubicBezTo>
                <a:cubicBezTo>
                  <a:pt x="430" y="229"/>
                  <a:pt x="430" y="229"/>
                  <a:pt x="429" y="228"/>
                </a:cubicBezTo>
                <a:cubicBezTo>
                  <a:pt x="429" y="228"/>
                  <a:pt x="429" y="228"/>
                  <a:pt x="429" y="229"/>
                </a:cubicBezTo>
                <a:cubicBezTo>
                  <a:pt x="429" y="229"/>
                  <a:pt x="429" y="228"/>
                  <a:pt x="430" y="229"/>
                </a:cubicBezTo>
                <a:cubicBezTo>
                  <a:pt x="430" y="229"/>
                  <a:pt x="431" y="230"/>
                  <a:pt x="430" y="231"/>
                </a:cubicBezTo>
                <a:cubicBezTo>
                  <a:pt x="430" y="230"/>
                  <a:pt x="430" y="230"/>
                  <a:pt x="430" y="230"/>
                </a:cubicBezTo>
                <a:cubicBezTo>
                  <a:pt x="429" y="230"/>
                  <a:pt x="429" y="231"/>
                  <a:pt x="429" y="231"/>
                </a:cubicBezTo>
                <a:cubicBezTo>
                  <a:pt x="428" y="231"/>
                  <a:pt x="428" y="231"/>
                  <a:pt x="428" y="231"/>
                </a:cubicBezTo>
                <a:cubicBezTo>
                  <a:pt x="428" y="232"/>
                  <a:pt x="427" y="231"/>
                  <a:pt x="427" y="232"/>
                </a:cubicBezTo>
                <a:cubicBezTo>
                  <a:pt x="426" y="232"/>
                  <a:pt x="426" y="231"/>
                  <a:pt x="426" y="231"/>
                </a:cubicBezTo>
                <a:cubicBezTo>
                  <a:pt x="426" y="231"/>
                  <a:pt x="426" y="231"/>
                  <a:pt x="426" y="232"/>
                </a:cubicBezTo>
                <a:cubicBezTo>
                  <a:pt x="426" y="232"/>
                  <a:pt x="426" y="232"/>
                  <a:pt x="426" y="232"/>
                </a:cubicBezTo>
                <a:cubicBezTo>
                  <a:pt x="425" y="232"/>
                  <a:pt x="425" y="232"/>
                  <a:pt x="424" y="232"/>
                </a:cubicBezTo>
                <a:cubicBezTo>
                  <a:pt x="424" y="231"/>
                  <a:pt x="424" y="231"/>
                  <a:pt x="424" y="231"/>
                </a:cubicBezTo>
                <a:cubicBezTo>
                  <a:pt x="424" y="232"/>
                  <a:pt x="422" y="231"/>
                  <a:pt x="421" y="233"/>
                </a:cubicBezTo>
                <a:cubicBezTo>
                  <a:pt x="421" y="233"/>
                  <a:pt x="422" y="234"/>
                  <a:pt x="422" y="234"/>
                </a:cubicBezTo>
                <a:cubicBezTo>
                  <a:pt x="422" y="235"/>
                  <a:pt x="421" y="235"/>
                  <a:pt x="421" y="236"/>
                </a:cubicBezTo>
                <a:cubicBezTo>
                  <a:pt x="417" y="237"/>
                  <a:pt x="416" y="242"/>
                  <a:pt x="412" y="244"/>
                </a:cubicBezTo>
                <a:cubicBezTo>
                  <a:pt x="413" y="245"/>
                  <a:pt x="411" y="246"/>
                  <a:pt x="410" y="246"/>
                </a:cubicBezTo>
                <a:cubicBezTo>
                  <a:pt x="410" y="246"/>
                  <a:pt x="410" y="247"/>
                  <a:pt x="409" y="247"/>
                </a:cubicBezTo>
                <a:cubicBezTo>
                  <a:pt x="409" y="247"/>
                  <a:pt x="409" y="247"/>
                  <a:pt x="409" y="247"/>
                </a:cubicBezTo>
                <a:cubicBezTo>
                  <a:pt x="407" y="247"/>
                  <a:pt x="408" y="249"/>
                  <a:pt x="408" y="250"/>
                </a:cubicBezTo>
                <a:cubicBezTo>
                  <a:pt x="409" y="254"/>
                  <a:pt x="408" y="258"/>
                  <a:pt x="408" y="262"/>
                </a:cubicBezTo>
                <a:cubicBezTo>
                  <a:pt x="407" y="262"/>
                  <a:pt x="407" y="261"/>
                  <a:pt x="407" y="262"/>
                </a:cubicBezTo>
                <a:cubicBezTo>
                  <a:pt x="406" y="262"/>
                  <a:pt x="406" y="263"/>
                  <a:pt x="406" y="264"/>
                </a:cubicBezTo>
                <a:cubicBezTo>
                  <a:pt x="406" y="264"/>
                  <a:pt x="407" y="264"/>
                  <a:pt x="407" y="264"/>
                </a:cubicBezTo>
                <a:cubicBezTo>
                  <a:pt x="404" y="263"/>
                  <a:pt x="405" y="267"/>
                  <a:pt x="403" y="267"/>
                </a:cubicBezTo>
                <a:cubicBezTo>
                  <a:pt x="402" y="267"/>
                  <a:pt x="400" y="265"/>
                  <a:pt x="400" y="264"/>
                </a:cubicBezTo>
                <a:cubicBezTo>
                  <a:pt x="398" y="259"/>
                  <a:pt x="395" y="252"/>
                  <a:pt x="393" y="248"/>
                </a:cubicBezTo>
                <a:cubicBezTo>
                  <a:pt x="391" y="246"/>
                  <a:pt x="391" y="243"/>
                  <a:pt x="390" y="239"/>
                </a:cubicBezTo>
                <a:cubicBezTo>
                  <a:pt x="390" y="239"/>
                  <a:pt x="390" y="239"/>
                  <a:pt x="390" y="239"/>
                </a:cubicBezTo>
                <a:cubicBezTo>
                  <a:pt x="389" y="237"/>
                  <a:pt x="390" y="234"/>
                  <a:pt x="389" y="233"/>
                </a:cubicBezTo>
                <a:cubicBezTo>
                  <a:pt x="389" y="233"/>
                  <a:pt x="389" y="233"/>
                  <a:pt x="389" y="232"/>
                </a:cubicBezTo>
                <a:cubicBezTo>
                  <a:pt x="389" y="232"/>
                  <a:pt x="389" y="232"/>
                  <a:pt x="389" y="232"/>
                </a:cubicBezTo>
                <a:cubicBezTo>
                  <a:pt x="389" y="231"/>
                  <a:pt x="389" y="232"/>
                  <a:pt x="389" y="231"/>
                </a:cubicBezTo>
                <a:cubicBezTo>
                  <a:pt x="389" y="231"/>
                  <a:pt x="388" y="231"/>
                  <a:pt x="389" y="230"/>
                </a:cubicBezTo>
                <a:cubicBezTo>
                  <a:pt x="388" y="230"/>
                  <a:pt x="388" y="231"/>
                  <a:pt x="387" y="231"/>
                </a:cubicBezTo>
                <a:cubicBezTo>
                  <a:pt x="388" y="231"/>
                  <a:pt x="388" y="231"/>
                  <a:pt x="388" y="232"/>
                </a:cubicBezTo>
                <a:cubicBezTo>
                  <a:pt x="386" y="237"/>
                  <a:pt x="381" y="232"/>
                  <a:pt x="380" y="229"/>
                </a:cubicBezTo>
                <a:cubicBezTo>
                  <a:pt x="381" y="230"/>
                  <a:pt x="381" y="229"/>
                  <a:pt x="381" y="230"/>
                </a:cubicBezTo>
                <a:cubicBezTo>
                  <a:pt x="382" y="229"/>
                  <a:pt x="383" y="230"/>
                  <a:pt x="383" y="228"/>
                </a:cubicBezTo>
                <a:cubicBezTo>
                  <a:pt x="383" y="228"/>
                  <a:pt x="382" y="228"/>
                  <a:pt x="382" y="229"/>
                </a:cubicBezTo>
                <a:cubicBezTo>
                  <a:pt x="379" y="227"/>
                  <a:pt x="377" y="226"/>
                  <a:pt x="376" y="223"/>
                </a:cubicBezTo>
                <a:cubicBezTo>
                  <a:pt x="375" y="223"/>
                  <a:pt x="375" y="223"/>
                  <a:pt x="374" y="223"/>
                </a:cubicBezTo>
                <a:cubicBezTo>
                  <a:pt x="375" y="222"/>
                  <a:pt x="374" y="222"/>
                  <a:pt x="374" y="222"/>
                </a:cubicBezTo>
                <a:cubicBezTo>
                  <a:pt x="373" y="222"/>
                  <a:pt x="371" y="221"/>
                  <a:pt x="370" y="222"/>
                </a:cubicBezTo>
                <a:cubicBezTo>
                  <a:pt x="369" y="222"/>
                  <a:pt x="368" y="221"/>
                  <a:pt x="367" y="222"/>
                </a:cubicBezTo>
                <a:cubicBezTo>
                  <a:pt x="365" y="222"/>
                  <a:pt x="365" y="222"/>
                  <a:pt x="363" y="223"/>
                </a:cubicBezTo>
                <a:cubicBezTo>
                  <a:pt x="363" y="222"/>
                  <a:pt x="363" y="222"/>
                  <a:pt x="363" y="222"/>
                </a:cubicBezTo>
                <a:cubicBezTo>
                  <a:pt x="362" y="223"/>
                  <a:pt x="361" y="222"/>
                  <a:pt x="361" y="222"/>
                </a:cubicBezTo>
                <a:cubicBezTo>
                  <a:pt x="359" y="222"/>
                  <a:pt x="355" y="221"/>
                  <a:pt x="353" y="221"/>
                </a:cubicBezTo>
                <a:cubicBezTo>
                  <a:pt x="352" y="220"/>
                  <a:pt x="352" y="216"/>
                  <a:pt x="349" y="218"/>
                </a:cubicBezTo>
                <a:cubicBezTo>
                  <a:pt x="350" y="218"/>
                  <a:pt x="350" y="217"/>
                  <a:pt x="351" y="218"/>
                </a:cubicBezTo>
                <a:cubicBezTo>
                  <a:pt x="350" y="218"/>
                  <a:pt x="349" y="218"/>
                  <a:pt x="348" y="219"/>
                </a:cubicBezTo>
                <a:cubicBezTo>
                  <a:pt x="348" y="218"/>
                  <a:pt x="349" y="218"/>
                  <a:pt x="349" y="218"/>
                </a:cubicBezTo>
                <a:cubicBezTo>
                  <a:pt x="348" y="218"/>
                  <a:pt x="348" y="219"/>
                  <a:pt x="347" y="219"/>
                </a:cubicBezTo>
                <a:cubicBezTo>
                  <a:pt x="346" y="219"/>
                  <a:pt x="346" y="218"/>
                  <a:pt x="345" y="218"/>
                </a:cubicBezTo>
                <a:cubicBezTo>
                  <a:pt x="343" y="216"/>
                  <a:pt x="339" y="216"/>
                  <a:pt x="338" y="213"/>
                </a:cubicBezTo>
                <a:cubicBezTo>
                  <a:pt x="338" y="212"/>
                  <a:pt x="338" y="212"/>
                  <a:pt x="337" y="212"/>
                </a:cubicBezTo>
                <a:cubicBezTo>
                  <a:pt x="337" y="210"/>
                  <a:pt x="336" y="210"/>
                  <a:pt x="336" y="209"/>
                </a:cubicBezTo>
                <a:cubicBezTo>
                  <a:pt x="335" y="209"/>
                  <a:pt x="335" y="210"/>
                  <a:pt x="334" y="210"/>
                </a:cubicBezTo>
                <a:cubicBezTo>
                  <a:pt x="334" y="209"/>
                  <a:pt x="333" y="209"/>
                  <a:pt x="333" y="209"/>
                </a:cubicBezTo>
                <a:cubicBezTo>
                  <a:pt x="333" y="209"/>
                  <a:pt x="333" y="209"/>
                  <a:pt x="333" y="209"/>
                </a:cubicBezTo>
                <a:cubicBezTo>
                  <a:pt x="333" y="210"/>
                  <a:pt x="332" y="210"/>
                  <a:pt x="332" y="210"/>
                </a:cubicBezTo>
                <a:cubicBezTo>
                  <a:pt x="331" y="210"/>
                  <a:pt x="332" y="210"/>
                  <a:pt x="332" y="210"/>
                </a:cubicBezTo>
                <a:cubicBezTo>
                  <a:pt x="332" y="211"/>
                  <a:pt x="331" y="210"/>
                  <a:pt x="331" y="211"/>
                </a:cubicBezTo>
                <a:cubicBezTo>
                  <a:pt x="331" y="212"/>
                  <a:pt x="331" y="211"/>
                  <a:pt x="331" y="211"/>
                </a:cubicBezTo>
                <a:cubicBezTo>
                  <a:pt x="332" y="213"/>
                  <a:pt x="333" y="214"/>
                  <a:pt x="333" y="216"/>
                </a:cubicBezTo>
                <a:cubicBezTo>
                  <a:pt x="334" y="216"/>
                  <a:pt x="334" y="216"/>
                  <a:pt x="334" y="216"/>
                </a:cubicBezTo>
                <a:cubicBezTo>
                  <a:pt x="335" y="216"/>
                  <a:pt x="335" y="217"/>
                  <a:pt x="335" y="217"/>
                </a:cubicBezTo>
                <a:cubicBezTo>
                  <a:pt x="336" y="217"/>
                  <a:pt x="336" y="218"/>
                  <a:pt x="337" y="218"/>
                </a:cubicBezTo>
                <a:cubicBezTo>
                  <a:pt x="336" y="219"/>
                  <a:pt x="338" y="219"/>
                  <a:pt x="337" y="220"/>
                </a:cubicBezTo>
                <a:cubicBezTo>
                  <a:pt x="336" y="220"/>
                  <a:pt x="336" y="220"/>
                  <a:pt x="336" y="220"/>
                </a:cubicBezTo>
                <a:cubicBezTo>
                  <a:pt x="337" y="221"/>
                  <a:pt x="338" y="222"/>
                  <a:pt x="339" y="223"/>
                </a:cubicBezTo>
                <a:cubicBezTo>
                  <a:pt x="338" y="222"/>
                  <a:pt x="338" y="220"/>
                  <a:pt x="339" y="220"/>
                </a:cubicBezTo>
                <a:cubicBezTo>
                  <a:pt x="340" y="220"/>
                  <a:pt x="340" y="220"/>
                  <a:pt x="340" y="221"/>
                </a:cubicBezTo>
                <a:cubicBezTo>
                  <a:pt x="340" y="222"/>
                  <a:pt x="341" y="224"/>
                  <a:pt x="340" y="225"/>
                </a:cubicBezTo>
                <a:cubicBezTo>
                  <a:pt x="340" y="225"/>
                  <a:pt x="340" y="224"/>
                  <a:pt x="341" y="224"/>
                </a:cubicBezTo>
                <a:cubicBezTo>
                  <a:pt x="341" y="225"/>
                  <a:pt x="341" y="225"/>
                  <a:pt x="341" y="225"/>
                </a:cubicBezTo>
                <a:cubicBezTo>
                  <a:pt x="341" y="225"/>
                  <a:pt x="341" y="225"/>
                  <a:pt x="341" y="225"/>
                </a:cubicBezTo>
                <a:cubicBezTo>
                  <a:pt x="342" y="225"/>
                  <a:pt x="343" y="225"/>
                  <a:pt x="343" y="225"/>
                </a:cubicBezTo>
                <a:cubicBezTo>
                  <a:pt x="343" y="225"/>
                  <a:pt x="345" y="225"/>
                  <a:pt x="345" y="225"/>
                </a:cubicBezTo>
                <a:cubicBezTo>
                  <a:pt x="345" y="225"/>
                  <a:pt x="345" y="224"/>
                  <a:pt x="346" y="225"/>
                </a:cubicBezTo>
                <a:cubicBezTo>
                  <a:pt x="348" y="224"/>
                  <a:pt x="350" y="221"/>
                  <a:pt x="351" y="219"/>
                </a:cubicBezTo>
                <a:cubicBezTo>
                  <a:pt x="351" y="220"/>
                  <a:pt x="351" y="220"/>
                  <a:pt x="351" y="221"/>
                </a:cubicBezTo>
                <a:cubicBezTo>
                  <a:pt x="351" y="227"/>
                  <a:pt x="357" y="226"/>
                  <a:pt x="360" y="229"/>
                </a:cubicBezTo>
                <a:cubicBezTo>
                  <a:pt x="360" y="232"/>
                  <a:pt x="357" y="233"/>
                  <a:pt x="357" y="235"/>
                </a:cubicBezTo>
                <a:cubicBezTo>
                  <a:pt x="356" y="235"/>
                  <a:pt x="356" y="235"/>
                  <a:pt x="356" y="235"/>
                </a:cubicBezTo>
                <a:cubicBezTo>
                  <a:pt x="356" y="234"/>
                  <a:pt x="356" y="234"/>
                  <a:pt x="356" y="234"/>
                </a:cubicBezTo>
                <a:cubicBezTo>
                  <a:pt x="355" y="235"/>
                  <a:pt x="355" y="237"/>
                  <a:pt x="356" y="239"/>
                </a:cubicBezTo>
                <a:cubicBezTo>
                  <a:pt x="353" y="238"/>
                  <a:pt x="354" y="242"/>
                  <a:pt x="351" y="242"/>
                </a:cubicBezTo>
                <a:cubicBezTo>
                  <a:pt x="350" y="245"/>
                  <a:pt x="345" y="243"/>
                  <a:pt x="343" y="246"/>
                </a:cubicBezTo>
                <a:cubicBezTo>
                  <a:pt x="343" y="247"/>
                  <a:pt x="344" y="247"/>
                  <a:pt x="343" y="248"/>
                </a:cubicBezTo>
                <a:cubicBezTo>
                  <a:pt x="341" y="249"/>
                  <a:pt x="337" y="249"/>
                  <a:pt x="336" y="252"/>
                </a:cubicBezTo>
                <a:cubicBezTo>
                  <a:pt x="333" y="252"/>
                  <a:pt x="329" y="253"/>
                  <a:pt x="327" y="255"/>
                </a:cubicBezTo>
                <a:cubicBezTo>
                  <a:pt x="326" y="255"/>
                  <a:pt x="325" y="256"/>
                  <a:pt x="324" y="255"/>
                </a:cubicBezTo>
                <a:cubicBezTo>
                  <a:pt x="322" y="253"/>
                  <a:pt x="323" y="250"/>
                  <a:pt x="321" y="249"/>
                </a:cubicBezTo>
                <a:cubicBezTo>
                  <a:pt x="322" y="248"/>
                  <a:pt x="322" y="248"/>
                  <a:pt x="322" y="248"/>
                </a:cubicBezTo>
                <a:cubicBezTo>
                  <a:pt x="321" y="247"/>
                  <a:pt x="322" y="244"/>
                  <a:pt x="320" y="244"/>
                </a:cubicBezTo>
                <a:cubicBezTo>
                  <a:pt x="320" y="243"/>
                  <a:pt x="320" y="243"/>
                  <a:pt x="320" y="243"/>
                </a:cubicBezTo>
                <a:cubicBezTo>
                  <a:pt x="317" y="241"/>
                  <a:pt x="318" y="236"/>
                  <a:pt x="314" y="235"/>
                </a:cubicBezTo>
                <a:cubicBezTo>
                  <a:pt x="311" y="233"/>
                  <a:pt x="314" y="226"/>
                  <a:pt x="309" y="225"/>
                </a:cubicBezTo>
                <a:cubicBezTo>
                  <a:pt x="307" y="221"/>
                  <a:pt x="305" y="218"/>
                  <a:pt x="303" y="215"/>
                </a:cubicBezTo>
                <a:cubicBezTo>
                  <a:pt x="302" y="215"/>
                  <a:pt x="302" y="215"/>
                  <a:pt x="301" y="215"/>
                </a:cubicBezTo>
                <a:cubicBezTo>
                  <a:pt x="302" y="214"/>
                  <a:pt x="302" y="212"/>
                  <a:pt x="302" y="211"/>
                </a:cubicBezTo>
                <a:cubicBezTo>
                  <a:pt x="301" y="212"/>
                  <a:pt x="302" y="214"/>
                  <a:pt x="301" y="216"/>
                </a:cubicBezTo>
                <a:cubicBezTo>
                  <a:pt x="299" y="215"/>
                  <a:pt x="298" y="212"/>
                  <a:pt x="297" y="210"/>
                </a:cubicBezTo>
                <a:cubicBezTo>
                  <a:pt x="296" y="210"/>
                  <a:pt x="296" y="210"/>
                  <a:pt x="296" y="210"/>
                </a:cubicBezTo>
                <a:cubicBezTo>
                  <a:pt x="299" y="215"/>
                  <a:pt x="301" y="221"/>
                  <a:pt x="305" y="225"/>
                </a:cubicBezTo>
                <a:cubicBezTo>
                  <a:pt x="304" y="226"/>
                  <a:pt x="304" y="226"/>
                  <a:pt x="304" y="226"/>
                </a:cubicBezTo>
                <a:cubicBezTo>
                  <a:pt x="304" y="228"/>
                  <a:pt x="306" y="229"/>
                  <a:pt x="307" y="230"/>
                </a:cubicBezTo>
                <a:cubicBezTo>
                  <a:pt x="307" y="232"/>
                  <a:pt x="309" y="232"/>
                  <a:pt x="308" y="233"/>
                </a:cubicBezTo>
                <a:cubicBezTo>
                  <a:pt x="308" y="233"/>
                  <a:pt x="308" y="233"/>
                  <a:pt x="308" y="233"/>
                </a:cubicBezTo>
                <a:cubicBezTo>
                  <a:pt x="308" y="235"/>
                  <a:pt x="308" y="237"/>
                  <a:pt x="309" y="239"/>
                </a:cubicBezTo>
                <a:cubicBezTo>
                  <a:pt x="313" y="240"/>
                  <a:pt x="313" y="245"/>
                  <a:pt x="315" y="249"/>
                </a:cubicBezTo>
                <a:cubicBezTo>
                  <a:pt x="315" y="249"/>
                  <a:pt x="314" y="248"/>
                  <a:pt x="315" y="248"/>
                </a:cubicBezTo>
                <a:cubicBezTo>
                  <a:pt x="316" y="248"/>
                  <a:pt x="315" y="249"/>
                  <a:pt x="316" y="249"/>
                </a:cubicBezTo>
                <a:cubicBezTo>
                  <a:pt x="316" y="249"/>
                  <a:pt x="316" y="249"/>
                  <a:pt x="317" y="249"/>
                </a:cubicBezTo>
                <a:cubicBezTo>
                  <a:pt x="319" y="252"/>
                  <a:pt x="322" y="254"/>
                  <a:pt x="324" y="257"/>
                </a:cubicBezTo>
                <a:cubicBezTo>
                  <a:pt x="323" y="257"/>
                  <a:pt x="322" y="258"/>
                  <a:pt x="322" y="258"/>
                </a:cubicBezTo>
                <a:cubicBezTo>
                  <a:pt x="322" y="258"/>
                  <a:pt x="323" y="258"/>
                  <a:pt x="323" y="258"/>
                </a:cubicBezTo>
                <a:cubicBezTo>
                  <a:pt x="324" y="259"/>
                  <a:pt x="324" y="260"/>
                  <a:pt x="326" y="261"/>
                </a:cubicBezTo>
                <a:cubicBezTo>
                  <a:pt x="328" y="260"/>
                  <a:pt x="331" y="261"/>
                  <a:pt x="333" y="259"/>
                </a:cubicBezTo>
                <a:cubicBezTo>
                  <a:pt x="336" y="260"/>
                  <a:pt x="339" y="257"/>
                  <a:pt x="342" y="257"/>
                </a:cubicBezTo>
                <a:cubicBezTo>
                  <a:pt x="341" y="259"/>
                  <a:pt x="342" y="260"/>
                  <a:pt x="341" y="261"/>
                </a:cubicBezTo>
                <a:cubicBezTo>
                  <a:pt x="341" y="264"/>
                  <a:pt x="340" y="266"/>
                  <a:pt x="339" y="268"/>
                </a:cubicBezTo>
                <a:cubicBezTo>
                  <a:pt x="336" y="280"/>
                  <a:pt x="325" y="284"/>
                  <a:pt x="319" y="294"/>
                </a:cubicBezTo>
                <a:cubicBezTo>
                  <a:pt x="319" y="294"/>
                  <a:pt x="318" y="294"/>
                  <a:pt x="318" y="294"/>
                </a:cubicBezTo>
                <a:cubicBezTo>
                  <a:pt x="318" y="294"/>
                  <a:pt x="318" y="294"/>
                  <a:pt x="318" y="294"/>
                </a:cubicBezTo>
                <a:cubicBezTo>
                  <a:pt x="318" y="295"/>
                  <a:pt x="317" y="295"/>
                  <a:pt x="317" y="296"/>
                </a:cubicBezTo>
                <a:cubicBezTo>
                  <a:pt x="316" y="300"/>
                  <a:pt x="311" y="304"/>
                  <a:pt x="315" y="307"/>
                </a:cubicBezTo>
                <a:cubicBezTo>
                  <a:pt x="314" y="309"/>
                  <a:pt x="315" y="312"/>
                  <a:pt x="315" y="315"/>
                </a:cubicBezTo>
                <a:cubicBezTo>
                  <a:pt x="316" y="315"/>
                  <a:pt x="316" y="316"/>
                  <a:pt x="317" y="316"/>
                </a:cubicBezTo>
                <a:cubicBezTo>
                  <a:pt x="318" y="317"/>
                  <a:pt x="316" y="319"/>
                  <a:pt x="317" y="322"/>
                </a:cubicBezTo>
                <a:cubicBezTo>
                  <a:pt x="317" y="323"/>
                  <a:pt x="317" y="323"/>
                  <a:pt x="317" y="323"/>
                </a:cubicBezTo>
                <a:cubicBezTo>
                  <a:pt x="317" y="323"/>
                  <a:pt x="317" y="323"/>
                  <a:pt x="317" y="323"/>
                </a:cubicBezTo>
                <a:cubicBezTo>
                  <a:pt x="316" y="324"/>
                  <a:pt x="317" y="325"/>
                  <a:pt x="317" y="326"/>
                </a:cubicBezTo>
                <a:cubicBezTo>
                  <a:pt x="317" y="326"/>
                  <a:pt x="317" y="326"/>
                  <a:pt x="317" y="326"/>
                </a:cubicBezTo>
                <a:cubicBezTo>
                  <a:pt x="317" y="327"/>
                  <a:pt x="317" y="327"/>
                  <a:pt x="317" y="327"/>
                </a:cubicBezTo>
                <a:cubicBezTo>
                  <a:pt x="317" y="334"/>
                  <a:pt x="309" y="333"/>
                  <a:pt x="306" y="338"/>
                </a:cubicBezTo>
                <a:cubicBezTo>
                  <a:pt x="305" y="338"/>
                  <a:pt x="304" y="340"/>
                  <a:pt x="303" y="341"/>
                </a:cubicBezTo>
                <a:cubicBezTo>
                  <a:pt x="303" y="341"/>
                  <a:pt x="303" y="341"/>
                  <a:pt x="303" y="341"/>
                </a:cubicBezTo>
                <a:cubicBezTo>
                  <a:pt x="303" y="341"/>
                  <a:pt x="303" y="342"/>
                  <a:pt x="303" y="342"/>
                </a:cubicBezTo>
                <a:cubicBezTo>
                  <a:pt x="304" y="343"/>
                  <a:pt x="304" y="345"/>
                  <a:pt x="304" y="347"/>
                </a:cubicBezTo>
                <a:cubicBezTo>
                  <a:pt x="305" y="347"/>
                  <a:pt x="304" y="350"/>
                  <a:pt x="304" y="351"/>
                </a:cubicBezTo>
                <a:cubicBezTo>
                  <a:pt x="304" y="351"/>
                  <a:pt x="304" y="351"/>
                  <a:pt x="304" y="351"/>
                </a:cubicBezTo>
                <a:cubicBezTo>
                  <a:pt x="304" y="355"/>
                  <a:pt x="299" y="354"/>
                  <a:pt x="297" y="357"/>
                </a:cubicBezTo>
                <a:cubicBezTo>
                  <a:pt x="298" y="358"/>
                  <a:pt x="298" y="358"/>
                  <a:pt x="298" y="358"/>
                </a:cubicBezTo>
                <a:cubicBezTo>
                  <a:pt x="298" y="357"/>
                  <a:pt x="298" y="357"/>
                  <a:pt x="298" y="357"/>
                </a:cubicBezTo>
                <a:cubicBezTo>
                  <a:pt x="298" y="360"/>
                  <a:pt x="297" y="364"/>
                  <a:pt x="295" y="365"/>
                </a:cubicBezTo>
                <a:cubicBezTo>
                  <a:pt x="292" y="370"/>
                  <a:pt x="288" y="375"/>
                  <a:pt x="283" y="377"/>
                </a:cubicBezTo>
                <a:cubicBezTo>
                  <a:pt x="282" y="377"/>
                  <a:pt x="281" y="377"/>
                  <a:pt x="281" y="378"/>
                </a:cubicBezTo>
                <a:cubicBezTo>
                  <a:pt x="281" y="378"/>
                  <a:pt x="281" y="378"/>
                  <a:pt x="281" y="378"/>
                </a:cubicBezTo>
                <a:cubicBezTo>
                  <a:pt x="280" y="378"/>
                  <a:pt x="279" y="378"/>
                  <a:pt x="279" y="379"/>
                </a:cubicBezTo>
                <a:cubicBezTo>
                  <a:pt x="277" y="378"/>
                  <a:pt x="274" y="378"/>
                  <a:pt x="272" y="379"/>
                </a:cubicBezTo>
                <a:cubicBezTo>
                  <a:pt x="271" y="379"/>
                  <a:pt x="269" y="379"/>
                  <a:pt x="268" y="380"/>
                </a:cubicBezTo>
                <a:cubicBezTo>
                  <a:pt x="268" y="380"/>
                  <a:pt x="267" y="380"/>
                  <a:pt x="267" y="379"/>
                </a:cubicBezTo>
                <a:cubicBezTo>
                  <a:pt x="266" y="379"/>
                  <a:pt x="266" y="379"/>
                  <a:pt x="266" y="379"/>
                </a:cubicBezTo>
                <a:cubicBezTo>
                  <a:pt x="266" y="378"/>
                  <a:pt x="266" y="378"/>
                  <a:pt x="266" y="378"/>
                </a:cubicBezTo>
                <a:cubicBezTo>
                  <a:pt x="265" y="378"/>
                  <a:pt x="265" y="378"/>
                  <a:pt x="265" y="378"/>
                </a:cubicBezTo>
                <a:cubicBezTo>
                  <a:pt x="265" y="378"/>
                  <a:pt x="265" y="379"/>
                  <a:pt x="265" y="379"/>
                </a:cubicBezTo>
                <a:cubicBezTo>
                  <a:pt x="265" y="378"/>
                  <a:pt x="264" y="376"/>
                  <a:pt x="264" y="375"/>
                </a:cubicBezTo>
                <a:cubicBezTo>
                  <a:pt x="263" y="375"/>
                  <a:pt x="264" y="375"/>
                  <a:pt x="264" y="375"/>
                </a:cubicBezTo>
                <a:cubicBezTo>
                  <a:pt x="264" y="375"/>
                  <a:pt x="264" y="375"/>
                  <a:pt x="264" y="375"/>
                </a:cubicBezTo>
                <a:cubicBezTo>
                  <a:pt x="265" y="369"/>
                  <a:pt x="259" y="364"/>
                  <a:pt x="258" y="358"/>
                </a:cubicBezTo>
                <a:cubicBezTo>
                  <a:pt x="257" y="355"/>
                  <a:pt x="256" y="352"/>
                  <a:pt x="256" y="349"/>
                </a:cubicBezTo>
                <a:cubicBezTo>
                  <a:pt x="257" y="349"/>
                  <a:pt x="257" y="349"/>
                  <a:pt x="257" y="349"/>
                </a:cubicBezTo>
                <a:cubicBezTo>
                  <a:pt x="255" y="342"/>
                  <a:pt x="249" y="339"/>
                  <a:pt x="250" y="330"/>
                </a:cubicBezTo>
                <a:cubicBezTo>
                  <a:pt x="252" y="328"/>
                  <a:pt x="252" y="324"/>
                  <a:pt x="253" y="322"/>
                </a:cubicBezTo>
                <a:cubicBezTo>
                  <a:pt x="257" y="320"/>
                  <a:pt x="254" y="315"/>
                  <a:pt x="253" y="312"/>
                </a:cubicBezTo>
                <a:cubicBezTo>
                  <a:pt x="253" y="312"/>
                  <a:pt x="254" y="312"/>
                  <a:pt x="254" y="312"/>
                </a:cubicBezTo>
                <a:cubicBezTo>
                  <a:pt x="254" y="309"/>
                  <a:pt x="252" y="307"/>
                  <a:pt x="252" y="305"/>
                </a:cubicBezTo>
                <a:cubicBezTo>
                  <a:pt x="252" y="305"/>
                  <a:pt x="252" y="305"/>
                  <a:pt x="252" y="305"/>
                </a:cubicBezTo>
                <a:cubicBezTo>
                  <a:pt x="251" y="300"/>
                  <a:pt x="246" y="297"/>
                  <a:pt x="245" y="292"/>
                </a:cubicBezTo>
                <a:cubicBezTo>
                  <a:pt x="244" y="292"/>
                  <a:pt x="244" y="293"/>
                  <a:pt x="244" y="292"/>
                </a:cubicBezTo>
                <a:cubicBezTo>
                  <a:pt x="244" y="291"/>
                  <a:pt x="244" y="291"/>
                  <a:pt x="243" y="290"/>
                </a:cubicBezTo>
                <a:cubicBezTo>
                  <a:pt x="244" y="291"/>
                  <a:pt x="244" y="291"/>
                  <a:pt x="244" y="291"/>
                </a:cubicBezTo>
                <a:cubicBezTo>
                  <a:pt x="245" y="290"/>
                  <a:pt x="245" y="289"/>
                  <a:pt x="245" y="288"/>
                </a:cubicBezTo>
                <a:cubicBezTo>
                  <a:pt x="245" y="288"/>
                  <a:pt x="245" y="288"/>
                  <a:pt x="246" y="288"/>
                </a:cubicBezTo>
                <a:cubicBezTo>
                  <a:pt x="245" y="288"/>
                  <a:pt x="245" y="287"/>
                  <a:pt x="245" y="287"/>
                </a:cubicBezTo>
                <a:cubicBezTo>
                  <a:pt x="245" y="287"/>
                  <a:pt x="245" y="287"/>
                  <a:pt x="245" y="287"/>
                </a:cubicBezTo>
                <a:cubicBezTo>
                  <a:pt x="245" y="286"/>
                  <a:pt x="246" y="286"/>
                  <a:pt x="245" y="286"/>
                </a:cubicBezTo>
                <a:cubicBezTo>
                  <a:pt x="246" y="283"/>
                  <a:pt x="246" y="280"/>
                  <a:pt x="245" y="278"/>
                </a:cubicBezTo>
                <a:cubicBezTo>
                  <a:pt x="245" y="278"/>
                  <a:pt x="245" y="279"/>
                  <a:pt x="245" y="278"/>
                </a:cubicBezTo>
                <a:cubicBezTo>
                  <a:pt x="245" y="278"/>
                  <a:pt x="244" y="278"/>
                  <a:pt x="244" y="278"/>
                </a:cubicBezTo>
                <a:cubicBezTo>
                  <a:pt x="244" y="277"/>
                  <a:pt x="244" y="277"/>
                  <a:pt x="244" y="277"/>
                </a:cubicBezTo>
                <a:cubicBezTo>
                  <a:pt x="243" y="277"/>
                  <a:pt x="243" y="277"/>
                  <a:pt x="243" y="277"/>
                </a:cubicBezTo>
                <a:cubicBezTo>
                  <a:pt x="243" y="276"/>
                  <a:pt x="243" y="276"/>
                  <a:pt x="243" y="276"/>
                </a:cubicBezTo>
                <a:cubicBezTo>
                  <a:pt x="242" y="277"/>
                  <a:pt x="242" y="277"/>
                  <a:pt x="242" y="277"/>
                </a:cubicBezTo>
                <a:cubicBezTo>
                  <a:pt x="241" y="277"/>
                  <a:pt x="240" y="277"/>
                  <a:pt x="240" y="276"/>
                </a:cubicBezTo>
                <a:cubicBezTo>
                  <a:pt x="238" y="278"/>
                  <a:pt x="235" y="277"/>
                  <a:pt x="236" y="274"/>
                </a:cubicBezTo>
                <a:cubicBezTo>
                  <a:pt x="235" y="271"/>
                  <a:pt x="227" y="271"/>
                  <a:pt x="225" y="273"/>
                </a:cubicBezTo>
                <a:cubicBezTo>
                  <a:pt x="222" y="274"/>
                  <a:pt x="221" y="275"/>
                  <a:pt x="218" y="276"/>
                </a:cubicBezTo>
                <a:cubicBezTo>
                  <a:pt x="215" y="274"/>
                  <a:pt x="209" y="275"/>
                  <a:pt x="206" y="277"/>
                </a:cubicBezTo>
                <a:cubicBezTo>
                  <a:pt x="200" y="276"/>
                  <a:pt x="198" y="270"/>
                  <a:pt x="193" y="269"/>
                </a:cubicBezTo>
                <a:cubicBezTo>
                  <a:pt x="193" y="268"/>
                  <a:pt x="194" y="268"/>
                  <a:pt x="194" y="268"/>
                </a:cubicBezTo>
                <a:cubicBezTo>
                  <a:pt x="193" y="268"/>
                  <a:pt x="193" y="267"/>
                  <a:pt x="192" y="266"/>
                </a:cubicBezTo>
                <a:cubicBezTo>
                  <a:pt x="192" y="266"/>
                  <a:pt x="193" y="266"/>
                  <a:pt x="193" y="266"/>
                </a:cubicBezTo>
                <a:cubicBezTo>
                  <a:pt x="193" y="266"/>
                  <a:pt x="193" y="266"/>
                  <a:pt x="192" y="266"/>
                </a:cubicBezTo>
                <a:cubicBezTo>
                  <a:pt x="192" y="266"/>
                  <a:pt x="192" y="265"/>
                  <a:pt x="193" y="265"/>
                </a:cubicBezTo>
                <a:cubicBezTo>
                  <a:pt x="192" y="263"/>
                  <a:pt x="189" y="262"/>
                  <a:pt x="189" y="260"/>
                </a:cubicBezTo>
                <a:cubicBezTo>
                  <a:pt x="188" y="259"/>
                  <a:pt x="189" y="260"/>
                  <a:pt x="188" y="260"/>
                </a:cubicBezTo>
                <a:cubicBezTo>
                  <a:pt x="188" y="260"/>
                  <a:pt x="188" y="259"/>
                  <a:pt x="187" y="259"/>
                </a:cubicBezTo>
                <a:cubicBezTo>
                  <a:pt x="187" y="258"/>
                  <a:pt x="188" y="258"/>
                  <a:pt x="188" y="258"/>
                </a:cubicBezTo>
                <a:cubicBezTo>
                  <a:pt x="188" y="258"/>
                  <a:pt x="188" y="258"/>
                  <a:pt x="187" y="258"/>
                </a:cubicBezTo>
                <a:cubicBezTo>
                  <a:pt x="187" y="258"/>
                  <a:pt x="187" y="258"/>
                  <a:pt x="188" y="257"/>
                </a:cubicBezTo>
                <a:cubicBezTo>
                  <a:pt x="187" y="257"/>
                  <a:pt x="187" y="258"/>
                  <a:pt x="186" y="258"/>
                </a:cubicBezTo>
                <a:cubicBezTo>
                  <a:pt x="186" y="257"/>
                  <a:pt x="185" y="256"/>
                  <a:pt x="184" y="256"/>
                </a:cubicBezTo>
                <a:cubicBezTo>
                  <a:pt x="184" y="255"/>
                  <a:pt x="185" y="255"/>
                  <a:pt x="184" y="253"/>
                </a:cubicBezTo>
                <a:cubicBezTo>
                  <a:pt x="185" y="253"/>
                  <a:pt x="185" y="253"/>
                  <a:pt x="185" y="253"/>
                </a:cubicBezTo>
                <a:cubicBezTo>
                  <a:pt x="185" y="252"/>
                  <a:pt x="184" y="251"/>
                  <a:pt x="184" y="250"/>
                </a:cubicBezTo>
                <a:cubicBezTo>
                  <a:pt x="183" y="250"/>
                  <a:pt x="183" y="250"/>
                  <a:pt x="183" y="250"/>
                </a:cubicBezTo>
                <a:cubicBezTo>
                  <a:pt x="186" y="247"/>
                  <a:pt x="187" y="240"/>
                  <a:pt x="186" y="236"/>
                </a:cubicBezTo>
                <a:cubicBezTo>
                  <a:pt x="186" y="237"/>
                  <a:pt x="186" y="237"/>
                  <a:pt x="186" y="237"/>
                </a:cubicBezTo>
                <a:cubicBezTo>
                  <a:pt x="186" y="236"/>
                  <a:pt x="186" y="235"/>
                  <a:pt x="186" y="234"/>
                </a:cubicBezTo>
                <a:cubicBezTo>
                  <a:pt x="185" y="234"/>
                  <a:pt x="185" y="234"/>
                  <a:pt x="185" y="234"/>
                </a:cubicBezTo>
                <a:cubicBezTo>
                  <a:pt x="185" y="234"/>
                  <a:pt x="185" y="234"/>
                  <a:pt x="185" y="233"/>
                </a:cubicBezTo>
                <a:cubicBezTo>
                  <a:pt x="185" y="233"/>
                  <a:pt x="185" y="234"/>
                  <a:pt x="185" y="234"/>
                </a:cubicBezTo>
                <a:cubicBezTo>
                  <a:pt x="184" y="230"/>
                  <a:pt x="187" y="229"/>
                  <a:pt x="188" y="226"/>
                </a:cubicBezTo>
                <a:cubicBezTo>
                  <a:pt x="188" y="226"/>
                  <a:pt x="188" y="226"/>
                  <a:pt x="188" y="226"/>
                </a:cubicBezTo>
                <a:cubicBezTo>
                  <a:pt x="189" y="224"/>
                  <a:pt x="190" y="222"/>
                  <a:pt x="191" y="219"/>
                </a:cubicBezTo>
                <a:cubicBezTo>
                  <a:pt x="193" y="219"/>
                  <a:pt x="194" y="217"/>
                  <a:pt x="195" y="215"/>
                </a:cubicBezTo>
                <a:cubicBezTo>
                  <a:pt x="199" y="214"/>
                  <a:pt x="203" y="211"/>
                  <a:pt x="202" y="208"/>
                </a:cubicBezTo>
                <a:cubicBezTo>
                  <a:pt x="202" y="200"/>
                  <a:pt x="210" y="201"/>
                  <a:pt x="212" y="194"/>
                </a:cubicBezTo>
                <a:cubicBezTo>
                  <a:pt x="212" y="194"/>
                  <a:pt x="212" y="194"/>
                  <a:pt x="213" y="194"/>
                </a:cubicBezTo>
                <a:cubicBezTo>
                  <a:pt x="213" y="196"/>
                  <a:pt x="216" y="196"/>
                  <a:pt x="218" y="195"/>
                </a:cubicBezTo>
                <a:cubicBezTo>
                  <a:pt x="220" y="198"/>
                  <a:pt x="222" y="194"/>
                  <a:pt x="224" y="194"/>
                </a:cubicBezTo>
                <a:cubicBezTo>
                  <a:pt x="227" y="192"/>
                  <a:pt x="232" y="191"/>
                  <a:pt x="236" y="192"/>
                </a:cubicBezTo>
                <a:cubicBezTo>
                  <a:pt x="237" y="192"/>
                  <a:pt x="238" y="192"/>
                  <a:pt x="239" y="191"/>
                </a:cubicBezTo>
                <a:cubicBezTo>
                  <a:pt x="239" y="191"/>
                  <a:pt x="240" y="192"/>
                  <a:pt x="240" y="191"/>
                </a:cubicBezTo>
                <a:cubicBezTo>
                  <a:pt x="241" y="191"/>
                  <a:pt x="241" y="191"/>
                  <a:pt x="241" y="192"/>
                </a:cubicBezTo>
                <a:cubicBezTo>
                  <a:pt x="244" y="192"/>
                  <a:pt x="245" y="189"/>
                  <a:pt x="247" y="191"/>
                </a:cubicBezTo>
                <a:cubicBezTo>
                  <a:pt x="246" y="191"/>
                  <a:pt x="247" y="191"/>
                  <a:pt x="247" y="192"/>
                </a:cubicBezTo>
                <a:cubicBezTo>
                  <a:pt x="248" y="192"/>
                  <a:pt x="248" y="191"/>
                  <a:pt x="248" y="191"/>
                </a:cubicBezTo>
                <a:cubicBezTo>
                  <a:pt x="249" y="191"/>
                  <a:pt x="249" y="191"/>
                  <a:pt x="249" y="192"/>
                </a:cubicBezTo>
                <a:cubicBezTo>
                  <a:pt x="248" y="192"/>
                  <a:pt x="248" y="193"/>
                  <a:pt x="247" y="193"/>
                </a:cubicBezTo>
                <a:cubicBezTo>
                  <a:pt x="247" y="194"/>
                  <a:pt x="248" y="194"/>
                  <a:pt x="249" y="195"/>
                </a:cubicBezTo>
                <a:cubicBezTo>
                  <a:pt x="249" y="197"/>
                  <a:pt x="247" y="198"/>
                  <a:pt x="246" y="199"/>
                </a:cubicBezTo>
                <a:cubicBezTo>
                  <a:pt x="246" y="199"/>
                  <a:pt x="247" y="200"/>
                  <a:pt x="247" y="200"/>
                </a:cubicBezTo>
                <a:cubicBezTo>
                  <a:pt x="248" y="200"/>
                  <a:pt x="248" y="199"/>
                  <a:pt x="248" y="199"/>
                </a:cubicBezTo>
                <a:cubicBezTo>
                  <a:pt x="249" y="200"/>
                  <a:pt x="249" y="200"/>
                  <a:pt x="249" y="201"/>
                </a:cubicBezTo>
                <a:cubicBezTo>
                  <a:pt x="251" y="201"/>
                  <a:pt x="252" y="203"/>
                  <a:pt x="253" y="202"/>
                </a:cubicBezTo>
                <a:cubicBezTo>
                  <a:pt x="255" y="202"/>
                  <a:pt x="256" y="203"/>
                  <a:pt x="258" y="203"/>
                </a:cubicBezTo>
                <a:cubicBezTo>
                  <a:pt x="258" y="207"/>
                  <a:pt x="264" y="206"/>
                  <a:pt x="266" y="209"/>
                </a:cubicBezTo>
                <a:cubicBezTo>
                  <a:pt x="268" y="209"/>
                  <a:pt x="268" y="208"/>
                  <a:pt x="269" y="207"/>
                </a:cubicBezTo>
                <a:cubicBezTo>
                  <a:pt x="267" y="203"/>
                  <a:pt x="272" y="201"/>
                  <a:pt x="275" y="203"/>
                </a:cubicBezTo>
                <a:cubicBezTo>
                  <a:pt x="276" y="204"/>
                  <a:pt x="278" y="204"/>
                  <a:pt x="280" y="204"/>
                </a:cubicBezTo>
                <a:cubicBezTo>
                  <a:pt x="280" y="205"/>
                  <a:pt x="280" y="205"/>
                  <a:pt x="280" y="206"/>
                </a:cubicBezTo>
                <a:cubicBezTo>
                  <a:pt x="284" y="205"/>
                  <a:pt x="286" y="207"/>
                  <a:pt x="289" y="207"/>
                </a:cubicBezTo>
                <a:cubicBezTo>
                  <a:pt x="290" y="207"/>
                  <a:pt x="291" y="206"/>
                  <a:pt x="292" y="205"/>
                </a:cubicBezTo>
                <a:cubicBezTo>
                  <a:pt x="293" y="206"/>
                  <a:pt x="293" y="206"/>
                  <a:pt x="293" y="206"/>
                </a:cubicBezTo>
                <a:cubicBezTo>
                  <a:pt x="293" y="206"/>
                  <a:pt x="293" y="205"/>
                  <a:pt x="293" y="205"/>
                </a:cubicBezTo>
                <a:cubicBezTo>
                  <a:pt x="294" y="205"/>
                  <a:pt x="294" y="206"/>
                  <a:pt x="295" y="205"/>
                </a:cubicBezTo>
                <a:cubicBezTo>
                  <a:pt x="295" y="206"/>
                  <a:pt x="295" y="206"/>
                  <a:pt x="295" y="206"/>
                </a:cubicBezTo>
                <a:cubicBezTo>
                  <a:pt x="295" y="206"/>
                  <a:pt x="296" y="206"/>
                  <a:pt x="295" y="207"/>
                </a:cubicBezTo>
                <a:cubicBezTo>
                  <a:pt x="296" y="206"/>
                  <a:pt x="296" y="206"/>
                  <a:pt x="296" y="206"/>
                </a:cubicBezTo>
                <a:cubicBezTo>
                  <a:pt x="301" y="209"/>
                  <a:pt x="302" y="201"/>
                  <a:pt x="303" y="198"/>
                </a:cubicBezTo>
                <a:cubicBezTo>
                  <a:pt x="303" y="196"/>
                  <a:pt x="303" y="194"/>
                  <a:pt x="302" y="193"/>
                </a:cubicBezTo>
                <a:cubicBezTo>
                  <a:pt x="302" y="192"/>
                  <a:pt x="303" y="193"/>
                  <a:pt x="303" y="192"/>
                </a:cubicBezTo>
                <a:cubicBezTo>
                  <a:pt x="303" y="192"/>
                  <a:pt x="303" y="192"/>
                  <a:pt x="303" y="192"/>
                </a:cubicBezTo>
                <a:cubicBezTo>
                  <a:pt x="302" y="191"/>
                  <a:pt x="302" y="192"/>
                  <a:pt x="302" y="192"/>
                </a:cubicBezTo>
                <a:cubicBezTo>
                  <a:pt x="301" y="192"/>
                  <a:pt x="301" y="192"/>
                  <a:pt x="300" y="192"/>
                </a:cubicBezTo>
                <a:cubicBezTo>
                  <a:pt x="299" y="192"/>
                  <a:pt x="299" y="193"/>
                  <a:pt x="299" y="193"/>
                </a:cubicBezTo>
                <a:cubicBezTo>
                  <a:pt x="296" y="195"/>
                  <a:pt x="294" y="192"/>
                  <a:pt x="291" y="192"/>
                </a:cubicBezTo>
                <a:cubicBezTo>
                  <a:pt x="291" y="192"/>
                  <a:pt x="291" y="193"/>
                  <a:pt x="291" y="193"/>
                </a:cubicBezTo>
                <a:cubicBezTo>
                  <a:pt x="290" y="193"/>
                  <a:pt x="290" y="193"/>
                  <a:pt x="289" y="194"/>
                </a:cubicBezTo>
                <a:cubicBezTo>
                  <a:pt x="289" y="193"/>
                  <a:pt x="288" y="193"/>
                  <a:pt x="288" y="193"/>
                </a:cubicBezTo>
                <a:cubicBezTo>
                  <a:pt x="288" y="192"/>
                  <a:pt x="287" y="192"/>
                  <a:pt x="288" y="192"/>
                </a:cubicBezTo>
                <a:cubicBezTo>
                  <a:pt x="287" y="192"/>
                  <a:pt x="287" y="192"/>
                  <a:pt x="286" y="192"/>
                </a:cubicBezTo>
                <a:cubicBezTo>
                  <a:pt x="286" y="192"/>
                  <a:pt x="286" y="192"/>
                  <a:pt x="285" y="192"/>
                </a:cubicBezTo>
                <a:cubicBezTo>
                  <a:pt x="286" y="192"/>
                  <a:pt x="285" y="192"/>
                  <a:pt x="286" y="192"/>
                </a:cubicBezTo>
                <a:cubicBezTo>
                  <a:pt x="285" y="192"/>
                  <a:pt x="285" y="192"/>
                  <a:pt x="284" y="192"/>
                </a:cubicBezTo>
                <a:cubicBezTo>
                  <a:pt x="284" y="192"/>
                  <a:pt x="286" y="192"/>
                  <a:pt x="286" y="191"/>
                </a:cubicBezTo>
                <a:cubicBezTo>
                  <a:pt x="284" y="191"/>
                  <a:pt x="284" y="191"/>
                  <a:pt x="284" y="191"/>
                </a:cubicBezTo>
                <a:cubicBezTo>
                  <a:pt x="284" y="190"/>
                  <a:pt x="284" y="191"/>
                  <a:pt x="284" y="191"/>
                </a:cubicBezTo>
                <a:cubicBezTo>
                  <a:pt x="284" y="190"/>
                  <a:pt x="284" y="190"/>
                  <a:pt x="284" y="190"/>
                </a:cubicBezTo>
                <a:cubicBezTo>
                  <a:pt x="283" y="190"/>
                  <a:pt x="284" y="190"/>
                  <a:pt x="283" y="189"/>
                </a:cubicBezTo>
                <a:cubicBezTo>
                  <a:pt x="283" y="189"/>
                  <a:pt x="284" y="189"/>
                  <a:pt x="284" y="189"/>
                </a:cubicBezTo>
                <a:cubicBezTo>
                  <a:pt x="283" y="188"/>
                  <a:pt x="282" y="189"/>
                  <a:pt x="283" y="188"/>
                </a:cubicBezTo>
                <a:cubicBezTo>
                  <a:pt x="282" y="188"/>
                  <a:pt x="282" y="188"/>
                  <a:pt x="281" y="188"/>
                </a:cubicBezTo>
                <a:cubicBezTo>
                  <a:pt x="282" y="188"/>
                  <a:pt x="281" y="187"/>
                  <a:pt x="282" y="187"/>
                </a:cubicBezTo>
                <a:cubicBezTo>
                  <a:pt x="282" y="187"/>
                  <a:pt x="282" y="188"/>
                  <a:pt x="283" y="188"/>
                </a:cubicBezTo>
                <a:cubicBezTo>
                  <a:pt x="283" y="187"/>
                  <a:pt x="282" y="187"/>
                  <a:pt x="282" y="187"/>
                </a:cubicBezTo>
                <a:cubicBezTo>
                  <a:pt x="283" y="187"/>
                  <a:pt x="283" y="186"/>
                  <a:pt x="283" y="186"/>
                </a:cubicBezTo>
                <a:cubicBezTo>
                  <a:pt x="282" y="186"/>
                  <a:pt x="283" y="185"/>
                  <a:pt x="282" y="185"/>
                </a:cubicBezTo>
                <a:cubicBezTo>
                  <a:pt x="283" y="185"/>
                  <a:pt x="283" y="185"/>
                  <a:pt x="283" y="185"/>
                </a:cubicBezTo>
                <a:cubicBezTo>
                  <a:pt x="282" y="184"/>
                  <a:pt x="282" y="185"/>
                  <a:pt x="281" y="185"/>
                </a:cubicBezTo>
                <a:cubicBezTo>
                  <a:pt x="281" y="184"/>
                  <a:pt x="280" y="183"/>
                  <a:pt x="281" y="183"/>
                </a:cubicBezTo>
                <a:cubicBezTo>
                  <a:pt x="281" y="183"/>
                  <a:pt x="281" y="183"/>
                  <a:pt x="281" y="183"/>
                </a:cubicBezTo>
                <a:cubicBezTo>
                  <a:pt x="281" y="182"/>
                  <a:pt x="281" y="182"/>
                  <a:pt x="281" y="182"/>
                </a:cubicBezTo>
                <a:cubicBezTo>
                  <a:pt x="281" y="182"/>
                  <a:pt x="282" y="182"/>
                  <a:pt x="282" y="182"/>
                </a:cubicBezTo>
                <a:cubicBezTo>
                  <a:pt x="282" y="182"/>
                  <a:pt x="281" y="182"/>
                  <a:pt x="281" y="182"/>
                </a:cubicBezTo>
                <a:cubicBezTo>
                  <a:pt x="280" y="181"/>
                  <a:pt x="280" y="181"/>
                  <a:pt x="280" y="181"/>
                </a:cubicBezTo>
                <a:cubicBezTo>
                  <a:pt x="278" y="181"/>
                  <a:pt x="278" y="181"/>
                  <a:pt x="276" y="181"/>
                </a:cubicBezTo>
                <a:cubicBezTo>
                  <a:pt x="275" y="182"/>
                  <a:pt x="276" y="182"/>
                  <a:pt x="276" y="182"/>
                </a:cubicBezTo>
                <a:cubicBezTo>
                  <a:pt x="276" y="182"/>
                  <a:pt x="277" y="182"/>
                  <a:pt x="277" y="183"/>
                </a:cubicBezTo>
                <a:cubicBezTo>
                  <a:pt x="277" y="183"/>
                  <a:pt x="276" y="182"/>
                  <a:pt x="276" y="182"/>
                </a:cubicBezTo>
                <a:cubicBezTo>
                  <a:pt x="276" y="183"/>
                  <a:pt x="277" y="183"/>
                  <a:pt x="276" y="183"/>
                </a:cubicBezTo>
                <a:cubicBezTo>
                  <a:pt x="276" y="183"/>
                  <a:pt x="276" y="183"/>
                  <a:pt x="275" y="183"/>
                </a:cubicBezTo>
                <a:cubicBezTo>
                  <a:pt x="275" y="183"/>
                  <a:pt x="276" y="183"/>
                  <a:pt x="276" y="184"/>
                </a:cubicBezTo>
                <a:cubicBezTo>
                  <a:pt x="275" y="184"/>
                  <a:pt x="275" y="183"/>
                  <a:pt x="275" y="183"/>
                </a:cubicBezTo>
                <a:cubicBezTo>
                  <a:pt x="275" y="182"/>
                  <a:pt x="273" y="183"/>
                  <a:pt x="274" y="182"/>
                </a:cubicBezTo>
                <a:cubicBezTo>
                  <a:pt x="272" y="183"/>
                  <a:pt x="276" y="185"/>
                  <a:pt x="275" y="186"/>
                </a:cubicBezTo>
                <a:cubicBezTo>
                  <a:pt x="275" y="185"/>
                  <a:pt x="274" y="185"/>
                  <a:pt x="274" y="185"/>
                </a:cubicBezTo>
                <a:cubicBezTo>
                  <a:pt x="274" y="185"/>
                  <a:pt x="274" y="186"/>
                  <a:pt x="274" y="186"/>
                </a:cubicBezTo>
                <a:cubicBezTo>
                  <a:pt x="275" y="185"/>
                  <a:pt x="275" y="187"/>
                  <a:pt x="277" y="187"/>
                </a:cubicBezTo>
                <a:cubicBezTo>
                  <a:pt x="277" y="188"/>
                  <a:pt x="278" y="188"/>
                  <a:pt x="278" y="189"/>
                </a:cubicBezTo>
                <a:cubicBezTo>
                  <a:pt x="277" y="189"/>
                  <a:pt x="277" y="188"/>
                  <a:pt x="276" y="188"/>
                </a:cubicBezTo>
                <a:cubicBezTo>
                  <a:pt x="277" y="188"/>
                  <a:pt x="277" y="188"/>
                  <a:pt x="277" y="188"/>
                </a:cubicBezTo>
                <a:cubicBezTo>
                  <a:pt x="276" y="188"/>
                  <a:pt x="277" y="189"/>
                  <a:pt x="277" y="189"/>
                </a:cubicBezTo>
                <a:cubicBezTo>
                  <a:pt x="276" y="189"/>
                  <a:pt x="275" y="189"/>
                  <a:pt x="275" y="189"/>
                </a:cubicBezTo>
                <a:cubicBezTo>
                  <a:pt x="275" y="189"/>
                  <a:pt x="275" y="189"/>
                  <a:pt x="275" y="189"/>
                </a:cubicBezTo>
                <a:cubicBezTo>
                  <a:pt x="275" y="189"/>
                  <a:pt x="275" y="189"/>
                  <a:pt x="275" y="189"/>
                </a:cubicBezTo>
                <a:cubicBezTo>
                  <a:pt x="275" y="190"/>
                  <a:pt x="275" y="190"/>
                  <a:pt x="276" y="190"/>
                </a:cubicBezTo>
                <a:cubicBezTo>
                  <a:pt x="276" y="190"/>
                  <a:pt x="275" y="190"/>
                  <a:pt x="275" y="191"/>
                </a:cubicBezTo>
                <a:cubicBezTo>
                  <a:pt x="275" y="190"/>
                  <a:pt x="274" y="190"/>
                  <a:pt x="274" y="190"/>
                </a:cubicBezTo>
                <a:cubicBezTo>
                  <a:pt x="275" y="191"/>
                  <a:pt x="275" y="192"/>
                  <a:pt x="275" y="193"/>
                </a:cubicBezTo>
                <a:cubicBezTo>
                  <a:pt x="275" y="193"/>
                  <a:pt x="274" y="192"/>
                  <a:pt x="274" y="192"/>
                </a:cubicBezTo>
                <a:cubicBezTo>
                  <a:pt x="273" y="192"/>
                  <a:pt x="274" y="192"/>
                  <a:pt x="274" y="193"/>
                </a:cubicBezTo>
                <a:cubicBezTo>
                  <a:pt x="273" y="192"/>
                  <a:pt x="273" y="191"/>
                  <a:pt x="272" y="191"/>
                </a:cubicBezTo>
                <a:cubicBezTo>
                  <a:pt x="272" y="191"/>
                  <a:pt x="273" y="192"/>
                  <a:pt x="272" y="192"/>
                </a:cubicBezTo>
                <a:cubicBezTo>
                  <a:pt x="272" y="192"/>
                  <a:pt x="271" y="191"/>
                  <a:pt x="272" y="190"/>
                </a:cubicBezTo>
                <a:cubicBezTo>
                  <a:pt x="271" y="190"/>
                  <a:pt x="271" y="189"/>
                  <a:pt x="270" y="189"/>
                </a:cubicBezTo>
                <a:cubicBezTo>
                  <a:pt x="270" y="188"/>
                  <a:pt x="271" y="188"/>
                  <a:pt x="272" y="188"/>
                </a:cubicBezTo>
                <a:cubicBezTo>
                  <a:pt x="271" y="188"/>
                  <a:pt x="271" y="187"/>
                  <a:pt x="270" y="188"/>
                </a:cubicBezTo>
                <a:cubicBezTo>
                  <a:pt x="270" y="187"/>
                  <a:pt x="270" y="187"/>
                  <a:pt x="270" y="187"/>
                </a:cubicBezTo>
                <a:cubicBezTo>
                  <a:pt x="269" y="187"/>
                  <a:pt x="270" y="187"/>
                  <a:pt x="269" y="187"/>
                </a:cubicBezTo>
                <a:cubicBezTo>
                  <a:pt x="269" y="187"/>
                  <a:pt x="269" y="186"/>
                  <a:pt x="269" y="186"/>
                </a:cubicBezTo>
                <a:cubicBezTo>
                  <a:pt x="269" y="185"/>
                  <a:pt x="268" y="185"/>
                  <a:pt x="267" y="184"/>
                </a:cubicBezTo>
                <a:cubicBezTo>
                  <a:pt x="267" y="185"/>
                  <a:pt x="268" y="185"/>
                  <a:pt x="268" y="185"/>
                </a:cubicBezTo>
                <a:cubicBezTo>
                  <a:pt x="267" y="185"/>
                  <a:pt x="267" y="184"/>
                  <a:pt x="267" y="184"/>
                </a:cubicBezTo>
                <a:cubicBezTo>
                  <a:pt x="268" y="184"/>
                  <a:pt x="268" y="184"/>
                  <a:pt x="268" y="184"/>
                </a:cubicBezTo>
                <a:cubicBezTo>
                  <a:pt x="267" y="183"/>
                  <a:pt x="266" y="183"/>
                  <a:pt x="266" y="182"/>
                </a:cubicBezTo>
                <a:cubicBezTo>
                  <a:pt x="267" y="182"/>
                  <a:pt x="266" y="180"/>
                  <a:pt x="267" y="179"/>
                </a:cubicBezTo>
                <a:cubicBezTo>
                  <a:pt x="265" y="178"/>
                  <a:pt x="264" y="176"/>
                  <a:pt x="262" y="176"/>
                </a:cubicBezTo>
                <a:cubicBezTo>
                  <a:pt x="263" y="176"/>
                  <a:pt x="262" y="176"/>
                  <a:pt x="262" y="176"/>
                </a:cubicBezTo>
                <a:cubicBezTo>
                  <a:pt x="262" y="175"/>
                  <a:pt x="261" y="176"/>
                  <a:pt x="260" y="176"/>
                </a:cubicBezTo>
                <a:cubicBezTo>
                  <a:pt x="261" y="175"/>
                  <a:pt x="262" y="175"/>
                  <a:pt x="262" y="176"/>
                </a:cubicBezTo>
                <a:cubicBezTo>
                  <a:pt x="262" y="175"/>
                  <a:pt x="261" y="175"/>
                  <a:pt x="260" y="175"/>
                </a:cubicBezTo>
                <a:cubicBezTo>
                  <a:pt x="260" y="175"/>
                  <a:pt x="259" y="174"/>
                  <a:pt x="260" y="174"/>
                </a:cubicBezTo>
                <a:cubicBezTo>
                  <a:pt x="260" y="174"/>
                  <a:pt x="259" y="174"/>
                  <a:pt x="259" y="174"/>
                </a:cubicBezTo>
                <a:cubicBezTo>
                  <a:pt x="258" y="173"/>
                  <a:pt x="257" y="172"/>
                  <a:pt x="256" y="171"/>
                </a:cubicBezTo>
                <a:cubicBezTo>
                  <a:pt x="257" y="171"/>
                  <a:pt x="256" y="170"/>
                  <a:pt x="256" y="170"/>
                </a:cubicBezTo>
                <a:cubicBezTo>
                  <a:pt x="256" y="170"/>
                  <a:pt x="256" y="170"/>
                  <a:pt x="256" y="171"/>
                </a:cubicBezTo>
                <a:cubicBezTo>
                  <a:pt x="256" y="170"/>
                  <a:pt x="255" y="170"/>
                  <a:pt x="256" y="170"/>
                </a:cubicBezTo>
                <a:cubicBezTo>
                  <a:pt x="255" y="169"/>
                  <a:pt x="255" y="170"/>
                  <a:pt x="255" y="170"/>
                </a:cubicBezTo>
                <a:cubicBezTo>
                  <a:pt x="255" y="170"/>
                  <a:pt x="256" y="170"/>
                  <a:pt x="256" y="171"/>
                </a:cubicBezTo>
                <a:cubicBezTo>
                  <a:pt x="255" y="171"/>
                  <a:pt x="255" y="170"/>
                  <a:pt x="255" y="170"/>
                </a:cubicBezTo>
                <a:cubicBezTo>
                  <a:pt x="255" y="170"/>
                  <a:pt x="255" y="171"/>
                  <a:pt x="255" y="171"/>
                </a:cubicBezTo>
                <a:cubicBezTo>
                  <a:pt x="254" y="171"/>
                  <a:pt x="254" y="170"/>
                  <a:pt x="254" y="169"/>
                </a:cubicBezTo>
                <a:cubicBezTo>
                  <a:pt x="253" y="169"/>
                  <a:pt x="254" y="169"/>
                  <a:pt x="254" y="169"/>
                </a:cubicBezTo>
                <a:cubicBezTo>
                  <a:pt x="254" y="168"/>
                  <a:pt x="253" y="169"/>
                  <a:pt x="253" y="168"/>
                </a:cubicBezTo>
                <a:cubicBezTo>
                  <a:pt x="252" y="169"/>
                  <a:pt x="252" y="169"/>
                  <a:pt x="251" y="169"/>
                </a:cubicBezTo>
                <a:cubicBezTo>
                  <a:pt x="251" y="169"/>
                  <a:pt x="251" y="169"/>
                  <a:pt x="251" y="169"/>
                </a:cubicBezTo>
                <a:cubicBezTo>
                  <a:pt x="251" y="170"/>
                  <a:pt x="251" y="170"/>
                  <a:pt x="252" y="170"/>
                </a:cubicBezTo>
                <a:cubicBezTo>
                  <a:pt x="251" y="171"/>
                  <a:pt x="251" y="171"/>
                  <a:pt x="251" y="171"/>
                </a:cubicBezTo>
                <a:cubicBezTo>
                  <a:pt x="251" y="173"/>
                  <a:pt x="253" y="173"/>
                  <a:pt x="254" y="174"/>
                </a:cubicBezTo>
                <a:cubicBezTo>
                  <a:pt x="255" y="177"/>
                  <a:pt x="256" y="179"/>
                  <a:pt x="259" y="178"/>
                </a:cubicBezTo>
                <a:cubicBezTo>
                  <a:pt x="260" y="179"/>
                  <a:pt x="259" y="179"/>
                  <a:pt x="259" y="179"/>
                </a:cubicBezTo>
                <a:cubicBezTo>
                  <a:pt x="261" y="181"/>
                  <a:pt x="263" y="181"/>
                  <a:pt x="265" y="183"/>
                </a:cubicBezTo>
                <a:cubicBezTo>
                  <a:pt x="265" y="183"/>
                  <a:pt x="264" y="183"/>
                  <a:pt x="264" y="184"/>
                </a:cubicBezTo>
                <a:cubicBezTo>
                  <a:pt x="264" y="184"/>
                  <a:pt x="263" y="183"/>
                  <a:pt x="263" y="183"/>
                </a:cubicBezTo>
                <a:cubicBezTo>
                  <a:pt x="262" y="183"/>
                  <a:pt x="262" y="182"/>
                  <a:pt x="261" y="182"/>
                </a:cubicBezTo>
                <a:cubicBezTo>
                  <a:pt x="261" y="182"/>
                  <a:pt x="261" y="183"/>
                  <a:pt x="260" y="184"/>
                </a:cubicBezTo>
                <a:cubicBezTo>
                  <a:pt x="261" y="184"/>
                  <a:pt x="261" y="184"/>
                  <a:pt x="262" y="185"/>
                </a:cubicBezTo>
                <a:cubicBezTo>
                  <a:pt x="262" y="185"/>
                  <a:pt x="262" y="186"/>
                  <a:pt x="262" y="186"/>
                </a:cubicBezTo>
                <a:cubicBezTo>
                  <a:pt x="261" y="186"/>
                  <a:pt x="261" y="186"/>
                  <a:pt x="260" y="186"/>
                </a:cubicBezTo>
                <a:cubicBezTo>
                  <a:pt x="260" y="187"/>
                  <a:pt x="261" y="187"/>
                  <a:pt x="261" y="187"/>
                </a:cubicBezTo>
                <a:cubicBezTo>
                  <a:pt x="260" y="188"/>
                  <a:pt x="260" y="188"/>
                  <a:pt x="260" y="189"/>
                </a:cubicBezTo>
                <a:cubicBezTo>
                  <a:pt x="259" y="189"/>
                  <a:pt x="259" y="189"/>
                  <a:pt x="259" y="189"/>
                </a:cubicBezTo>
                <a:cubicBezTo>
                  <a:pt x="258" y="188"/>
                  <a:pt x="258" y="188"/>
                  <a:pt x="258" y="188"/>
                </a:cubicBezTo>
                <a:cubicBezTo>
                  <a:pt x="258" y="189"/>
                  <a:pt x="257" y="190"/>
                  <a:pt x="258" y="191"/>
                </a:cubicBezTo>
                <a:cubicBezTo>
                  <a:pt x="258" y="191"/>
                  <a:pt x="257" y="192"/>
                  <a:pt x="258" y="192"/>
                </a:cubicBezTo>
                <a:cubicBezTo>
                  <a:pt x="255" y="192"/>
                  <a:pt x="254" y="190"/>
                  <a:pt x="252" y="189"/>
                </a:cubicBezTo>
                <a:cubicBezTo>
                  <a:pt x="251" y="189"/>
                  <a:pt x="252" y="188"/>
                  <a:pt x="252" y="188"/>
                </a:cubicBezTo>
                <a:cubicBezTo>
                  <a:pt x="252" y="188"/>
                  <a:pt x="252" y="188"/>
                  <a:pt x="253" y="188"/>
                </a:cubicBezTo>
                <a:cubicBezTo>
                  <a:pt x="253" y="188"/>
                  <a:pt x="253" y="188"/>
                  <a:pt x="253" y="188"/>
                </a:cubicBezTo>
                <a:cubicBezTo>
                  <a:pt x="255" y="189"/>
                  <a:pt x="257" y="188"/>
                  <a:pt x="259" y="188"/>
                </a:cubicBezTo>
                <a:cubicBezTo>
                  <a:pt x="259" y="188"/>
                  <a:pt x="259" y="187"/>
                  <a:pt x="259" y="187"/>
                </a:cubicBezTo>
                <a:cubicBezTo>
                  <a:pt x="260" y="186"/>
                  <a:pt x="260" y="186"/>
                  <a:pt x="260" y="186"/>
                </a:cubicBezTo>
                <a:cubicBezTo>
                  <a:pt x="260" y="186"/>
                  <a:pt x="259" y="184"/>
                  <a:pt x="258" y="183"/>
                </a:cubicBezTo>
                <a:cubicBezTo>
                  <a:pt x="258" y="184"/>
                  <a:pt x="258" y="183"/>
                  <a:pt x="257" y="183"/>
                </a:cubicBezTo>
                <a:cubicBezTo>
                  <a:pt x="257" y="182"/>
                  <a:pt x="257" y="182"/>
                  <a:pt x="257" y="182"/>
                </a:cubicBezTo>
                <a:cubicBezTo>
                  <a:pt x="256" y="182"/>
                  <a:pt x="256" y="182"/>
                  <a:pt x="256" y="182"/>
                </a:cubicBezTo>
                <a:cubicBezTo>
                  <a:pt x="255" y="182"/>
                  <a:pt x="256" y="182"/>
                  <a:pt x="256" y="181"/>
                </a:cubicBezTo>
                <a:cubicBezTo>
                  <a:pt x="255" y="181"/>
                  <a:pt x="255" y="181"/>
                  <a:pt x="255" y="181"/>
                </a:cubicBezTo>
                <a:cubicBezTo>
                  <a:pt x="255" y="181"/>
                  <a:pt x="255" y="181"/>
                  <a:pt x="254" y="180"/>
                </a:cubicBezTo>
                <a:cubicBezTo>
                  <a:pt x="254" y="180"/>
                  <a:pt x="253" y="180"/>
                  <a:pt x="253" y="180"/>
                </a:cubicBezTo>
                <a:cubicBezTo>
                  <a:pt x="251" y="179"/>
                  <a:pt x="251" y="177"/>
                  <a:pt x="249" y="177"/>
                </a:cubicBezTo>
                <a:cubicBezTo>
                  <a:pt x="249" y="176"/>
                  <a:pt x="248" y="176"/>
                  <a:pt x="247" y="176"/>
                </a:cubicBezTo>
                <a:cubicBezTo>
                  <a:pt x="248" y="174"/>
                  <a:pt x="247" y="174"/>
                  <a:pt x="247" y="173"/>
                </a:cubicBezTo>
                <a:cubicBezTo>
                  <a:pt x="246" y="173"/>
                  <a:pt x="245" y="172"/>
                  <a:pt x="244" y="172"/>
                </a:cubicBezTo>
                <a:cubicBezTo>
                  <a:pt x="241" y="174"/>
                  <a:pt x="237" y="176"/>
                  <a:pt x="234" y="174"/>
                </a:cubicBezTo>
                <a:cubicBezTo>
                  <a:pt x="232" y="174"/>
                  <a:pt x="231" y="176"/>
                  <a:pt x="232" y="177"/>
                </a:cubicBezTo>
                <a:cubicBezTo>
                  <a:pt x="232" y="178"/>
                  <a:pt x="232" y="178"/>
                  <a:pt x="232" y="178"/>
                </a:cubicBezTo>
                <a:cubicBezTo>
                  <a:pt x="230" y="180"/>
                  <a:pt x="228" y="180"/>
                  <a:pt x="226" y="181"/>
                </a:cubicBezTo>
                <a:cubicBezTo>
                  <a:pt x="227" y="181"/>
                  <a:pt x="227" y="181"/>
                  <a:pt x="227" y="181"/>
                </a:cubicBezTo>
                <a:cubicBezTo>
                  <a:pt x="226" y="182"/>
                  <a:pt x="223" y="185"/>
                  <a:pt x="225" y="186"/>
                </a:cubicBezTo>
                <a:cubicBezTo>
                  <a:pt x="224" y="187"/>
                  <a:pt x="222" y="189"/>
                  <a:pt x="223" y="190"/>
                </a:cubicBezTo>
                <a:cubicBezTo>
                  <a:pt x="222" y="189"/>
                  <a:pt x="221" y="191"/>
                  <a:pt x="220" y="192"/>
                </a:cubicBezTo>
                <a:cubicBezTo>
                  <a:pt x="218" y="192"/>
                  <a:pt x="213" y="192"/>
                  <a:pt x="213" y="194"/>
                </a:cubicBezTo>
                <a:cubicBezTo>
                  <a:pt x="210" y="193"/>
                  <a:pt x="211" y="189"/>
                  <a:pt x="208" y="191"/>
                </a:cubicBezTo>
                <a:cubicBezTo>
                  <a:pt x="207" y="191"/>
                  <a:pt x="206" y="191"/>
                  <a:pt x="205" y="191"/>
                </a:cubicBezTo>
                <a:cubicBezTo>
                  <a:pt x="205" y="190"/>
                  <a:pt x="206" y="188"/>
                  <a:pt x="206" y="187"/>
                </a:cubicBezTo>
                <a:cubicBezTo>
                  <a:pt x="205" y="187"/>
                  <a:pt x="205" y="188"/>
                  <a:pt x="205" y="187"/>
                </a:cubicBezTo>
                <a:cubicBezTo>
                  <a:pt x="205" y="187"/>
                  <a:pt x="205" y="187"/>
                  <a:pt x="204" y="187"/>
                </a:cubicBezTo>
                <a:cubicBezTo>
                  <a:pt x="206" y="184"/>
                  <a:pt x="207" y="179"/>
                  <a:pt x="207" y="177"/>
                </a:cubicBezTo>
                <a:cubicBezTo>
                  <a:pt x="206" y="176"/>
                  <a:pt x="206" y="177"/>
                  <a:pt x="206" y="177"/>
                </a:cubicBezTo>
                <a:cubicBezTo>
                  <a:pt x="206" y="176"/>
                  <a:pt x="206" y="176"/>
                  <a:pt x="206" y="176"/>
                </a:cubicBezTo>
                <a:cubicBezTo>
                  <a:pt x="208" y="172"/>
                  <a:pt x="215" y="175"/>
                  <a:pt x="219" y="174"/>
                </a:cubicBezTo>
                <a:cubicBezTo>
                  <a:pt x="222" y="176"/>
                  <a:pt x="223" y="173"/>
                  <a:pt x="223" y="171"/>
                </a:cubicBezTo>
                <a:cubicBezTo>
                  <a:pt x="223" y="171"/>
                  <a:pt x="223" y="170"/>
                  <a:pt x="223" y="169"/>
                </a:cubicBezTo>
                <a:cubicBezTo>
                  <a:pt x="223" y="168"/>
                  <a:pt x="224" y="169"/>
                  <a:pt x="224" y="169"/>
                </a:cubicBezTo>
                <a:cubicBezTo>
                  <a:pt x="224" y="169"/>
                  <a:pt x="223" y="169"/>
                  <a:pt x="223" y="169"/>
                </a:cubicBezTo>
                <a:cubicBezTo>
                  <a:pt x="224" y="167"/>
                  <a:pt x="222" y="167"/>
                  <a:pt x="221" y="166"/>
                </a:cubicBezTo>
                <a:cubicBezTo>
                  <a:pt x="222" y="165"/>
                  <a:pt x="221" y="165"/>
                  <a:pt x="221" y="165"/>
                </a:cubicBezTo>
                <a:cubicBezTo>
                  <a:pt x="221" y="164"/>
                  <a:pt x="220" y="165"/>
                  <a:pt x="221" y="164"/>
                </a:cubicBezTo>
                <a:cubicBezTo>
                  <a:pt x="220" y="164"/>
                  <a:pt x="220" y="163"/>
                  <a:pt x="219" y="164"/>
                </a:cubicBezTo>
                <a:cubicBezTo>
                  <a:pt x="219" y="163"/>
                  <a:pt x="218" y="163"/>
                  <a:pt x="217" y="163"/>
                </a:cubicBezTo>
                <a:cubicBezTo>
                  <a:pt x="217" y="163"/>
                  <a:pt x="217" y="162"/>
                  <a:pt x="216" y="162"/>
                </a:cubicBezTo>
                <a:cubicBezTo>
                  <a:pt x="216" y="162"/>
                  <a:pt x="217" y="163"/>
                  <a:pt x="217" y="162"/>
                </a:cubicBezTo>
                <a:cubicBezTo>
                  <a:pt x="217" y="162"/>
                  <a:pt x="216" y="162"/>
                  <a:pt x="216" y="161"/>
                </a:cubicBezTo>
                <a:cubicBezTo>
                  <a:pt x="217" y="160"/>
                  <a:pt x="218" y="161"/>
                  <a:pt x="219" y="160"/>
                </a:cubicBezTo>
                <a:cubicBezTo>
                  <a:pt x="220" y="160"/>
                  <a:pt x="220" y="161"/>
                  <a:pt x="220" y="161"/>
                </a:cubicBezTo>
                <a:cubicBezTo>
                  <a:pt x="221" y="161"/>
                  <a:pt x="222" y="161"/>
                  <a:pt x="223" y="161"/>
                </a:cubicBezTo>
                <a:cubicBezTo>
                  <a:pt x="223" y="160"/>
                  <a:pt x="222" y="159"/>
                  <a:pt x="222" y="158"/>
                </a:cubicBezTo>
                <a:cubicBezTo>
                  <a:pt x="222" y="158"/>
                  <a:pt x="223" y="159"/>
                  <a:pt x="223" y="158"/>
                </a:cubicBezTo>
                <a:cubicBezTo>
                  <a:pt x="224" y="159"/>
                  <a:pt x="223" y="159"/>
                  <a:pt x="224" y="159"/>
                </a:cubicBezTo>
                <a:cubicBezTo>
                  <a:pt x="225" y="159"/>
                  <a:pt x="225" y="159"/>
                  <a:pt x="226" y="159"/>
                </a:cubicBezTo>
                <a:cubicBezTo>
                  <a:pt x="226" y="158"/>
                  <a:pt x="226" y="158"/>
                  <a:pt x="226" y="158"/>
                </a:cubicBezTo>
                <a:cubicBezTo>
                  <a:pt x="228" y="158"/>
                  <a:pt x="230" y="157"/>
                  <a:pt x="229" y="155"/>
                </a:cubicBezTo>
                <a:cubicBezTo>
                  <a:pt x="231" y="155"/>
                  <a:pt x="233" y="155"/>
                  <a:pt x="233" y="153"/>
                </a:cubicBezTo>
                <a:cubicBezTo>
                  <a:pt x="234" y="153"/>
                  <a:pt x="234" y="153"/>
                  <a:pt x="234" y="154"/>
                </a:cubicBezTo>
                <a:cubicBezTo>
                  <a:pt x="234" y="153"/>
                  <a:pt x="234" y="153"/>
                  <a:pt x="234" y="153"/>
                </a:cubicBezTo>
                <a:cubicBezTo>
                  <a:pt x="235" y="153"/>
                  <a:pt x="236" y="151"/>
                  <a:pt x="236" y="149"/>
                </a:cubicBezTo>
                <a:cubicBezTo>
                  <a:pt x="237" y="149"/>
                  <a:pt x="236" y="150"/>
                  <a:pt x="236" y="150"/>
                </a:cubicBezTo>
                <a:cubicBezTo>
                  <a:pt x="237" y="150"/>
                  <a:pt x="237" y="149"/>
                  <a:pt x="238" y="149"/>
                </a:cubicBezTo>
                <a:cubicBezTo>
                  <a:pt x="238" y="149"/>
                  <a:pt x="238" y="149"/>
                  <a:pt x="238" y="149"/>
                </a:cubicBezTo>
                <a:cubicBezTo>
                  <a:pt x="238" y="148"/>
                  <a:pt x="239" y="149"/>
                  <a:pt x="239" y="149"/>
                </a:cubicBezTo>
                <a:cubicBezTo>
                  <a:pt x="239" y="149"/>
                  <a:pt x="240" y="148"/>
                  <a:pt x="240" y="149"/>
                </a:cubicBezTo>
                <a:cubicBezTo>
                  <a:pt x="240" y="149"/>
                  <a:pt x="241" y="148"/>
                  <a:pt x="241" y="148"/>
                </a:cubicBezTo>
                <a:cubicBezTo>
                  <a:pt x="242" y="148"/>
                  <a:pt x="243" y="148"/>
                  <a:pt x="243" y="149"/>
                </a:cubicBezTo>
                <a:cubicBezTo>
                  <a:pt x="244" y="149"/>
                  <a:pt x="243" y="148"/>
                  <a:pt x="243" y="148"/>
                </a:cubicBezTo>
                <a:cubicBezTo>
                  <a:pt x="244" y="148"/>
                  <a:pt x="244" y="148"/>
                  <a:pt x="244" y="148"/>
                </a:cubicBezTo>
                <a:cubicBezTo>
                  <a:pt x="244" y="147"/>
                  <a:pt x="244" y="147"/>
                  <a:pt x="243" y="147"/>
                </a:cubicBezTo>
                <a:cubicBezTo>
                  <a:pt x="244" y="146"/>
                  <a:pt x="244" y="146"/>
                  <a:pt x="244" y="146"/>
                </a:cubicBezTo>
                <a:cubicBezTo>
                  <a:pt x="244" y="146"/>
                  <a:pt x="244" y="145"/>
                  <a:pt x="244" y="144"/>
                </a:cubicBezTo>
                <a:cubicBezTo>
                  <a:pt x="243" y="144"/>
                  <a:pt x="243" y="144"/>
                  <a:pt x="243" y="144"/>
                </a:cubicBezTo>
                <a:cubicBezTo>
                  <a:pt x="243" y="143"/>
                  <a:pt x="243" y="143"/>
                  <a:pt x="243" y="143"/>
                </a:cubicBezTo>
                <a:cubicBezTo>
                  <a:pt x="243" y="142"/>
                  <a:pt x="243" y="142"/>
                  <a:pt x="243" y="142"/>
                </a:cubicBezTo>
                <a:cubicBezTo>
                  <a:pt x="243" y="142"/>
                  <a:pt x="243" y="141"/>
                  <a:pt x="243" y="141"/>
                </a:cubicBezTo>
                <a:cubicBezTo>
                  <a:pt x="243" y="141"/>
                  <a:pt x="243" y="141"/>
                  <a:pt x="243" y="141"/>
                </a:cubicBezTo>
                <a:cubicBezTo>
                  <a:pt x="243" y="141"/>
                  <a:pt x="243" y="141"/>
                  <a:pt x="243" y="141"/>
                </a:cubicBezTo>
                <a:cubicBezTo>
                  <a:pt x="244" y="139"/>
                  <a:pt x="246" y="139"/>
                  <a:pt x="247" y="138"/>
                </a:cubicBezTo>
                <a:cubicBezTo>
                  <a:pt x="247" y="138"/>
                  <a:pt x="247" y="138"/>
                  <a:pt x="247" y="138"/>
                </a:cubicBezTo>
                <a:cubicBezTo>
                  <a:pt x="248" y="139"/>
                  <a:pt x="246" y="140"/>
                  <a:pt x="247" y="141"/>
                </a:cubicBezTo>
                <a:cubicBezTo>
                  <a:pt x="248" y="141"/>
                  <a:pt x="248" y="141"/>
                  <a:pt x="248" y="141"/>
                </a:cubicBezTo>
                <a:cubicBezTo>
                  <a:pt x="248" y="142"/>
                  <a:pt x="248" y="142"/>
                  <a:pt x="248" y="142"/>
                </a:cubicBezTo>
                <a:cubicBezTo>
                  <a:pt x="247" y="142"/>
                  <a:pt x="247" y="142"/>
                  <a:pt x="247" y="142"/>
                </a:cubicBezTo>
                <a:cubicBezTo>
                  <a:pt x="247" y="142"/>
                  <a:pt x="247" y="143"/>
                  <a:pt x="246" y="143"/>
                </a:cubicBezTo>
                <a:cubicBezTo>
                  <a:pt x="246" y="144"/>
                  <a:pt x="246" y="144"/>
                  <a:pt x="246" y="144"/>
                </a:cubicBezTo>
                <a:cubicBezTo>
                  <a:pt x="246" y="143"/>
                  <a:pt x="247" y="144"/>
                  <a:pt x="247" y="143"/>
                </a:cubicBezTo>
                <a:cubicBezTo>
                  <a:pt x="248" y="144"/>
                  <a:pt x="248" y="144"/>
                  <a:pt x="248" y="145"/>
                </a:cubicBezTo>
                <a:cubicBezTo>
                  <a:pt x="247" y="145"/>
                  <a:pt x="246" y="145"/>
                  <a:pt x="246" y="144"/>
                </a:cubicBezTo>
                <a:cubicBezTo>
                  <a:pt x="245" y="144"/>
                  <a:pt x="246" y="145"/>
                  <a:pt x="245" y="144"/>
                </a:cubicBezTo>
                <a:cubicBezTo>
                  <a:pt x="245" y="145"/>
                  <a:pt x="246" y="144"/>
                  <a:pt x="246" y="145"/>
                </a:cubicBezTo>
                <a:cubicBezTo>
                  <a:pt x="246" y="145"/>
                  <a:pt x="246" y="145"/>
                  <a:pt x="246" y="145"/>
                </a:cubicBezTo>
                <a:cubicBezTo>
                  <a:pt x="246" y="145"/>
                  <a:pt x="247" y="145"/>
                  <a:pt x="246" y="146"/>
                </a:cubicBezTo>
                <a:cubicBezTo>
                  <a:pt x="248" y="147"/>
                  <a:pt x="248" y="146"/>
                  <a:pt x="249" y="146"/>
                </a:cubicBezTo>
                <a:cubicBezTo>
                  <a:pt x="248" y="146"/>
                  <a:pt x="249" y="147"/>
                  <a:pt x="248" y="147"/>
                </a:cubicBezTo>
                <a:cubicBezTo>
                  <a:pt x="249" y="148"/>
                  <a:pt x="249" y="148"/>
                  <a:pt x="249" y="148"/>
                </a:cubicBezTo>
                <a:cubicBezTo>
                  <a:pt x="250" y="147"/>
                  <a:pt x="251" y="146"/>
                  <a:pt x="252" y="146"/>
                </a:cubicBezTo>
                <a:cubicBezTo>
                  <a:pt x="253" y="146"/>
                  <a:pt x="252" y="146"/>
                  <a:pt x="253" y="146"/>
                </a:cubicBezTo>
                <a:cubicBezTo>
                  <a:pt x="253" y="146"/>
                  <a:pt x="253" y="146"/>
                  <a:pt x="254" y="146"/>
                </a:cubicBezTo>
                <a:cubicBezTo>
                  <a:pt x="254" y="146"/>
                  <a:pt x="254" y="146"/>
                  <a:pt x="254" y="146"/>
                </a:cubicBezTo>
                <a:cubicBezTo>
                  <a:pt x="253" y="147"/>
                  <a:pt x="253" y="147"/>
                  <a:pt x="253" y="147"/>
                </a:cubicBezTo>
                <a:cubicBezTo>
                  <a:pt x="255" y="149"/>
                  <a:pt x="259" y="145"/>
                  <a:pt x="263" y="145"/>
                </a:cubicBezTo>
                <a:cubicBezTo>
                  <a:pt x="263" y="147"/>
                  <a:pt x="266" y="147"/>
                  <a:pt x="266" y="145"/>
                </a:cubicBezTo>
                <a:cubicBezTo>
                  <a:pt x="268" y="145"/>
                  <a:pt x="267" y="142"/>
                  <a:pt x="267" y="140"/>
                </a:cubicBezTo>
                <a:cubicBezTo>
                  <a:pt x="268" y="140"/>
                  <a:pt x="268" y="138"/>
                  <a:pt x="270" y="138"/>
                </a:cubicBezTo>
                <a:cubicBezTo>
                  <a:pt x="271" y="139"/>
                  <a:pt x="272" y="141"/>
                  <a:pt x="274" y="139"/>
                </a:cubicBezTo>
                <a:cubicBezTo>
                  <a:pt x="273" y="138"/>
                  <a:pt x="273" y="138"/>
                  <a:pt x="274" y="137"/>
                </a:cubicBezTo>
                <a:cubicBezTo>
                  <a:pt x="273" y="137"/>
                  <a:pt x="273" y="137"/>
                  <a:pt x="272" y="137"/>
                </a:cubicBezTo>
                <a:cubicBezTo>
                  <a:pt x="272" y="136"/>
                  <a:pt x="272" y="135"/>
                  <a:pt x="271" y="135"/>
                </a:cubicBezTo>
                <a:cubicBezTo>
                  <a:pt x="273" y="133"/>
                  <a:pt x="276" y="133"/>
                  <a:pt x="280" y="134"/>
                </a:cubicBezTo>
                <a:cubicBezTo>
                  <a:pt x="280" y="134"/>
                  <a:pt x="280" y="134"/>
                  <a:pt x="280" y="133"/>
                </a:cubicBezTo>
                <a:cubicBezTo>
                  <a:pt x="281" y="133"/>
                  <a:pt x="281" y="133"/>
                  <a:pt x="282" y="133"/>
                </a:cubicBezTo>
                <a:cubicBezTo>
                  <a:pt x="283" y="133"/>
                  <a:pt x="283" y="133"/>
                  <a:pt x="284" y="133"/>
                </a:cubicBezTo>
                <a:cubicBezTo>
                  <a:pt x="283" y="132"/>
                  <a:pt x="281" y="133"/>
                  <a:pt x="280" y="132"/>
                </a:cubicBezTo>
                <a:cubicBezTo>
                  <a:pt x="281" y="131"/>
                  <a:pt x="281" y="131"/>
                  <a:pt x="281" y="131"/>
                </a:cubicBezTo>
                <a:cubicBezTo>
                  <a:pt x="277" y="132"/>
                  <a:pt x="275" y="132"/>
                  <a:pt x="271" y="133"/>
                </a:cubicBezTo>
                <a:cubicBezTo>
                  <a:pt x="270" y="133"/>
                  <a:pt x="271" y="133"/>
                  <a:pt x="270" y="132"/>
                </a:cubicBezTo>
                <a:cubicBezTo>
                  <a:pt x="269" y="132"/>
                  <a:pt x="268" y="131"/>
                  <a:pt x="268" y="131"/>
                </a:cubicBezTo>
                <a:cubicBezTo>
                  <a:pt x="267" y="130"/>
                  <a:pt x="268" y="127"/>
                  <a:pt x="266" y="126"/>
                </a:cubicBezTo>
                <a:cubicBezTo>
                  <a:pt x="267" y="126"/>
                  <a:pt x="267" y="126"/>
                  <a:pt x="267" y="125"/>
                </a:cubicBezTo>
                <a:cubicBezTo>
                  <a:pt x="267" y="125"/>
                  <a:pt x="268" y="125"/>
                  <a:pt x="268" y="125"/>
                </a:cubicBezTo>
                <a:cubicBezTo>
                  <a:pt x="269" y="124"/>
                  <a:pt x="271" y="122"/>
                  <a:pt x="273" y="121"/>
                </a:cubicBezTo>
                <a:cubicBezTo>
                  <a:pt x="274" y="118"/>
                  <a:pt x="270" y="119"/>
                  <a:pt x="268" y="119"/>
                </a:cubicBezTo>
                <a:cubicBezTo>
                  <a:pt x="268" y="120"/>
                  <a:pt x="268" y="120"/>
                  <a:pt x="268" y="120"/>
                </a:cubicBezTo>
                <a:cubicBezTo>
                  <a:pt x="267" y="120"/>
                  <a:pt x="267" y="121"/>
                  <a:pt x="266" y="121"/>
                </a:cubicBezTo>
                <a:cubicBezTo>
                  <a:pt x="266" y="122"/>
                  <a:pt x="267" y="122"/>
                  <a:pt x="267" y="122"/>
                </a:cubicBezTo>
                <a:cubicBezTo>
                  <a:pt x="266" y="124"/>
                  <a:pt x="263" y="124"/>
                  <a:pt x="262" y="126"/>
                </a:cubicBezTo>
                <a:cubicBezTo>
                  <a:pt x="261" y="126"/>
                  <a:pt x="261" y="126"/>
                  <a:pt x="261" y="126"/>
                </a:cubicBezTo>
                <a:cubicBezTo>
                  <a:pt x="261" y="126"/>
                  <a:pt x="261" y="126"/>
                  <a:pt x="261" y="127"/>
                </a:cubicBezTo>
                <a:cubicBezTo>
                  <a:pt x="260" y="127"/>
                  <a:pt x="260" y="127"/>
                  <a:pt x="260" y="127"/>
                </a:cubicBezTo>
                <a:cubicBezTo>
                  <a:pt x="260" y="127"/>
                  <a:pt x="260" y="127"/>
                  <a:pt x="260" y="127"/>
                </a:cubicBezTo>
                <a:cubicBezTo>
                  <a:pt x="260" y="127"/>
                  <a:pt x="260" y="128"/>
                  <a:pt x="260" y="128"/>
                </a:cubicBezTo>
                <a:cubicBezTo>
                  <a:pt x="260" y="128"/>
                  <a:pt x="260" y="129"/>
                  <a:pt x="260" y="129"/>
                </a:cubicBezTo>
                <a:cubicBezTo>
                  <a:pt x="259" y="129"/>
                  <a:pt x="260" y="130"/>
                  <a:pt x="260" y="131"/>
                </a:cubicBezTo>
                <a:cubicBezTo>
                  <a:pt x="261" y="131"/>
                  <a:pt x="260" y="131"/>
                  <a:pt x="261" y="131"/>
                </a:cubicBezTo>
                <a:cubicBezTo>
                  <a:pt x="262" y="132"/>
                  <a:pt x="263" y="132"/>
                  <a:pt x="263" y="133"/>
                </a:cubicBezTo>
                <a:cubicBezTo>
                  <a:pt x="263" y="133"/>
                  <a:pt x="262" y="134"/>
                  <a:pt x="262" y="134"/>
                </a:cubicBezTo>
                <a:cubicBezTo>
                  <a:pt x="263" y="134"/>
                  <a:pt x="263" y="134"/>
                  <a:pt x="263" y="134"/>
                </a:cubicBezTo>
                <a:cubicBezTo>
                  <a:pt x="262" y="135"/>
                  <a:pt x="261" y="135"/>
                  <a:pt x="261" y="136"/>
                </a:cubicBezTo>
                <a:cubicBezTo>
                  <a:pt x="261" y="135"/>
                  <a:pt x="260" y="136"/>
                  <a:pt x="259" y="136"/>
                </a:cubicBezTo>
                <a:cubicBezTo>
                  <a:pt x="259" y="136"/>
                  <a:pt x="260" y="137"/>
                  <a:pt x="259" y="136"/>
                </a:cubicBezTo>
                <a:cubicBezTo>
                  <a:pt x="259" y="137"/>
                  <a:pt x="259" y="138"/>
                  <a:pt x="259" y="138"/>
                </a:cubicBezTo>
                <a:cubicBezTo>
                  <a:pt x="259" y="139"/>
                  <a:pt x="259" y="141"/>
                  <a:pt x="258" y="142"/>
                </a:cubicBezTo>
                <a:cubicBezTo>
                  <a:pt x="257" y="142"/>
                  <a:pt x="256" y="142"/>
                  <a:pt x="256" y="142"/>
                </a:cubicBezTo>
                <a:cubicBezTo>
                  <a:pt x="256" y="142"/>
                  <a:pt x="256" y="142"/>
                  <a:pt x="256" y="142"/>
                </a:cubicBezTo>
                <a:cubicBezTo>
                  <a:pt x="255" y="142"/>
                  <a:pt x="255" y="142"/>
                  <a:pt x="255" y="143"/>
                </a:cubicBezTo>
                <a:cubicBezTo>
                  <a:pt x="254" y="143"/>
                  <a:pt x="255" y="143"/>
                  <a:pt x="255" y="144"/>
                </a:cubicBezTo>
                <a:cubicBezTo>
                  <a:pt x="254" y="144"/>
                  <a:pt x="253" y="144"/>
                  <a:pt x="252" y="144"/>
                </a:cubicBezTo>
                <a:cubicBezTo>
                  <a:pt x="252" y="144"/>
                  <a:pt x="252" y="143"/>
                  <a:pt x="252" y="143"/>
                </a:cubicBezTo>
                <a:cubicBezTo>
                  <a:pt x="252" y="143"/>
                  <a:pt x="252" y="143"/>
                  <a:pt x="252" y="142"/>
                </a:cubicBezTo>
                <a:cubicBezTo>
                  <a:pt x="251" y="143"/>
                  <a:pt x="252" y="144"/>
                  <a:pt x="251" y="143"/>
                </a:cubicBezTo>
                <a:cubicBezTo>
                  <a:pt x="251" y="144"/>
                  <a:pt x="251" y="144"/>
                  <a:pt x="251" y="144"/>
                </a:cubicBezTo>
                <a:cubicBezTo>
                  <a:pt x="251" y="145"/>
                  <a:pt x="250" y="144"/>
                  <a:pt x="251" y="145"/>
                </a:cubicBezTo>
                <a:cubicBezTo>
                  <a:pt x="250" y="145"/>
                  <a:pt x="251" y="144"/>
                  <a:pt x="251" y="145"/>
                </a:cubicBezTo>
                <a:cubicBezTo>
                  <a:pt x="251" y="145"/>
                  <a:pt x="250" y="145"/>
                  <a:pt x="250" y="146"/>
                </a:cubicBezTo>
                <a:cubicBezTo>
                  <a:pt x="250" y="146"/>
                  <a:pt x="249" y="146"/>
                  <a:pt x="248" y="145"/>
                </a:cubicBezTo>
                <a:cubicBezTo>
                  <a:pt x="248" y="145"/>
                  <a:pt x="248" y="145"/>
                  <a:pt x="248" y="145"/>
                </a:cubicBezTo>
                <a:cubicBezTo>
                  <a:pt x="248" y="145"/>
                  <a:pt x="249" y="145"/>
                  <a:pt x="249" y="145"/>
                </a:cubicBezTo>
                <a:cubicBezTo>
                  <a:pt x="250" y="145"/>
                  <a:pt x="250" y="145"/>
                  <a:pt x="250" y="145"/>
                </a:cubicBezTo>
                <a:cubicBezTo>
                  <a:pt x="250" y="145"/>
                  <a:pt x="250" y="145"/>
                  <a:pt x="250" y="145"/>
                </a:cubicBezTo>
                <a:cubicBezTo>
                  <a:pt x="249" y="144"/>
                  <a:pt x="249" y="145"/>
                  <a:pt x="248" y="144"/>
                </a:cubicBezTo>
                <a:cubicBezTo>
                  <a:pt x="249" y="144"/>
                  <a:pt x="248" y="143"/>
                  <a:pt x="248" y="143"/>
                </a:cubicBezTo>
                <a:cubicBezTo>
                  <a:pt x="249" y="143"/>
                  <a:pt x="249" y="143"/>
                  <a:pt x="249" y="143"/>
                </a:cubicBezTo>
                <a:cubicBezTo>
                  <a:pt x="249" y="142"/>
                  <a:pt x="249" y="142"/>
                  <a:pt x="249" y="142"/>
                </a:cubicBezTo>
                <a:cubicBezTo>
                  <a:pt x="249" y="143"/>
                  <a:pt x="251" y="142"/>
                  <a:pt x="251" y="142"/>
                </a:cubicBezTo>
                <a:cubicBezTo>
                  <a:pt x="251" y="142"/>
                  <a:pt x="251" y="142"/>
                  <a:pt x="251" y="142"/>
                </a:cubicBezTo>
                <a:cubicBezTo>
                  <a:pt x="252" y="142"/>
                  <a:pt x="252" y="142"/>
                  <a:pt x="252" y="142"/>
                </a:cubicBezTo>
                <a:cubicBezTo>
                  <a:pt x="252" y="142"/>
                  <a:pt x="251" y="141"/>
                  <a:pt x="252" y="141"/>
                </a:cubicBezTo>
                <a:cubicBezTo>
                  <a:pt x="250" y="139"/>
                  <a:pt x="248" y="137"/>
                  <a:pt x="249" y="135"/>
                </a:cubicBezTo>
                <a:cubicBezTo>
                  <a:pt x="248" y="135"/>
                  <a:pt x="248" y="135"/>
                  <a:pt x="248" y="135"/>
                </a:cubicBezTo>
                <a:cubicBezTo>
                  <a:pt x="248" y="134"/>
                  <a:pt x="248" y="134"/>
                  <a:pt x="247" y="134"/>
                </a:cubicBezTo>
                <a:cubicBezTo>
                  <a:pt x="247" y="134"/>
                  <a:pt x="248" y="134"/>
                  <a:pt x="247" y="135"/>
                </a:cubicBezTo>
                <a:cubicBezTo>
                  <a:pt x="247" y="135"/>
                  <a:pt x="246" y="135"/>
                  <a:pt x="246" y="135"/>
                </a:cubicBezTo>
                <a:cubicBezTo>
                  <a:pt x="245" y="136"/>
                  <a:pt x="243" y="138"/>
                  <a:pt x="240" y="137"/>
                </a:cubicBezTo>
                <a:cubicBezTo>
                  <a:pt x="240" y="137"/>
                  <a:pt x="240" y="137"/>
                  <a:pt x="240" y="137"/>
                </a:cubicBezTo>
                <a:cubicBezTo>
                  <a:pt x="239" y="137"/>
                  <a:pt x="238" y="136"/>
                  <a:pt x="238" y="136"/>
                </a:cubicBezTo>
                <a:cubicBezTo>
                  <a:pt x="238" y="135"/>
                  <a:pt x="238" y="135"/>
                  <a:pt x="238" y="135"/>
                </a:cubicBezTo>
                <a:cubicBezTo>
                  <a:pt x="238" y="135"/>
                  <a:pt x="238" y="135"/>
                  <a:pt x="239" y="135"/>
                </a:cubicBezTo>
                <a:cubicBezTo>
                  <a:pt x="239" y="135"/>
                  <a:pt x="239" y="135"/>
                  <a:pt x="239" y="134"/>
                </a:cubicBezTo>
                <a:cubicBezTo>
                  <a:pt x="238" y="134"/>
                  <a:pt x="238" y="135"/>
                  <a:pt x="237" y="134"/>
                </a:cubicBezTo>
                <a:cubicBezTo>
                  <a:pt x="237" y="134"/>
                  <a:pt x="238" y="134"/>
                  <a:pt x="238" y="133"/>
                </a:cubicBezTo>
                <a:cubicBezTo>
                  <a:pt x="238" y="133"/>
                  <a:pt x="238" y="133"/>
                  <a:pt x="239" y="133"/>
                </a:cubicBezTo>
                <a:cubicBezTo>
                  <a:pt x="238" y="133"/>
                  <a:pt x="239" y="132"/>
                  <a:pt x="238" y="132"/>
                </a:cubicBezTo>
                <a:cubicBezTo>
                  <a:pt x="238" y="132"/>
                  <a:pt x="238" y="133"/>
                  <a:pt x="238" y="132"/>
                </a:cubicBezTo>
                <a:cubicBezTo>
                  <a:pt x="237" y="131"/>
                  <a:pt x="237" y="130"/>
                  <a:pt x="238" y="129"/>
                </a:cubicBezTo>
                <a:cubicBezTo>
                  <a:pt x="238" y="129"/>
                  <a:pt x="237" y="129"/>
                  <a:pt x="237" y="128"/>
                </a:cubicBezTo>
                <a:cubicBezTo>
                  <a:pt x="238" y="128"/>
                  <a:pt x="238" y="128"/>
                  <a:pt x="238" y="128"/>
                </a:cubicBezTo>
                <a:cubicBezTo>
                  <a:pt x="237" y="128"/>
                  <a:pt x="237" y="128"/>
                  <a:pt x="238" y="128"/>
                </a:cubicBezTo>
                <a:cubicBezTo>
                  <a:pt x="237" y="128"/>
                  <a:pt x="237" y="128"/>
                  <a:pt x="237" y="128"/>
                </a:cubicBezTo>
                <a:cubicBezTo>
                  <a:pt x="238" y="127"/>
                  <a:pt x="238" y="127"/>
                  <a:pt x="239" y="128"/>
                </a:cubicBezTo>
                <a:cubicBezTo>
                  <a:pt x="239" y="127"/>
                  <a:pt x="239" y="127"/>
                  <a:pt x="240" y="127"/>
                </a:cubicBezTo>
                <a:cubicBezTo>
                  <a:pt x="240" y="127"/>
                  <a:pt x="239" y="127"/>
                  <a:pt x="240" y="126"/>
                </a:cubicBezTo>
                <a:cubicBezTo>
                  <a:pt x="241" y="126"/>
                  <a:pt x="241" y="126"/>
                  <a:pt x="242" y="126"/>
                </a:cubicBezTo>
                <a:cubicBezTo>
                  <a:pt x="242" y="126"/>
                  <a:pt x="241" y="126"/>
                  <a:pt x="241" y="126"/>
                </a:cubicBezTo>
                <a:cubicBezTo>
                  <a:pt x="241" y="125"/>
                  <a:pt x="243" y="126"/>
                  <a:pt x="244" y="125"/>
                </a:cubicBezTo>
                <a:cubicBezTo>
                  <a:pt x="244" y="125"/>
                  <a:pt x="244" y="125"/>
                  <a:pt x="244" y="125"/>
                </a:cubicBezTo>
                <a:cubicBezTo>
                  <a:pt x="246" y="125"/>
                  <a:pt x="246" y="123"/>
                  <a:pt x="248" y="122"/>
                </a:cubicBezTo>
                <a:cubicBezTo>
                  <a:pt x="248" y="122"/>
                  <a:pt x="248" y="122"/>
                  <a:pt x="249" y="122"/>
                </a:cubicBezTo>
                <a:cubicBezTo>
                  <a:pt x="249" y="122"/>
                  <a:pt x="249" y="121"/>
                  <a:pt x="248" y="121"/>
                </a:cubicBezTo>
                <a:cubicBezTo>
                  <a:pt x="249" y="121"/>
                  <a:pt x="249" y="121"/>
                  <a:pt x="250" y="120"/>
                </a:cubicBezTo>
                <a:cubicBezTo>
                  <a:pt x="250" y="120"/>
                  <a:pt x="251" y="119"/>
                  <a:pt x="251" y="119"/>
                </a:cubicBezTo>
                <a:cubicBezTo>
                  <a:pt x="251" y="118"/>
                  <a:pt x="251" y="118"/>
                  <a:pt x="251" y="118"/>
                </a:cubicBezTo>
                <a:cubicBezTo>
                  <a:pt x="252" y="118"/>
                  <a:pt x="252" y="117"/>
                  <a:pt x="252" y="117"/>
                </a:cubicBezTo>
                <a:cubicBezTo>
                  <a:pt x="252" y="117"/>
                  <a:pt x="252" y="116"/>
                  <a:pt x="253" y="117"/>
                </a:cubicBezTo>
                <a:cubicBezTo>
                  <a:pt x="252" y="117"/>
                  <a:pt x="253" y="116"/>
                  <a:pt x="252" y="116"/>
                </a:cubicBezTo>
                <a:cubicBezTo>
                  <a:pt x="254" y="116"/>
                  <a:pt x="254" y="116"/>
                  <a:pt x="254" y="116"/>
                </a:cubicBezTo>
                <a:cubicBezTo>
                  <a:pt x="254" y="115"/>
                  <a:pt x="255" y="115"/>
                  <a:pt x="256" y="115"/>
                </a:cubicBezTo>
                <a:cubicBezTo>
                  <a:pt x="255" y="114"/>
                  <a:pt x="255" y="115"/>
                  <a:pt x="255" y="115"/>
                </a:cubicBezTo>
                <a:cubicBezTo>
                  <a:pt x="254" y="114"/>
                  <a:pt x="256" y="114"/>
                  <a:pt x="256" y="114"/>
                </a:cubicBezTo>
                <a:cubicBezTo>
                  <a:pt x="256" y="114"/>
                  <a:pt x="256" y="114"/>
                  <a:pt x="255" y="114"/>
                </a:cubicBezTo>
                <a:cubicBezTo>
                  <a:pt x="256" y="113"/>
                  <a:pt x="256" y="114"/>
                  <a:pt x="257" y="113"/>
                </a:cubicBezTo>
                <a:cubicBezTo>
                  <a:pt x="257" y="113"/>
                  <a:pt x="257" y="114"/>
                  <a:pt x="257" y="114"/>
                </a:cubicBezTo>
                <a:cubicBezTo>
                  <a:pt x="257" y="114"/>
                  <a:pt x="257" y="114"/>
                  <a:pt x="257" y="113"/>
                </a:cubicBezTo>
                <a:cubicBezTo>
                  <a:pt x="257" y="112"/>
                  <a:pt x="259" y="112"/>
                  <a:pt x="259" y="111"/>
                </a:cubicBezTo>
                <a:cubicBezTo>
                  <a:pt x="259" y="111"/>
                  <a:pt x="259" y="112"/>
                  <a:pt x="258" y="112"/>
                </a:cubicBezTo>
                <a:cubicBezTo>
                  <a:pt x="258" y="111"/>
                  <a:pt x="258" y="111"/>
                  <a:pt x="258" y="111"/>
                </a:cubicBezTo>
                <a:cubicBezTo>
                  <a:pt x="259" y="110"/>
                  <a:pt x="260" y="110"/>
                  <a:pt x="260" y="111"/>
                </a:cubicBezTo>
                <a:cubicBezTo>
                  <a:pt x="261" y="110"/>
                  <a:pt x="263" y="110"/>
                  <a:pt x="264" y="110"/>
                </a:cubicBezTo>
                <a:cubicBezTo>
                  <a:pt x="264" y="110"/>
                  <a:pt x="263" y="110"/>
                  <a:pt x="264" y="110"/>
                </a:cubicBezTo>
                <a:cubicBezTo>
                  <a:pt x="265" y="109"/>
                  <a:pt x="265" y="109"/>
                  <a:pt x="266" y="110"/>
                </a:cubicBezTo>
                <a:cubicBezTo>
                  <a:pt x="266" y="109"/>
                  <a:pt x="265" y="109"/>
                  <a:pt x="265" y="109"/>
                </a:cubicBezTo>
                <a:cubicBezTo>
                  <a:pt x="265" y="109"/>
                  <a:pt x="268" y="109"/>
                  <a:pt x="268" y="110"/>
                </a:cubicBezTo>
                <a:cubicBezTo>
                  <a:pt x="268" y="109"/>
                  <a:pt x="270" y="109"/>
                  <a:pt x="270" y="108"/>
                </a:cubicBezTo>
                <a:cubicBezTo>
                  <a:pt x="270" y="108"/>
                  <a:pt x="271" y="108"/>
                  <a:pt x="270" y="107"/>
                </a:cubicBezTo>
                <a:cubicBezTo>
                  <a:pt x="271" y="108"/>
                  <a:pt x="272" y="107"/>
                  <a:pt x="273" y="108"/>
                </a:cubicBezTo>
                <a:cubicBezTo>
                  <a:pt x="272" y="108"/>
                  <a:pt x="272" y="108"/>
                  <a:pt x="271" y="109"/>
                </a:cubicBezTo>
                <a:cubicBezTo>
                  <a:pt x="272" y="109"/>
                  <a:pt x="273" y="108"/>
                  <a:pt x="274" y="107"/>
                </a:cubicBezTo>
                <a:cubicBezTo>
                  <a:pt x="274" y="108"/>
                  <a:pt x="274" y="108"/>
                  <a:pt x="274" y="109"/>
                </a:cubicBezTo>
                <a:cubicBezTo>
                  <a:pt x="275" y="109"/>
                  <a:pt x="274" y="108"/>
                  <a:pt x="275" y="108"/>
                </a:cubicBezTo>
                <a:cubicBezTo>
                  <a:pt x="275" y="108"/>
                  <a:pt x="275" y="108"/>
                  <a:pt x="275" y="108"/>
                </a:cubicBezTo>
                <a:cubicBezTo>
                  <a:pt x="275" y="107"/>
                  <a:pt x="276" y="107"/>
                  <a:pt x="277" y="107"/>
                </a:cubicBezTo>
                <a:cubicBezTo>
                  <a:pt x="277" y="108"/>
                  <a:pt x="277" y="108"/>
                  <a:pt x="276" y="108"/>
                </a:cubicBezTo>
                <a:cubicBezTo>
                  <a:pt x="277" y="108"/>
                  <a:pt x="276" y="108"/>
                  <a:pt x="277" y="108"/>
                </a:cubicBezTo>
                <a:cubicBezTo>
                  <a:pt x="277" y="108"/>
                  <a:pt x="277" y="108"/>
                  <a:pt x="278" y="108"/>
                </a:cubicBezTo>
                <a:cubicBezTo>
                  <a:pt x="279" y="108"/>
                  <a:pt x="281" y="108"/>
                  <a:pt x="281" y="109"/>
                </a:cubicBezTo>
                <a:cubicBezTo>
                  <a:pt x="280" y="109"/>
                  <a:pt x="280" y="110"/>
                  <a:pt x="279" y="109"/>
                </a:cubicBezTo>
                <a:cubicBezTo>
                  <a:pt x="279" y="110"/>
                  <a:pt x="279" y="110"/>
                  <a:pt x="280" y="110"/>
                </a:cubicBezTo>
                <a:cubicBezTo>
                  <a:pt x="280" y="110"/>
                  <a:pt x="282" y="110"/>
                  <a:pt x="282" y="110"/>
                </a:cubicBezTo>
                <a:cubicBezTo>
                  <a:pt x="283" y="110"/>
                  <a:pt x="284" y="109"/>
                  <a:pt x="285" y="110"/>
                </a:cubicBezTo>
                <a:cubicBezTo>
                  <a:pt x="285" y="110"/>
                  <a:pt x="284" y="110"/>
                  <a:pt x="284" y="110"/>
                </a:cubicBezTo>
                <a:cubicBezTo>
                  <a:pt x="284" y="111"/>
                  <a:pt x="285" y="110"/>
                  <a:pt x="285" y="111"/>
                </a:cubicBezTo>
                <a:cubicBezTo>
                  <a:pt x="285" y="111"/>
                  <a:pt x="285" y="111"/>
                  <a:pt x="286" y="111"/>
                </a:cubicBezTo>
                <a:cubicBezTo>
                  <a:pt x="286" y="111"/>
                  <a:pt x="286" y="111"/>
                  <a:pt x="286" y="111"/>
                </a:cubicBezTo>
                <a:cubicBezTo>
                  <a:pt x="290" y="110"/>
                  <a:pt x="293" y="113"/>
                  <a:pt x="297" y="114"/>
                </a:cubicBezTo>
                <a:cubicBezTo>
                  <a:pt x="298" y="113"/>
                  <a:pt x="300" y="115"/>
                  <a:pt x="301" y="116"/>
                </a:cubicBezTo>
                <a:cubicBezTo>
                  <a:pt x="298" y="121"/>
                  <a:pt x="288" y="117"/>
                  <a:pt x="285" y="116"/>
                </a:cubicBezTo>
                <a:cubicBezTo>
                  <a:pt x="285" y="117"/>
                  <a:pt x="287" y="117"/>
                  <a:pt x="287" y="118"/>
                </a:cubicBezTo>
                <a:cubicBezTo>
                  <a:pt x="289" y="118"/>
                  <a:pt x="290" y="118"/>
                  <a:pt x="290" y="119"/>
                </a:cubicBezTo>
                <a:cubicBezTo>
                  <a:pt x="290" y="119"/>
                  <a:pt x="290" y="120"/>
                  <a:pt x="289" y="120"/>
                </a:cubicBezTo>
                <a:cubicBezTo>
                  <a:pt x="290" y="120"/>
                  <a:pt x="291" y="121"/>
                  <a:pt x="290" y="122"/>
                </a:cubicBezTo>
                <a:cubicBezTo>
                  <a:pt x="292" y="122"/>
                  <a:pt x="294" y="124"/>
                  <a:pt x="296" y="123"/>
                </a:cubicBezTo>
                <a:cubicBezTo>
                  <a:pt x="296" y="123"/>
                  <a:pt x="296" y="123"/>
                  <a:pt x="296" y="122"/>
                </a:cubicBezTo>
                <a:cubicBezTo>
                  <a:pt x="295" y="123"/>
                  <a:pt x="293" y="122"/>
                  <a:pt x="293" y="121"/>
                </a:cubicBezTo>
                <a:cubicBezTo>
                  <a:pt x="294" y="121"/>
                  <a:pt x="294" y="121"/>
                  <a:pt x="294" y="120"/>
                </a:cubicBezTo>
                <a:cubicBezTo>
                  <a:pt x="295" y="120"/>
                  <a:pt x="297" y="121"/>
                  <a:pt x="296" y="121"/>
                </a:cubicBezTo>
                <a:cubicBezTo>
                  <a:pt x="298" y="121"/>
                  <a:pt x="299" y="122"/>
                  <a:pt x="300" y="122"/>
                </a:cubicBezTo>
                <a:cubicBezTo>
                  <a:pt x="300" y="121"/>
                  <a:pt x="299" y="121"/>
                  <a:pt x="299" y="120"/>
                </a:cubicBezTo>
                <a:cubicBezTo>
                  <a:pt x="299" y="119"/>
                  <a:pt x="301" y="118"/>
                  <a:pt x="302" y="117"/>
                </a:cubicBezTo>
                <a:cubicBezTo>
                  <a:pt x="303" y="118"/>
                  <a:pt x="305" y="117"/>
                  <a:pt x="306" y="119"/>
                </a:cubicBezTo>
                <a:cubicBezTo>
                  <a:pt x="306" y="118"/>
                  <a:pt x="306" y="116"/>
                  <a:pt x="305" y="116"/>
                </a:cubicBezTo>
                <a:cubicBezTo>
                  <a:pt x="305" y="114"/>
                  <a:pt x="304" y="113"/>
                  <a:pt x="303" y="113"/>
                </a:cubicBezTo>
                <a:cubicBezTo>
                  <a:pt x="305" y="113"/>
                  <a:pt x="308" y="112"/>
                  <a:pt x="309" y="114"/>
                </a:cubicBezTo>
                <a:cubicBezTo>
                  <a:pt x="308" y="114"/>
                  <a:pt x="307" y="115"/>
                  <a:pt x="306" y="115"/>
                </a:cubicBezTo>
                <a:cubicBezTo>
                  <a:pt x="308" y="116"/>
                  <a:pt x="309" y="117"/>
                  <a:pt x="311" y="116"/>
                </a:cubicBezTo>
                <a:cubicBezTo>
                  <a:pt x="311" y="116"/>
                  <a:pt x="311" y="115"/>
                  <a:pt x="311" y="115"/>
                </a:cubicBezTo>
                <a:cubicBezTo>
                  <a:pt x="312" y="115"/>
                  <a:pt x="312" y="115"/>
                  <a:pt x="313" y="115"/>
                </a:cubicBezTo>
                <a:cubicBezTo>
                  <a:pt x="313" y="114"/>
                  <a:pt x="312" y="114"/>
                  <a:pt x="312" y="114"/>
                </a:cubicBezTo>
                <a:cubicBezTo>
                  <a:pt x="316" y="114"/>
                  <a:pt x="318" y="112"/>
                  <a:pt x="321" y="112"/>
                </a:cubicBezTo>
                <a:cubicBezTo>
                  <a:pt x="321" y="112"/>
                  <a:pt x="321" y="112"/>
                  <a:pt x="321" y="112"/>
                </a:cubicBezTo>
                <a:cubicBezTo>
                  <a:pt x="320" y="113"/>
                  <a:pt x="322" y="113"/>
                  <a:pt x="321" y="113"/>
                </a:cubicBezTo>
                <a:cubicBezTo>
                  <a:pt x="321" y="114"/>
                  <a:pt x="322" y="113"/>
                  <a:pt x="323" y="113"/>
                </a:cubicBezTo>
                <a:cubicBezTo>
                  <a:pt x="324" y="112"/>
                  <a:pt x="328" y="112"/>
                  <a:pt x="330" y="112"/>
                </a:cubicBezTo>
                <a:cubicBezTo>
                  <a:pt x="330" y="113"/>
                  <a:pt x="330" y="113"/>
                  <a:pt x="330" y="113"/>
                </a:cubicBezTo>
                <a:cubicBezTo>
                  <a:pt x="330" y="113"/>
                  <a:pt x="331" y="113"/>
                  <a:pt x="331" y="113"/>
                </a:cubicBezTo>
                <a:cubicBezTo>
                  <a:pt x="331" y="113"/>
                  <a:pt x="331" y="113"/>
                  <a:pt x="331" y="113"/>
                </a:cubicBezTo>
                <a:cubicBezTo>
                  <a:pt x="331" y="112"/>
                  <a:pt x="332" y="112"/>
                  <a:pt x="332" y="112"/>
                </a:cubicBezTo>
                <a:cubicBezTo>
                  <a:pt x="332" y="111"/>
                  <a:pt x="331" y="111"/>
                  <a:pt x="331" y="110"/>
                </a:cubicBezTo>
                <a:cubicBezTo>
                  <a:pt x="333" y="110"/>
                  <a:pt x="338" y="110"/>
                  <a:pt x="339" y="111"/>
                </a:cubicBezTo>
                <a:cubicBezTo>
                  <a:pt x="339" y="111"/>
                  <a:pt x="340" y="111"/>
                  <a:pt x="341" y="111"/>
                </a:cubicBezTo>
                <a:cubicBezTo>
                  <a:pt x="341" y="112"/>
                  <a:pt x="341" y="112"/>
                  <a:pt x="341" y="112"/>
                </a:cubicBezTo>
                <a:cubicBezTo>
                  <a:pt x="343" y="112"/>
                  <a:pt x="344" y="113"/>
                  <a:pt x="346" y="113"/>
                </a:cubicBezTo>
                <a:cubicBezTo>
                  <a:pt x="346" y="113"/>
                  <a:pt x="346" y="113"/>
                  <a:pt x="346" y="112"/>
                </a:cubicBezTo>
                <a:cubicBezTo>
                  <a:pt x="344" y="112"/>
                  <a:pt x="344" y="110"/>
                  <a:pt x="341" y="110"/>
                </a:cubicBezTo>
                <a:cubicBezTo>
                  <a:pt x="341" y="110"/>
                  <a:pt x="341" y="110"/>
                  <a:pt x="341" y="109"/>
                </a:cubicBezTo>
                <a:cubicBezTo>
                  <a:pt x="341" y="109"/>
                  <a:pt x="341" y="110"/>
                  <a:pt x="342" y="110"/>
                </a:cubicBezTo>
                <a:cubicBezTo>
                  <a:pt x="342" y="109"/>
                  <a:pt x="341" y="109"/>
                  <a:pt x="341" y="108"/>
                </a:cubicBezTo>
                <a:cubicBezTo>
                  <a:pt x="341" y="108"/>
                  <a:pt x="341" y="108"/>
                  <a:pt x="340" y="108"/>
                </a:cubicBezTo>
                <a:cubicBezTo>
                  <a:pt x="340" y="106"/>
                  <a:pt x="342" y="105"/>
                  <a:pt x="342" y="103"/>
                </a:cubicBezTo>
                <a:cubicBezTo>
                  <a:pt x="344" y="103"/>
                  <a:pt x="346" y="103"/>
                  <a:pt x="348" y="104"/>
                </a:cubicBezTo>
                <a:cubicBezTo>
                  <a:pt x="348" y="104"/>
                  <a:pt x="349" y="106"/>
                  <a:pt x="348" y="106"/>
                </a:cubicBezTo>
                <a:cubicBezTo>
                  <a:pt x="349" y="107"/>
                  <a:pt x="351" y="107"/>
                  <a:pt x="350" y="109"/>
                </a:cubicBezTo>
                <a:cubicBezTo>
                  <a:pt x="351" y="110"/>
                  <a:pt x="352" y="112"/>
                  <a:pt x="354" y="113"/>
                </a:cubicBezTo>
                <a:cubicBezTo>
                  <a:pt x="354" y="113"/>
                  <a:pt x="354" y="114"/>
                  <a:pt x="355" y="115"/>
                </a:cubicBezTo>
                <a:cubicBezTo>
                  <a:pt x="354" y="115"/>
                  <a:pt x="354" y="115"/>
                  <a:pt x="354" y="115"/>
                </a:cubicBezTo>
                <a:cubicBezTo>
                  <a:pt x="354" y="116"/>
                  <a:pt x="353" y="116"/>
                  <a:pt x="353" y="116"/>
                </a:cubicBezTo>
                <a:cubicBezTo>
                  <a:pt x="352" y="117"/>
                  <a:pt x="351" y="117"/>
                  <a:pt x="349" y="117"/>
                </a:cubicBezTo>
                <a:cubicBezTo>
                  <a:pt x="350" y="118"/>
                  <a:pt x="352" y="118"/>
                  <a:pt x="355" y="118"/>
                </a:cubicBezTo>
                <a:cubicBezTo>
                  <a:pt x="355" y="118"/>
                  <a:pt x="355" y="117"/>
                  <a:pt x="355" y="117"/>
                </a:cubicBezTo>
                <a:cubicBezTo>
                  <a:pt x="355" y="117"/>
                  <a:pt x="356" y="117"/>
                  <a:pt x="357" y="116"/>
                </a:cubicBezTo>
                <a:cubicBezTo>
                  <a:pt x="356" y="115"/>
                  <a:pt x="357" y="115"/>
                  <a:pt x="357" y="114"/>
                </a:cubicBezTo>
                <a:cubicBezTo>
                  <a:pt x="357" y="113"/>
                  <a:pt x="356" y="114"/>
                  <a:pt x="356" y="113"/>
                </a:cubicBezTo>
                <a:cubicBezTo>
                  <a:pt x="357" y="111"/>
                  <a:pt x="362" y="112"/>
                  <a:pt x="361" y="114"/>
                </a:cubicBezTo>
                <a:cubicBezTo>
                  <a:pt x="362" y="115"/>
                  <a:pt x="363" y="115"/>
                  <a:pt x="364" y="115"/>
                </a:cubicBezTo>
                <a:cubicBezTo>
                  <a:pt x="363" y="115"/>
                  <a:pt x="362" y="115"/>
                  <a:pt x="361" y="114"/>
                </a:cubicBezTo>
                <a:cubicBezTo>
                  <a:pt x="361" y="114"/>
                  <a:pt x="362" y="114"/>
                  <a:pt x="362" y="113"/>
                </a:cubicBezTo>
                <a:cubicBezTo>
                  <a:pt x="360" y="110"/>
                  <a:pt x="352" y="114"/>
                  <a:pt x="353" y="108"/>
                </a:cubicBezTo>
                <a:cubicBezTo>
                  <a:pt x="352" y="107"/>
                  <a:pt x="351" y="107"/>
                  <a:pt x="350" y="107"/>
                </a:cubicBezTo>
                <a:cubicBezTo>
                  <a:pt x="350" y="105"/>
                  <a:pt x="351" y="105"/>
                  <a:pt x="352" y="105"/>
                </a:cubicBezTo>
                <a:cubicBezTo>
                  <a:pt x="352" y="104"/>
                  <a:pt x="351" y="104"/>
                  <a:pt x="351" y="104"/>
                </a:cubicBezTo>
                <a:cubicBezTo>
                  <a:pt x="353" y="103"/>
                  <a:pt x="353" y="106"/>
                  <a:pt x="354" y="107"/>
                </a:cubicBezTo>
                <a:cubicBezTo>
                  <a:pt x="355" y="107"/>
                  <a:pt x="357" y="107"/>
                  <a:pt x="359" y="107"/>
                </a:cubicBezTo>
                <a:cubicBezTo>
                  <a:pt x="358" y="106"/>
                  <a:pt x="355" y="107"/>
                  <a:pt x="354" y="105"/>
                </a:cubicBezTo>
                <a:cubicBezTo>
                  <a:pt x="355" y="105"/>
                  <a:pt x="356" y="106"/>
                  <a:pt x="357" y="105"/>
                </a:cubicBezTo>
                <a:cubicBezTo>
                  <a:pt x="357" y="105"/>
                  <a:pt x="356" y="105"/>
                  <a:pt x="356" y="105"/>
                </a:cubicBezTo>
                <a:cubicBezTo>
                  <a:pt x="359" y="103"/>
                  <a:pt x="361" y="106"/>
                  <a:pt x="365" y="106"/>
                </a:cubicBezTo>
                <a:cubicBezTo>
                  <a:pt x="363" y="105"/>
                  <a:pt x="360" y="104"/>
                  <a:pt x="359" y="102"/>
                </a:cubicBezTo>
                <a:cubicBezTo>
                  <a:pt x="359" y="102"/>
                  <a:pt x="359" y="102"/>
                  <a:pt x="359" y="102"/>
                </a:cubicBezTo>
                <a:cubicBezTo>
                  <a:pt x="362" y="102"/>
                  <a:pt x="366" y="102"/>
                  <a:pt x="369" y="101"/>
                </a:cubicBezTo>
                <a:cubicBezTo>
                  <a:pt x="368" y="100"/>
                  <a:pt x="367" y="101"/>
                  <a:pt x="366" y="100"/>
                </a:cubicBezTo>
                <a:cubicBezTo>
                  <a:pt x="366" y="100"/>
                  <a:pt x="367" y="100"/>
                  <a:pt x="367" y="100"/>
                </a:cubicBezTo>
                <a:cubicBezTo>
                  <a:pt x="367" y="100"/>
                  <a:pt x="366" y="100"/>
                  <a:pt x="366" y="100"/>
                </a:cubicBezTo>
                <a:cubicBezTo>
                  <a:pt x="366" y="99"/>
                  <a:pt x="366" y="99"/>
                  <a:pt x="366" y="99"/>
                </a:cubicBezTo>
                <a:cubicBezTo>
                  <a:pt x="366" y="99"/>
                  <a:pt x="366" y="100"/>
                  <a:pt x="367" y="100"/>
                </a:cubicBezTo>
                <a:cubicBezTo>
                  <a:pt x="367" y="100"/>
                  <a:pt x="367" y="99"/>
                  <a:pt x="367" y="99"/>
                </a:cubicBezTo>
                <a:cubicBezTo>
                  <a:pt x="367" y="99"/>
                  <a:pt x="367" y="99"/>
                  <a:pt x="367" y="99"/>
                </a:cubicBezTo>
                <a:cubicBezTo>
                  <a:pt x="369" y="98"/>
                  <a:pt x="371" y="97"/>
                  <a:pt x="375" y="97"/>
                </a:cubicBezTo>
                <a:cubicBezTo>
                  <a:pt x="375" y="96"/>
                  <a:pt x="375" y="97"/>
                  <a:pt x="374" y="97"/>
                </a:cubicBezTo>
                <a:cubicBezTo>
                  <a:pt x="375" y="96"/>
                  <a:pt x="377" y="97"/>
                  <a:pt x="379" y="96"/>
                </a:cubicBezTo>
                <a:cubicBezTo>
                  <a:pt x="379" y="97"/>
                  <a:pt x="379" y="97"/>
                  <a:pt x="379" y="97"/>
                </a:cubicBezTo>
                <a:cubicBezTo>
                  <a:pt x="380" y="97"/>
                  <a:pt x="380" y="97"/>
                  <a:pt x="381" y="97"/>
                </a:cubicBezTo>
                <a:cubicBezTo>
                  <a:pt x="381" y="96"/>
                  <a:pt x="383" y="96"/>
                  <a:pt x="383" y="96"/>
                </a:cubicBezTo>
                <a:cubicBezTo>
                  <a:pt x="382" y="96"/>
                  <a:pt x="382" y="96"/>
                  <a:pt x="382" y="96"/>
                </a:cubicBezTo>
                <a:cubicBezTo>
                  <a:pt x="383" y="96"/>
                  <a:pt x="385" y="96"/>
                  <a:pt x="386" y="96"/>
                </a:cubicBezTo>
                <a:cubicBezTo>
                  <a:pt x="385" y="96"/>
                  <a:pt x="385" y="95"/>
                  <a:pt x="384" y="95"/>
                </a:cubicBezTo>
                <a:cubicBezTo>
                  <a:pt x="385" y="94"/>
                  <a:pt x="385" y="94"/>
                  <a:pt x="385" y="94"/>
                </a:cubicBezTo>
                <a:cubicBezTo>
                  <a:pt x="387" y="93"/>
                  <a:pt x="389" y="94"/>
                  <a:pt x="391" y="94"/>
                </a:cubicBezTo>
                <a:cubicBezTo>
                  <a:pt x="391" y="95"/>
                  <a:pt x="390" y="94"/>
                  <a:pt x="390" y="94"/>
                </a:cubicBezTo>
                <a:cubicBezTo>
                  <a:pt x="391" y="95"/>
                  <a:pt x="393" y="95"/>
                  <a:pt x="394" y="95"/>
                </a:cubicBezTo>
                <a:cubicBezTo>
                  <a:pt x="394" y="95"/>
                  <a:pt x="394" y="95"/>
                  <a:pt x="394" y="96"/>
                </a:cubicBezTo>
                <a:cubicBezTo>
                  <a:pt x="394" y="96"/>
                  <a:pt x="395" y="96"/>
                  <a:pt x="396" y="96"/>
                </a:cubicBezTo>
                <a:cubicBezTo>
                  <a:pt x="397" y="95"/>
                  <a:pt x="403" y="95"/>
                  <a:pt x="405" y="97"/>
                </a:cubicBezTo>
                <a:cubicBezTo>
                  <a:pt x="404" y="96"/>
                  <a:pt x="404" y="96"/>
                  <a:pt x="404" y="96"/>
                </a:cubicBezTo>
                <a:cubicBezTo>
                  <a:pt x="405" y="96"/>
                  <a:pt x="406" y="97"/>
                  <a:pt x="407" y="97"/>
                </a:cubicBezTo>
                <a:cubicBezTo>
                  <a:pt x="407" y="97"/>
                  <a:pt x="407" y="98"/>
                  <a:pt x="408" y="98"/>
                </a:cubicBezTo>
                <a:cubicBezTo>
                  <a:pt x="407" y="100"/>
                  <a:pt x="405" y="100"/>
                  <a:pt x="404" y="100"/>
                </a:cubicBezTo>
                <a:cubicBezTo>
                  <a:pt x="404" y="101"/>
                  <a:pt x="405" y="100"/>
                  <a:pt x="405" y="101"/>
                </a:cubicBezTo>
                <a:cubicBezTo>
                  <a:pt x="403" y="101"/>
                  <a:pt x="402" y="102"/>
                  <a:pt x="400" y="102"/>
                </a:cubicBezTo>
                <a:cubicBezTo>
                  <a:pt x="400" y="103"/>
                  <a:pt x="400" y="103"/>
                  <a:pt x="400" y="104"/>
                </a:cubicBezTo>
                <a:cubicBezTo>
                  <a:pt x="400" y="104"/>
                  <a:pt x="400" y="103"/>
                  <a:pt x="401" y="103"/>
                </a:cubicBezTo>
                <a:cubicBezTo>
                  <a:pt x="401" y="103"/>
                  <a:pt x="401" y="103"/>
                  <a:pt x="401" y="103"/>
                </a:cubicBezTo>
                <a:cubicBezTo>
                  <a:pt x="403" y="103"/>
                  <a:pt x="405" y="102"/>
                  <a:pt x="407" y="102"/>
                </a:cubicBezTo>
                <a:cubicBezTo>
                  <a:pt x="406" y="101"/>
                  <a:pt x="405" y="102"/>
                  <a:pt x="405" y="102"/>
                </a:cubicBezTo>
                <a:cubicBezTo>
                  <a:pt x="405" y="100"/>
                  <a:pt x="407" y="101"/>
                  <a:pt x="407" y="101"/>
                </a:cubicBezTo>
                <a:cubicBezTo>
                  <a:pt x="407" y="101"/>
                  <a:pt x="409" y="102"/>
                  <a:pt x="410" y="101"/>
                </a:cubicBezTo>
                <a:cubicBezTo>
                  <a:pt x="410" y="101"/>
                  <a:pt x="410" y="101"/>
                  <a:pt x="410" y="101"/>
                </a:cubicBezTo>
                <a:cubicBezTo>
                  <a:pt x="410" y="101"/>
                  <a:pt x="411" y="102"/>
                  <a:pt x="412" y="102"/>
                </a:cubicBezTo>
                <a:cubicBezTo>
                  <a:pt x="414" y="101"/>
                  <a:pt x="417" y="102"/>
                  <a:pt x="420" y="102"/>
                </a:cubicBezTo>
                <a:cubicBezTo>
                  <a:pt x="420" y="103"/>
                  <a:pt x="422" y="103"/>
                  <a:pt x="424" y="103"/>
                </a:cubicBezTo>
                <a:cubicBezTo>
                  <a:pt x="381" y="41"/>
                  <a:pt x="310" y="0"/>
                  <a:pt x="229" y="0"/>
                </a:cubicBezTo>
                <a:cubicBezTo>
                  <a:pt x="149" y="0"/>
                  <a:pt x="79" y="40"/>
                  <a:pt x="36" y="100"/>
                </a:cubicBezTo>
                <a:cubicBezTo>
                  <a:pt x="38" y="100"/>
                  <a:pt x="41" y="100"/>
                  <a:pt x="42" y="101"/>
                </a:cubicBezTo>
                <a:cubicBezTo>
                  <a:pt x="43" y="100"/>
                  <a:pt x="46" y="100"/>
                  <a:pt x="46" y="102"/>
                </a:cubicBezTo>
                <a:cubicBezTo>
                  <a:pt x="45" y="102"/>
                  <a:pt x="43" y="103"/>
                  <a:pt x="41" y="103"/>
                </a:cubicBezTo>
                <a:cubicBezTo>
                  <a:pt x="43" y="103"/>
                  <a:pt x="46" y="102"/>
                  <a:pt x="47" y="102"/>
                </a:cubicBezTo>
                <a:cubicBezTo>
                  <a:pt x="47" y="103"/>
                  <a:pt x="46" y="103"/>
                  <a:pt x="45" y="104"/>
                </a:cubicBezTo>
                <a:cubicBezTo>
                  <a:pt x="47" y="104"/>
                  <a:pt x="49" y="102"/>
                  <a:pt x="50" y="104"/>
                </a:cubicBezTo>
                <a:cubicBezTo>
                  <a:pt x="51" y="104"/>
                  <a:pt x="50" y="104"/>
                  <a:pt x="50" y="104"/>
                </a:cubicBezTo>
                <a:cubicBezTo>
                  <a:pt x="50" y="104"/>
                  <a:pt x="51" y="104"/>
                  <a:pt x="52" y="104"/>
                </a:cubicBezTo>
                <a:cubicBezTo>
                  <a:pt x="52" y="104"/>
                  <a:pt x="52" y="104"/>
                  <a:pt x="52" y="104"/>
                </a:cubicBezTo>
                <a:cubicBezTo>
                  <a:pt x="52" y="105"/>
                  <a:pt x="52" y="104"/>
                  <a:pt x="52" y="104"/>
                </a:cubicBezTo>
                <a:cubicBezTo>
                  <a:pt x="52" y="103"/>
                  <a:pt x="52" y="104"/>
                  <a:pt x="52" y="103"/>
                </a:cubicBezTo>
                <a:cubicBezTo>
                  <a:pt x="53" y="103"/>
                  <a:pt x="54" y="103"/>
                  <a:pt x="54" y="104"/>
                </a:cubicBezTo>
                <a:cubicBezTo>
                  <a:pt x="54" y="105"/>
                  <a:pt x="54" y="105"/>
                  <a:pt x="53" y="106"/>
                </a:cubicBezTo>
                <a:cubicBezTo>
                  <a:pt x="55" y="106"/>
                  <a:pt x="56" y="101"/>
                  <a:pt x="59" y="102"/>
                </a:cubicBezTo>
                <a:cubicBezTo>
                  <a:pt x="59" y="103"/>
                  <a:pt x="60" y="103"/>
                  <a:pt x="60" y="103"/>
                </a:cubicBezTo>
                <a:cubicBezTo>
                  <a:pt x="60" y="104"/>
                  <a:pt x="59" y="105"/>
                  <a:pt x="59" y="106"/>
                </a:cubicBezTo>
                <a:cubicBezTo>
                  <a:pt x="58" y="106"/>
                  <a:pt x="58" y="107"/>
                  <a:pt x="57" y="107"/>
                </a:cubicBezTo>
                <a:cubicBezTo>
                  <a:pt x="58" y="108"/>
                  <a:pt x="58" y="108"/>
                  <a:pt x="59" y="108"/>
                </a:cubicBezTo>
                <a:cubicBezTo>
                  <a:pt x="59" y="108"/>
                  <a:pt x="59" y="108"/>
                  <a:pt x="59" y="108"/>
                </a:cubicBezTo>
                <a:cubicBezTo>
                  <a:pt x="59" y="108"/>
                  <a:pt x="59" y="109"/>
                  <a:pt x="60" y="109"/>
                </a:cubicBezTo>
                <a:cubicBezTo>
                  <a:pt x="60" y="110"/>
                  <a:pt x="61" y="109"/>
                  <a:pt x="61" y="109"/>
                </a:cubicBezTo>
                <a:cubicBezTo>
                  <a:pt x="61" y="110"/>
                  <a:pt x="61" y="110"/>
                  <a:pt x="60" y="110"/>
                </a:cubicBezTo>
                <a:cubicBezTo>
                  <a:pt x="59" y="110"/>
                  <a:pt x="59" y="111"/>
                  <a:pt x="59" y="110"/>
                </a:cubicBezTo>
                <a:cubicBezTo>
                  <a:pt x="58" y="110"/>
                  <a:pt x="58" y="110"/>
                  <a:pt x="57" y="111"/>
                </a:cubicBezTo>
                <a:cubicBezTo>
                  <a:pt x="57" y="111"/>
                  <a:pt x="57" y="110"/>
                  <a:pt x="56" y="110"/>
                </a:cubicBezTo>
                <a:cubicBezTo>
                  <a:pt x="57" y="111"/>
                  <a:pt x="57" y="111"/>
                  <a:pt x="57" y="111"/>
                </a:cubicBezTo>
                <a:cubicBezTo>
                  <a:pt x="57" y="111"/>
                  <a:pt x="58" y="110"/>
                  <a:pt x="58" y="111"/>
                </a:cubicBezTo>
                <a:cubicBezTo>
                  <a:pt x="58" y="111"/>
                  <a:pt x="57" y="111"/>
                  <a:pt x="58" y="111"/>
                </a:cubicBezTo>
                <a:cubicBezTo>
                  <a:pt x="56" y="112"/>
                  <a:pt x="53" y="112"/>
                  <a:pt x="51" y="112"/>
                </a:cubicBezTo>
                <a:cubicBezTo>
                  <a:pt x="52" y="112"/>
                  <a:pt x="52" y="112"/>
                  <a:pt x="52" y="112"/>
                </a:cubicBezTo>
                <a:cubicBezTo>
                  <a:pt x="52" y="111"/>
                  <a:pt x="51" y="111"/>
                  <a:pt x="50" y="111"/>
                </a:cubicBezTo>
                <a:cubicBezTo>
                  <a:pt x="50" y="111"/>
                  <a:pt x="50" y="111"/>
                  <a:pt x="50" y="111"/>
                </a:cubicBezTo>
                <a:cubicBezTo>
                  <a:pt x="46" y="112"/>
                  <a:pt x="42" y="113"/>
                  <a:pt x="37" y="113"/>
                </a:cubicBezTo>
                <a:cubicBezTo>
                  <a:pt x="37" y="113"/>
                  <a:pt x="37" y="113"/>
                  <a:pt x="37" y="112"/>
                </a:cubicBezTo>
                <a:cubicBezTo>
                  <a:pt x="37" y="112"/>
                  <a:pt x="38" y="112"/>
                  <a:pt x="38" y="111"/>
                </a:cubicBezTo>
                <a:cubicBezTo>
                  <a:pt x="36" y="111"/>
                  <a:pt x="35" y="111"/>
                  <a:pt x="34" y="111"/>
                </a:cubicBezTo>
                <a:cubicBezTo>
                  <a:pt x="32" y="108"/>
                  <a:pt x="40" y="109"/>
                  <a:pt x="43" y="109"/>
                </a:cubicBezTo>
                <a:cubicBezTo>
                  <a:pt x="41" y="107"/>
                  <a:pt x="38" y="109"/>
                  <a:pt x="35" y="108"/>
                </a:cubicBezTo>
                <a:cubicBezTo>
                  <a:pt x="35" y="108"/>
                  <a:pt x="34" y="108"/>
                  <a:pt x="34" y="108"/>
                </a:cubicBezTo>
                <a:cubicBezTo>
                  <a:pt x="35" y="107"/>
                  <a:pt x="38" y="107"/>
                  <a:pt x="39" y="106"/>
                </a:cubicBezTo>
                <a:cubicBezTo>
                  <a:pt x="39" y="106"/>
                  <a:pt x="37" y="107"/>
                  <a:pt x="36" y="107"/>
                </a:cubicBezTo>
                <a:cubicBezTo>
                  <a:pt x="36" y="106"/>
                  <a:pt x="36" y="106"/>
                  <a:pt x="36" y="106"/>
                </a:cubicBezTo>
                <a:cubicBezTo>
                  <a:pt x="36" y="106"/>
                  <a:pt x="35" y="106"/>
                  <a:pt x="35" y="106"/>
                </a:cubicBezTo>
                <a:cubicBezTo>
                  <a:pt x="35" y="105"/>
                  <a:pt x="37" y="105"/>
                  <a:pt x="38" y="105"/>
                </a:cubicBezTo>
                <a:cubicBezTo>
                  <a:pt x="38" y="104"/>
                  <a:pt x="37" y="105"/>
                  <a:pt x="38" y="104"/>
                </a:cubicBezTo>
                <a:cubicBezTo>
                  <a:pt x="39" y="104"/>
                  <a:pt x="40" y="103"/>
                  <a:pt x="41" y="103"/>
                </a:cubicBezTo>
                <a:cubicBezTo>
                  <a:pt x="37" y="103"/>
                  <a:pt x="35" y="105"/>
                  <a:pt x="31" y="106"/>
                </a:cubicBezTo>
                <a:cubicBezTo>
                  <a:pt x="30" y="108"/>
                  <a:pt x="29" y="110"/>
                  <a:pt x="28" y="112"/>
                </a:cubicBezTo>
                <a:cubicBezTo>
                  <a:pt x="30" y="112"/>
                  <a:pt x="34" y="111"/>
                  <a:pt x="35" y="113"/>
                </a:cubicBezTo>
                <a:cubicBezTo>
                  <a:pt x="34" y="113"/>
                  <a:pt x="33" y="114"/>
                  <a:pt x="32" y="114"/>
                </a:cubicBezTo>
                <a:cubicBezTo>
                  <a:pt x="35" y="115"/>
                  <a:pt x="39" y="114"/>
                  <a:pt x="42" y="114"/>
                </a:cubicBezTo>
                <a:cubicBezTo>
                  <a:pt x="42" y="115"/>
                  <a:pt x="42" y="115"/>
                  <a:pt x="42" y="115"/>
                </a:cubicBezTo>
                <a:cubicBezTo>
                  <a:pt x="43" y="115"/>
                  <a:pt x="43" y="115"/>
                  <a:pt x="43" y="115"/>
                </a:cubicBezTo>
                <a:cubicBezTo>
                  <a:pt x="43" y="115"/>
                  <a:pt x="42" y="115"/>
                  <a:pt x="43" y="116"/>
                </a:cubicBezTo>
                <a:cubicBezTo>
                  <a:pt x="43" y="116"/>
                  <a:pt x="42" y="116"/>
                  <a:pt x="42" y="116"/>
                </a:cubicBezTo>
                <a:cubicBezTo>
                  <a:pt x="42" y="116"/>
                  <a:pt x="42" y="116"/>
                  <a:pt x="42" y="117"/>
                </a:cubicBezTo>
                <a:cubicBezTo>
                  <a:pt x="42" y="117"/>
                  <a:pt x="42" y="116"/>
                  <a:pt x="43" y="116"/>
                </a:cubicBezTo>
                <a:cubicBezTo>
                  <a:pt x="43" y="117"/>
                  <a:pt x="43" y="117"/>
                  <a:pt x="43" y="117"/>
                </a:cubicBezTo>
                <a:cubicBezTo>
                  <a:pt x="43" y="116"/>
                  <a:pt x="43" y="116"/>
                  <a:pt x="43" y="116"/>
                </a:cubicBezTo>
                <a:cubicBezTo>
                  <a:pt x="44" y="117"/>
                  <a:pt x="43" y="116"/>
                  <a:pt x="44" y="116"/>
                </a:cubicBezTo>
                <a:cubicBezTo>
                  <a:pt x="43" y="115"/>
                  <a:pt x="44" y="115"/>
                  <a:pt x="44" y="114"/>
                </a:cubicBezTo>
                <a:cubicBezTo>
                  <a:pt x="45" y="114"/>
                  <a:pt x="45" y="114"/>
                  <a:pt x="45" y="114"/>
                </a:cubicBezTo>
                <a:cubicBezTo>
                  <a:pt x="45" y="114"/>
                  <a:pt x="45" y="114"/>
                  <a:pt x="45" y="114"/>
                </a:cubicBezTo>
                <a:cubicBezTo>
                  <a:pt x="45" y="113"/>
                  <a:pt x="44" y="114"/>
                  <a:pt x="44" y="114"/>
                </a:cubicBezTo>
                <a:cubicBezTo>
                  <a:pt x="46" y="113"/>
                  <a:pt x="48" y="111"/>
                  <a:pt x="50" y="112"/>
                </a:cubicBezTo>
                <a:cubicBezTo>
                  <a:pt x="50" y="113"/>
                  <a:pt x="50" y="113"/>
                  <a:pt x="50" y="113"/>
                </a:cubicBezTo>
                <a:cubicBezTo>
                  <a:pt x="50" y="113"/>
                  <a:pt x="51" y="113"/>
                  <a:pt x="51" y="114"/>
                </a:cubicBezTo>
                <a:cubicBezTo>
                  <a:pt x="51" y="114"/>
                  <a:pt x="52" y="114"/>
                  <a:pt x="53" y="114"/>
                </a:cubicBezTo>
                <a:cubicBezTo>
                  <a:pt x="54" y="115"/>
                  <a:pt x="59" y="114"/>
                  <a:pt x="60" y="114"/>
                </a:cubicBezTo>
                <a:cubicBezTo>
                  <a:pt x="61" y="114"/>
                  <a:pt x="61" y="115"/>
                  <a:pt x="62" y="115"/>
                </a:cubicBezTo>
                <a:cubicBezTo>
                  <a:pt x="63" y="114"/>
                  <a:pt x="63" y="114"/>
                  <a:pt x="63" y="114"/>
                </a:cubicBezTo>
                <a:cubicBezTo>
                  <a:pt x="61" y="114"/>
                  <a:pt x="61" y="114"/>
                  <a:pt x="61" y="114"/>
                </a:cubicBezTo>
                <a:cubicBezTo>
                  <a:pt x="61" y="114"/>
                  <a:pt x="61" y="114"/>
                  <a:pt x="61" y="113"/>
                </a:cubicBezTo>
                <a:cubicBezTo>
                  <a:pt x="62" y="113"/>
                  <a:pt x="63" y="113"/>
                  <a:pt x="63" y="113"/>
                </a:cubicBezTo>
                <a:cubicBezTo>
                  <a:pt x="63" y="112"/>
                  <a:pt x="63" y="112"/>
                  <a:pt x="62" y="112"/>
                </a:cubicBezTo>
                <a:cubicBezTo>
                  <a:pt x="62" y="112"/>
                  <a:pt x="62" y="112"/>
                  <a:pt x="62" y="112"/>
                </a:cubicBezTo>
                <a:cubicBezTo>
                  <a:pt x="61" y="112"/>
                  <a:pt x="61" y="112"/>
                  <a:pt x="61" y="112"/>
                </a:cubicBezTo>
                <a:cubicBezTo>
                  <a:pt x="61" y="111"/>
                  <a:pt x="64" y="112"/>
                  <a:pt x="64" y="110"/>
                </a:cubicBezTo>
                <a:cubicBezTo>
                  <a:pt x="64" y="111"/>
                  <a:pt x="64" y="111"/>
                  <a:pt x="64" y="111"/>
                </a:cubicBezTo>
                <a:cubicBezTo>
                  <a:pt x="65" y="109"/>
                  <a:pt x="67" y="110"/>
                  <a:pt x="68" y="111"/>
                </a:cubicBezTo>
                <a:cubicBezTo>
                  <a:pt x="68" y="112"/>
                  <a:pt x="67" y="111"/>
                  <a:pt x="67" y="112"/>
                </a:cubicBezTo>
                <a:cubicBezTo>
                  <a:pt x="68" y="112"/>
                  <a:pt x="68" y="112"/>
                  <a:pt x="68" y="112"/>
                </a:cubicBezTo>
                <a:cubicBezTo>
                  <a:pt x="67" y="113"/>
                  <a:pt x="65" y="113"/>
                  <a:pt x="64" y="113"/>
                </a:cubicBezTo>
                <a:cubicBezTo>
                  <a:pt x="64" y="114"/>
                  <a:pt x="65" y="113"/>
                  <a:pt x="66" y="113"/>
                </a:cubicBezTo>
                <a:cubicBezTo>
                  <a:pt x="65" y="114"/>
                  <a:pt x="64" y="115"/>
                  <a:pt x="63" y="115"/>
                </a:cubicBezTo>
                <a:cubicBezTo>
                  <a:pt x="64" y="115"/>
                  <a:pt x="64" y="115"/>
                  <a:pt x="63" y="116"/>
                </a:cubicBezTo>
                <a:cubicBezTo>
                  <a:pt x="64" y="116"/>
                  <a:pt x="64" y="116"/>
                  <a:pt x="64" y="115"/>
                </a:cubicBezTo>
                <a:cubicBezTo>
                  <a:pt x="64" y="116"/>
                  <a:pt x="64" y="116"/>
                  <a:pt x="64" y="116"/>
                </a:cubicBezTo>
                <a:cubicBezTo>
                  <a:pt x="65" y="113"/>
                  <a:pt x="69" y="114"/>
                  <a:pt x="71" y="112"/>
                </a:cubicBezTo>
                <a:cubicBezTo>
                  <a:pt x="70" y="112"/>
                  <a:pt x="70" y="113"/>
                  <a:pt x="69" y="112"/>
                </a:cubicBezTo>
                <a:cubicBezTo>
                  <a:pt x="70" y="112"/>
                  <a:pt x="70" y="112"/>
                  <a:pt x="71" y="111"/>
                </a:cubicBezTo>
                <a:cubicBezTo>
                  <a:pt x="71" y="110"/>
                  <a:pt x="71" y="111"/>
                  <a:pt x="71" y="110"/>
                </a:cubicBezTo>
                <a:cubicBezTo>
                  <a:pt x="70" y="111"/>
                  <a:pt x="69" y="110"/>
                  <a:pt x="69" y="110"/>
                </a:cubicBezTo>
                <a:cubicBezTo>
                  <a:pt x="69" y="109"/>
                  <a:pt x="69" y="108"/>
                  <a:pt x="70" y="108"/>
                </a:cubicBezTo>
                <a:cubicBezTo>
                  <a:pt x="70" y="108"/>
                  <a:pt x="70" y="108"/>
                  <a:pt x="70" y="108"/>
                </a:cubicBezTo>
                <a:cubicBezTo>
                  <a:pt x="70" y="108"/>
                  <a:pt x="71" y="107"/>
                  <a:pt x="71" y="107"/>
                </a:cubicBezTo>
                <a:cubicBezTo>
                  <a:pt x="72" y="107"/>
                  <a:pt x="74" y="107"/>
                  <a:pt x="73" y="106"/>
                </a:cubicBezTo>
                <a:cubicBezTo>
                  <a:pt x="73" y="106"/>
                  <a:pt x="74" y="106"/>
                  <a:pt x="75" y="106"/>
                </a:cubicBezTo>
                <a:cubicBezTo>
                  <a:pt x="76" y="104"/>
                  <a:pt x="77" y="101"/>
                  <a:pt x="79" y="102"/>
                </a:cubicBezTo>
                <a:cubicBezTo>
                  <a:pt x="79" y="101"/>
                  <a:pt x="79" y="101"/>
                  <a:pt x="79" y="101"/>
                </a:cubicBezTo>
                <a:cubicBezTo>
                  <a:pt x="82" y="100"/>
                  <a:pt x="84" y="101"/>
                  <a:pt x="87" y="101"/>
                </a:cubicBezTo>
                <a:cubicBezTo>
                  <a:pt x="84" y="102"/>
                  <a:pt x="83" y="104"/>
                  <a:pt x="79" y="104"/>
                </a:cubicBezTo>
                <a:cubicBezTo>
                  <a:pt x="79" y="105"/>
                  <a:pt x="77" y="105"/>
                  <a:pt x="76" y="105"/>
                </a:cubicBezTo>
                <a:cubicBezTo>
                  <a:pt x="76" y="106"/>
                  <a:pt x="76" y="106"/>
                  <a:pt x="76" y="106"/>
                </a:cubicBezTo>
                <a:cubicBezTo>
                  <a:pt x="77" y="106"/>
                  <a:pt x="77" y="106"/>
                  <a:pt x="77" y="106"/>
                </a:cubicBezTo>
                <a:cubicBezTo>
                  <a:pt x="77" y="107"/>
                  <a:pt x="76" y="107"/>
                  <a:pt x="76" y="108"/>
                </a:cubicBezTo>
                <a:cubicBezTo>
                  <a:pt x="77" y="108"/>
                  <a:pt x="76" y="109"/>
                  <a:pt x="77" y="109"/>
                </a:cubicBezTo>
                <a:cubicBezTo>
                  <a:pt x="77" y="110"/>
                  <a:pt x="76" y="109"/>
                  <a:pt x="76" y="109"/>
                </a:cubicBezTo>
                <a:cubicBezTo>
                  <a:pt x="76" y="109"/>
                  <a:pt x="75" y="110"/>
                  <a:pt x="74" y="110"/>
                </a:cubicBezTo>
                <a:cubicBezTo>
                  <a:pt x="75" y="111"/>
                  <a:pt x="75" y="111"/>
                  <a:pt x="75" y="111"/>
                </a:cubicBezTo>
                <a:cubicBezTo>
                  <a:pt x="76" y="111"/>
                  <a:pt x="76" y="110"/>
                  <a:pt x="77" y="110"/>
                </a:cubicBezTo>
                <a:cubicBezTo>
                  <a:pt x="76" y="111"/>
                  <a:pt x="77" y="111"/>
                  <a:pt x="78" y="111"/>
                </a:cubicBezTo>
                <a:cubicBezTo>
                  <a:pt x="77" y="111"/>
                  <a:pt x="76" y="111"/>
                  <a:pt x="76" y="111"/>
                </a:cubicBezTo>
                <a:cubicBezTo>
                  <a:pt x="75" y="111"/>
                  <a:pt x="76" y="111"/>
                  <a:pt x="76" y="112"/>
                </a:cubicBezTo>
                <a:cubicBezTo>
                  <a:pt x="76" y="113"/>
                  <a:pt x="75" y="112"/>
                  <a:pt x="76" y="113"/>
                </a:cubicBezTo>
                <a:cubicBezTo>
                  <a:pt x="77" y="113"/>
                  <a:pt x="78" y="111"/>
                  <a:pt x="80" y="111"/>
                </a:cubicBezTo>
                <a:cubicBezTo>
                  <a:pt x="79" y="112"/>
                  <a:pt x="80" y="112"/>
                  <a:pt x="80" y="112"/>
                </a:cubicBezTo>
                <a:cubicBezTo>
                  <a:pt x="80" y="113"/>
                  <a:pt x="80" y="113"/>
                  <a:pt x="79" y="114"/>
                </a:cubicBezTo>
                <a:cubicBezTo>
                  <a:pt x="79" y="114"/>
                  <a:pt x="79" y="113"/>
                  <a:pt x="79" y="113"/>
                </a:cubicBezTo>
                <a:cubicBezTo>
                  <a:pt x="79" y="114"/>
                  <a:pt x="78" y="114"/>
                  <a:pt x="78" y="114"/>
                </a:cubicBezTo>
                <a:cubicBezTo>
                  <a:pt x="78" y="115"/>
                  <a:pt x="79" y="115"/>
                  <a:pt x="78" y="116"/>
                </a:cubicBezTo>
                <a:cubicBezTo>
                  <a:pt x="79" y="116"/>
                  <a:pt x="80" y="115"/>
                  <a:pt x="81" y="115"/>
                </a:cubicBezTo>
                <a:cubicBezTo>
                  <a:pt x="81" y="114"/>
                  <a:pt x="80" y="115"/>
                  <a:pt x="80" y="114"/>
                </a:cubicBezTo>
                <a:cubicBezTo>
                  <a:pt x="81" y="114"/>
                  <a:pt x="81" y="113"/>
                  <a:pt x="82" y="113"/>
                </a:cubicBezTo>
                <a:cubicBezTo>
                  <a:pt x="82" y="114"/>
                  <a:pt x="82" y="114"/>
                  <a:pt x="82" y="114"/>
                </a:cubicBezTo>
                <a:cubicBezTo>
                  <a:pt x="83" y="114"/>
                  <a:pt x="83" y="112"/>
                  <a:pt x="86" y="112"/>
                </a:cubicBezTo>
                <a:cubicBezTo>
                  <a:pt x="85" y="112"/>
                  <a:pt x="86" y="112"/>
                  <a:pt x="86" y="112"/>
                </a:cubicBezTo>
                <a:cubicBezTo>
                  <a:pt x="86" y="111"/>
                  <a:pt x="86" y="111"/>
                  <a:pt x="85" y="111"/>
                </a:cubicBezTo>
                <a:cubicBezTo>
                  <a:pt x="85" y="111"/>
                  <a:pt x="86" y="111"/>
                  <a:pt x="86" y="110"/>
                </a:cubicBezTo>
                <a:cubicBezTo>
                  <a:pt x="88" y="110"/>
                  <a:pt x="90" y="110"/>
                  <a:pt x="91" y="110"/>
                </a:cubicBezTo>
                <a:cubicBezTo>
                  <a:pt x="91" y="110"/>
                  <a:pt x="91" y="110"/>
                  <a:pt x="91" y="110"/>
                </a:cubicBezTo>
                <a:cubicBezTo>
                  <a:pt x="91" y="111"/>
                  <a:pt x="91" y="111"/>
                  <a:pt x="91" y="111"/>
                </a:cubicBezTo>
                <a:cubicBezTo>
                  <a:pt x="92" y="111"/>
                  <a:pt x="92" y="111"/>
                  <a:pt x="92" y="111"/>
                </a:cubicBezTo>
                <a:cubicBezTo>
                  <a:pt x="92" y="112"/>
                  <a:pt x="92" y="112"/>
                  <a:pt x="91" y="112"/>
                </a:cubicBezTo>
                <a:cubicBezTo>
                  <a:pt x="92" y="112"/>
                  <a:pt x="92" y="112"/>
                  <a:pt x="92" y="112"/>
                </a:cubicBezTo>
                <a:cubicBezTo>
                  <a:pt x="91" y="113"/>
                  <a:pt x="90" y="113"/>
                  <a:pt x="89" y="113"/>
                </a:cubicBezTo>
                <a:cubicBezTo>
                  <a:pt x="89" y="113"/>
                  <a:pt x="89" y="113"/>
                  <a:pt x="89" y="113"/>
                </a:cubicBezTo>
                <a:cubicBezTo>
                  <a:pt x="89" y="114"/>
                  <a:pt x="89" y="113"/>
                  <a:pt x="89" y="113"/>
                </a:cubicBezTo>
                <a:cubicBezTo>
                  <a:pt x="89" y="114"/>
                  <a:pt x="89" y="114"/>
                  <a:pt x="89" y="114"/>
                </a:cubicBezTo>
                <a:cubicBezTo>
                  <a:pt x="89" y="114"/>
                  <a:pt x="89" y="115"/>
                  <a:pt x="89" y="115"/>
                </a:cubicBezTo>
                <a:cubicBezTo>
                  <a:pt x="88" y="116"/>
                  <a:pt x="86" y="117"/>
                  <a:pt x="83" y="118"/>
                </a:cubicBezTo>
                <a:cubicBezTo>
                  <a:pt x="84" y="117"/>
                  <a:pt x="83" y="117"/>
                  <a:pt x="83" y="117"/>
                </a:cubicBezTo>
                <a:cubicBezTo>
                  <a:pt x="83" y="117"/>
                  <a:pt x="83" y="118"/>
                  <a:pt x="83" y="118"/>
                </a:cubicBezTo>
                <a:cubicBezTo>
                  <a:pt x="83" y="118"/>
                  <a:pt x="82" y="118"/>
                  <a:pt x="82" y="118"/>
                </a:cubicBezTo>
                <a:cubicBezTo>
                  <a:pt x="81" y="118"/>
                  <a:pt x="82" y="118"/>
                  <a:pt x="82" y="118"/>
                </a:cubicBezTo>
                <a:cubicBezTo>
                  <a:pt x="82" y="119"/>
                  <a:pt x="83" y="119"/>
                  <a:pt x="83" y="119"/>
                </a:cubicBezTo>
                <a:cubicBezTo>
                  <a:pt x="82" y="120"/>
                  <a:pt x="82" y="119"/>
                  <a:pt x="81" y="119"/>
                </a:cubicBezTo>
                <a:cubicBezTo>
                  <a:pt x="82" y="119"/>
                  <a:pt x="81" y="119"/>
                  <a:pt x="81" y="118"/>
                </a:cubicBezTo>
                <a:cubicBezTo>
                  <a:pt x="81" y="118"/>
                  <a:pt x="81" y="118"/>
                  <a:pt x="80" y="118"/>
                </a:cubicBezTo>
                <a:cubicBezTo>
                  <a:pt x="80" y="117"/>
                  <a:pt x="80" y="117"/>
                  <a:pt x="80" y="117"/>
                </a:cubicBezTo>
                <a:cubicBezTo>
                  <a:pt x="80" y="118"/>
                  <a:pt x="79" y="117"/>
                  <a:pt x="78" y="117"/>
                </a:cubicBezTo>
                <a:cubicBezTo>
                  <a:pt x="78" y="118"/>
                  <a:pt x="78" y="118"/>
                  <a:pt x="78" y="118"/>
                </a:cubicBezTo>
                <a:cubicBezTo>
                  <a:pt x="79" y="118"/>
                  <a:pt x="79" y="118"/>
                  <a:pt x="79" y="118"/>
                </a:cubicBezTo>
                <a:cubicBezTo>
                  <a:pt x="78" y="119"/>
                  <a:pt x="76" y="120"/>
                  <a:pt x="75" y="120"/>
                </a:cubicBezTo>
                <a:cubicBezTo>
                  <a:pt x="75" y="120"/>
                  <a:pt x="75" y="120"/>
                  <a:pt x="75" y="120"/>
                </a:cubicBezTo>
                <a:cubicBezTo>
                  <a:pt x="74" y="122"/>
                  <a:pt x="70" y="124"/>
                  <a:pt x="68" y="123"/>
                </a:cubicBezTo>
                <a:cubicBezTo>
                  <a:pt x="68" y="124"/>
                  <a:pt x="65" y="124"/>
                  <a:pt x="63" y="123"/>
                </a:cubicBezTo>
                <a:cubicBezTo>
                  <a:pt x="63" y="124"/>
                  <a:pt x="64" y="124"/>
                  <a:pt x="63" y="124"/>
                </a:cubicBezTo>
                <a:cubicBezTo>
                  <a:pt x="63" y="124"/>
                  <a:pt x="65" y="124"/>
                  <a:pt x="65" y="125"/>
                </a:cubicBezTo>
                <a:cubicBezTo>
                  <a:pt x="65" y="126"/>
                  <a:pt x="63" y="126"/>
                  <a:pt x="61" y="126"/>
                </a:cubicBezTo>
                <a:cubicBezTo>
                  <a:pt x="62" y="126"/>
                  <a:pt x="62" y="126"/>
                  <a:pt x="62" y="126"/>
                </a:cubicBezTo>
                <a:cubicBezTo>
                  <a:pt x="61" y="127"/>
                  <a:pt x="60" y="126"/>
                  <a:pt x="60" y="128"/>
                </a:cubicBezTo>
                <a:cubicBezTo>
                  <a:pt x="59" y="128"/>
                  <a:pt x="60" y="127"/>
                  <a:pt x="59" y="127"/>
                </a:cubicBezTo>
                <a:cubicBezTo>
                  <a:pt x="60" y="128"/>
                  <a:pt x="57" y="128"/>
                  <a:pt x="58" y="129"/>
                </a:cubicBezTo>
                <a:cubicBezTo>
                  <a:pt x="56" y="129"/>
                  <a:pt x="54" y="131"/>
                  <a:pt x="53" y="132"/>
                </a:cubicBezTo>
                <a:cubicBezTo>
                  <a:pt x="52" y="132"/>
                  <a:pt x="52" y="132"/>
                  <a:pt x="51" y="132"/>
                </a:cubicBezTo>
                <a:cubicBezTo>
                  <a:pt x="51" y="132"/>
                  <a:pt x="51" y="133"/>
                  <a:pt x="52" y="133"/>
                </a:cubicBezTo>
                <a:cubicBezTo>
                  <a:pt x="51" y="134"/>
                  <a:pt x="50" y="134"/>
                  <a:pt x="50" y="136"/>
                </a:cubicBezTo>
                <a:cubicBezTo>
                  <a:pt x="51" y="135"/>
                  <a:pt x="52" y="136"/>
                  <a:pt x="53" y="136"/>
                </a:cubicBezTo>
                <a:cubicBezTo>
                  <a:pt x="52" y="137"/>
                  <a:pt x="52" y="139"/>
                  <a:pt x="51" y="140"/>
                </a:cubicBezTo>
                <a:cubicBezTo>
                  <a:pt x="54" y="139"/>
                  <a:pt x="58" y="139"/>
                  <a:pt x="59" y="142"/>
                </a:cubicBezTo>
                <a:cubicBezTo>
                  <a:pt x="60" y="143"/>
                  <a:pt x="62" y="143"/>
                  <a:pt x="62" y="144"/>
                </a:cubicBezTo>
                <a:cubicBezTo>
                  <a:pt x="64" y="144"/>
                  <a:pt x="66" y="144"/>
                  <a:pt x="67" y="144"/>
                </a:cubicBezTo>
                <a:cubicBezTo>
                  <a:pt x="66" y="146"/>
                  <a:pt x="66" y="148"/>
                  <a:pt x="64" y="150"/>
                </a:cubicBezTo>
                <a:cubicBezTo>
                  <a:pt x="64" y="150"/>
                  <a:pt x="65" y="151"/>
                  <a:pt x="65" y="151"/>
                </a:cubicBezTo>
                <a:cubicBezTo>
                  <a:pt x="65" y="152"/>
                  <a:pt x="65" y="152"/>
                  <a:pt x="64" y="152"/>
                </a:cubicBezTo>
                <a:cubicBezTo>
                  <a:pt x="65" y="152"/>
                  <a:pt x="66" y="153"/>
                  <a:pt x="65" y="154"/>
                </a:cubicBezTo>
                <a:cubicBezTo>
                  <a:pt x="66" y="154"/>
                  <a:pt x="66" y="154"/>
                  <a:pt x="67" y="155"/>
                </a:cubicBezTo>
                <a:cubicBezTo>
                  <a:pt x="67" y="154"/>
                  <a:pt x="68" y="153"/>
                  <a:pt x="68" y="153"/>
                </a:cubicBezTo>
                <a:cubicBezTo>
                  <a:pt x="68" y="154"/>
                  <a:pt x="69" y="154"/>
                  <a:pt x="69" y="154"/>
                </a:cubicBezTo>
                <a:cubicBezTo>
                  <a:pt x="69" y="153"/>
                  <a:pt x="70" y="152"/>
                  <a:pt x="71" y="151"/>
                </a:cubicBezTo>
                <a:cubicBezTo>
                  <a:pt x="70" y="150"/>
                  <a:pt x="72" y="148"/>
                  <a:pt x="72" y="147"/>
                </a:cubicBezTo>
                <a:cubicBezTo>
                  <a:pt x="72" y="147"/>
                  <a:pt x="72" y="147"/>
                  <a:pt x="72" y="147"/>
                </a:cubicBezTo>
                <a:cubicBezTo>
                  <a:pt x="71" y="146"/>
                  <a:pt x="72" y="146"/>
                  <a:pt x="72" y="146"/>
                </a:cubicBezTo>
                <a:cubicBezTo>
                  <a:pt x="76" y="145"/>
                  <a:pt x="85" y="140"/>
                  <a:pt x="80" y="136"/>
                </a:cubicBezTo>
                <a:cubicBezTo>
                  <a:pt x="81" y="134"/>
                  <a:pt x="83" y="134"/>
                  <a:pt x="84" y="133"/>
                </a:cubicBezTo>
                <a:cubicBezTo>
                  <a:pt x="84" y="133"/>
                  <a:pt x="84" y="133"/>
                  <a:pt x="84" y="133"/>
                </a:cubicBezTo>
                <a:cubicBezTo>
                  <a:pt x="84" y="132"/>
                  <a:pt x="84" y="132"/>
                  <a:pt x="84" y="131"/>
                </a:cubicBezTo>
                <a:cubicBezTo>
                  <a:pt x="84" y="131"/>
                  <a:pt x="84" y="131"/>
                  <a:pt x="84" y="131"/>
                </a:cubicBezTo>
                <a:cubicBezTo>
                  <a:pt x="84" y="130"/>
                  <a:pt x="86" y="130"/>
                  <a:pt x="86" y="129"/>
                </a:cubicBezTo>
                <a:cubicBezTo>
                  <a:pt x="86" y="129"/>
                  <a:pt x="86" y="129"/>
                  <a:pt x="86" y="128"/>
                </a:cubicBezTo>
                <a:cubicBezTo>
                  <a:pt x="87" y="124"/>
                  <a:pt x="92" y="129"/>
                  <a:pt x="95" y="127"/>
                </a:cubicBezTo>
                <a:cubicBezTo>
                  <a:pt x="95" y="127"/>
                  <a:pt x="95" y="128"/>
                  <a:pt x="96" y="128"/>
                </a:cubicBezTo>
                <a:cubicBezTo>
                  <a:pt x="96" y="128"/>
                  <a:pt x="97" y="128"/>
                  <a:pt x="97" y="129"/>
                </a:cubicBezTo>
                <a:cubicBezTo>
                  <a:pt x="97" y="129"/>
                  <a:pt x="97" y="129"/>
                  <a:pt x="97" y="129"/>
                </a:cubicBezTo>
                <a:cubicBezTo>
                  <a:pt x="97" y="129"/>
                  <a:pt x="97" y="129"/>
                  <a:pt x="97" y="130"/>
                </a:cubicBezTo>
                <a:cubicBezTo>
                  <a:pt x="97" y="130"/>
                  <a:pt x="98" y="130"/>
                  <a:pt x="99" y="130"/>
                </a:cubicBezTo>
                <a:cubicBezTo>
                  <a:pt x="99" y="131"/>
                  <a:pt x="99" y="131"/>
                  <a:pt x="99" y="131"/>
                </a:cubicBezTo>
                <a:cubicBezTo>
                  <a:pt x="100" y="131"/>
                  <a:pt x="100" y="130"/>
                  <a:pt x="100" y="130"/>
                </a:cubicBezTo>
                <a:cubicBezTo>
                  <a:pt x="100" y="131"/>
                  <a:pt x="99" y="132"/>
                  <a:pt x="98" y="133"/>
                </a:cubicBezTo>
                <a:cubicBezTo>
                  <a:pt x="99" y="133"/>
                  <a:pt x="98" y="134"/>
                  <a:pt x="98" y="134"/>
                </a:cubicBezTo>
                <a:cubicBezTo>
                  <a:pt x="97" y="135"/>
                  <a:pt x="98" y="134"/>
                  <a:pt x="98" y="135"/>
                </a:cubicBezTo>
                <a:cubicBezTo>
                  <a:pt x="97" y="134"/>
                  <a:pt x="98" y="135"/>
                  <a:pt x="97" y="135"/>
                </a:cubicBezTo>
                <a:cubicBezTo>
                  <a:pt x="98" y="135"/>
                  <a:pt x="98" y="135"/>
                  <a:pt x="99" y="135"/>
                </a:cubicBezTo>
                <a:cubicBezTo>
                  <a:pt x="99" y="136"/>
                  <a:pt x="99" y="136"/>
                  <a:pt x="100" y="136"/>
                </a:cubicBezTo>
                <a:cubicBezTo>
                  <a:pt x="99" y="137"/>
                  <a:pt x="99" y="137"/>
                  <a:pt x="100" y="136"/>
                </a:cubicBezTo>
                <a:cubicBezTo>
                  <a:pt x="100" y="137"/>
                  <a:pt x="100" y="137"/>
                  <a:pt x="100" y="137"/>
                </a:cubicBezTo>
                <a:cubicBezTo>
                  <a:pt x="101" y="137"/>
                  <a:pt x="102" y="135"/>
                  <a:pt x="103" y="136"/>
                </a:cubicBezTo>
                <a:cubicBezTo>
                  <a:pt x="104" y="135"/>
                  <a:pt x="105" y="134"/>
                  <a:pt x="106" y="134"/>
                </a:cubicBezTo>
                <a:cubicBezTo>
                  <a:pt x="106" y="134"/>
                  <a:pt x="105" y="134"/>
                  <a:pt x="106" y="133"/>
                </a:cubicBezTo>
                <a:cubicBezTo>
                  <a:pt x="107" y="133"/>
                  <a:pt x="107" y="132"/>
                  <a:pt x="108" y="131"/>
                </a:cubicBezTo>
                <a:cubicBezTo>
                  <a:pt x="108" y="131"/>
                  <a:pt x="108" y="132"/>
                  <a:pt x="109" y="132"/>
                </a:cubicBezTo>
                <a:cubicBezTo>
                  <a:pt x="109" y="132"/>
                  <a:pt x="108" y="132"/>
                  <a:pt x="108" y="133"/>
                </a:cubicBezTo>
                <a:cubicBezTo>
                  <a:pt x="108" y="133"/>
                  <a:pt x="109" y="133"/>
                  <a:pt x="108" y="133"/>
                </a:cubicBezTo>
                <a:cubicBezTo>
                  <a:pt x="109" y="133"/>
                  <a:pt x="108" y="134"/>
                  <a:pt x="109" y="134"/>
                </a:cubicBezTo>
                <a:cubicBezTo>
                  <a:pt x="108" y="134"/>
                  <a:pt x="108" y="134"/>
                  <a:pt x="108" y="134"/>
                </a:cubicBezTo>
                <a:cubicBezTo>
                  <a:pt x="109" y="134"/>
                  <a:pt x="109" y="134"/>
                  <a:pt x="109" y="134"/>
                </a:cubicBezTo>
                <a:cubicBezTo>
                  <a:pt x="109" y="135"/>
                  <a:pt x="109" y="135"/>
                  <a:pt x="109" y="135"/>
                </a:cubicBezTo>
                <a:cubicBezTo>
                  <a:pt x="109" y="135"/>
                  <a:pt x="109" y="135"/>
                  <a:pt x="109" y="135"/>
                </a:cubicBezTo>
                <a:cubicBezTo>
                  <a:pt x="109" y="135"/>
                  <a:pt x="109" y="135"/>
                  <a:pt x="109" y="135"/>
                </a:cubicBezTo>
                <a:cubicBezTo>
                  <a:pt x="109" y="136"/>
                  <a:pt x="109" y="136"/>
                  <a:pt x="109" y="136"/>
                </a:cubicBezTo>
                <a:cubicBezTo>
                  <a:pt x="109" y="137"/>
                  <a:pt x="109" y="136"/>
                  <a:pt x="110" y="136"/>
                </a:cubicBezTo>
                <a:cubicBezTo>
                  <a:pt x="109" y="137"/>
                  <a:pt x="109" y="137"/>
                  <a:pt x="109" y="137"/>
                </a:cubicBezTo>
                <a:cubicBezTo>
                  <a:pt x="110" y="137"/>
                  <a:pt x="109" y="138"/>
                  <a:pt x="110" y="138"/>
                </a:cubicBezTo>
                <a:cubicBezTo>
                  <a:pt x="110" y="138"/>
                  <a:pt x="109" y="138"/>
                  <a:pt x="110" y="138"/>
                </a:cubicBezTo>
                <a:cubicBezTo>
                  <a:pt x="110" y="138"/>
                  <a:pt x="109" y="139"/>
                  <a:pt x="109" y="139"/>
                </a:cubicBezTo>
                <a:cubicBezTo>
                  <a:pt x="109" y="139"/>
                  <a:pt x="110" y="139"/>
                  <a:pt x="109" y="139"/>
                </a:cubicBezTo>
                <a:cubicBezTo>
                  <a:pt x="110" y="140"/>
                  <a:pt x="110" y="140"/>
                  <a:pt x="110" y="140"/>
                </a:cubicBezTo>
                <a:cubicBezTo>
                  <a:pt x="110" y="140"/>
                  <a:pt x="110" y="140"/>
                  <a:pt x="110" y="141"/>
                </a:cubicBezTo>
                <a:cubicBezTo>
                  <a:pt x="109" y="141"/>
                  <a:pt x="109" y="141"/>
                  <a:pt x="109" y="140"/>
                </a:cubicBezTo>
                <a:cubicBezTo>
                  <a:pt x="109" y="141"/>
                  <a:pt x="109" y="141"/>
                  <a:pt x="108" y="141"/>
                </a:cubicBezTo>
                <a:cubicBezTo>
                  <a:pt x="108" y="141"/>
                  <a:pt x="109" y="142"/>
                  <a:pt x="108" y="142"/>
                </a:cubicBezTo>
                <a:cubicBezTo>
                  <a:pt x="109" y="142"/>
                  <a:pt x="109" y="142"/>
                  <a:pt x="109" y="142"/>
                </a:cubicBezTo>
                <a:cubicBezTo>
                  <a:pt x="109" y="142"/>
                  <a:pt x="109" y="142"/>
                  <a:pt x="109" y="142"/>
                </a:cubicBezTo>
                <a:cubicBezTo>
                  <a:pt x="109" y="143"/>
                  <a:pt x="110" y="143"/>
                  <a:pt x="111" y="143"/>
                </a:cubicBezTo>
                <a:cubicBezTo>
                  <a:pt x="110" y="143"/>
                  <a:pt x="111" y="144"/>
                  <a:pt x="110" y="144"/>
                </a:cubicBezTo>
                <a:cubicBezTo>
                  <a:pt x="110" y="144"/>
                  <a:pt x="111" y="144"/>
                  <a:pt x="111" y="144"/>
                </a:cubicBezTo>
                <a:cubicBezTo>
                  <a:pt x="111" y="144"/>
                  <a:pt x="111" y="144"/>
                  <a:pt x="111" y="144"/>
                </a:cubicBezTo>
                <a:cubicBezTo>
                  <a:pt x="112" y="144"/>
                  <a:pt x="111" y="145"/>
                  <a:pt x="112" y="144"/>
                </a:cubicBezTo>
                <a:cubicBezTo>
                  <a:pt x="112" y="145"/>
                  <a:pt x="112" y="145"/>
                  <a:pt x="113" y="144"/>
                </a:cubicBezTo>
                <a:cubicBezTo>
                  <a:pt x="112" y="145"/>
                  <a:pt x="112" y="145"/>
                  <a:pt x="112" y="145"/>
                </a:cubicBezTo>
                <a:cubicBezTo>
                  <a:pt x="113" y="146"/>
                  <a:pt x="114" y="145"/>
                  <a:pt x="114" y="145"/>
                </a:cubicBezTo>
                <a:cubicBezTo>
                  <a:pt x="114" y="146"/>
                  <a:pt x="114" y="146"/>
                  <a:pt x="114" y="146"/>
                </a:cubicBezTo>
                <a:cubicBezTo>
                  <a:pt x="115" y="146"/>
                  <a:pt x="115" y="146"/>
                  <a:pt x="115" y="146"/>
                </a:cubicBezTo>
                <a:cubicBezTo>
                  <a:pt x="115" y="147"/>
                  <a:pt x="114" y="146"/>
                  <a:pt x="113" y="147"/>
                </a:cubicBezTo>
                <a:cubicBezTo>
                  <a:pt x="114" y="147"/>
                  <a:pt x="114" y="147"/>
                  <a:pt x="115" y="147"/>
                </a:cubicBezTo>
                <a:cubicBezTo>
                  <a:pt x="115" y="147"/>
                  <a:pt x="115" y="147"/>
                  <a:pt x="115" y="148"/>
                </a:cubicBezTo>
                <a:cubicBezTo>
                  <a:pt x="114" y="148"/>
                  <a:pt x="114" y="148"/>
                  <a:pt x="114" y="148"/>
                </a:cubicBezTo>
                <a:cubicBezTo>
                  <a:pt x="114" y="149"/>
                  <a:pt x="114" y="149"/>
                  <a:pt x="114" y="149"/>
                </a:cubicBezTo>
                <a:cubicBezTo>
                  <a:pt x="114" y="148"/>
                  <a:pt x="115" y="148"/>
                  <a:pt x="116" y="148"/>
                </a:cubicBezTo>
                <a:cubicBezTo>
                  <a:pt x="115" y="148"/>
                  <a:pt x="117" y="149"/>
                  <a:pt x="117" y="149"/>
                </a:cubicBezTo>
                <a:cubicBezTo>
                  <a:pt x="117" y="150"/>
                  <a:pt x="116" y="150"/>
                  <a:pt x="116" y="150"/>
                </a:cubicBezTo>
                <a:cubicBezTo>
                  <a:pt x="117" y="150"/>
                  <a:pt x="116" y="150"/>
                  <a:pt x="116" y="151"/>
                </a:cubicBezTo>
                <a:cubicBezTo>
                  <a:pt x="116" y="151"/>
                  <a:pt x="116" y="151"/>
                  <a:pt x="115" y="151"/>
                </a:cubicBezTo>
                <a:cubicBezTo>
                  <a:pt x="116" y="151"/>
                  <a:pt x="116" y="151"/>
                  <a:pt x="116" y="151"/>
                </a:cubicBezTo>
                <a:cubicBezTo>
                  <a:pt x="116" y="152"/>
                  <a:pt x="116" y="151"/>
                  <a:pt x="116" y="152"/>
                </a:cubicBezTo>
                <a:cubicBezTo>
                  <a:pt x="114" y="154"/>
                  <a:pt x="109" y="153"/>
                  <a:pt x="108" y="156"/>
                </a:cubicBezTo>
                <a:cubicBezTo>
                  <a:pt x="106" y="157"/>
                  <a:pt x="105" y="157"/>
                  <a:pt x="102" y="157"/>
                </a:cubicBezTo>
                <a:cubicBezTo>
                  <a:pt x="99" y="156"/>
                  <a:pt x="96" y="157"/>
                  <a:pt x="92" y="157"/>
                </a:cubicBezTo>
                <a:cubicBezTo>
                  <a:pt x="90" y="159"/>
                  <a:pt x="86" y="160"/>
                  <a:pt x="83" y="162"/>
                </a:cubicBezTo>
                <a:cubicBezTo>
                  <a:pt x="83" y="163"/>
                  <a:pt x="81" y="164"/>
                  <a:pt x="80" y="165"/>
                </a:cubicBezTo>
                <a:cubicBezTo>
                  <a:pt x="84" y="163"/>
                  <a:pt x="89" y="158"/>
                  <a:pt x="95" y="160"/>
                </a:cubicBezTo>
                <a:cubicBezTo>
                  <a:pt x="95" y="161"/>
                  <a:pt x="95" y="161"/>
                  <a:pt x="95" y="161"/>
                </a:cubicBezTo>
                <a:cubicBezTo>
                  <a:pt x="94" y="162"/>
                  <a:pt x="92" y="163"/>
                  <a:pt x="90" y="162"/>
                </a:cubicBezTo>
                <a:cubicBezTo>
                  <a:pt x="91" y="163"/>
                  <a:pt x="91" y="163"/>
                  <a:pt x="91" y="163"/>
                </a:cubicBezTo>
                <a:cubicBezTo>
                  <a:pt x="92" y="163"/>
                  <a:pt x="92" y="163"/>
                  <a:pt x="93" y="163"/>
                </a:cubicBezTo>
                <a:cubicBezTo>
                  <a:pt x="93" y="163"/>
                  <a:pt x="93" y="163"/>
                  <a:pt x="93" y="163"/>
                </a:cubicBezTo>
                <a:cubicBezTo>
                  <a:pt x="94" y="163"/>
                  <a:pt x="94" y="163"/>
                  <a:pt x="94" y="163"/>
                </a:cubicBezTo>
                <a:cubicBezTo>
                  <a:pt x="94" y="163"/>
                  <a:pt x="92" y="164"/>
                  <a:pt x="92" y="165"/>
                </a:cubicBezTo>
                <a:cubicBezTo>
                  <a:pt x="92" y="165"/>
                  <a:pt x="92" y="165"/>
                  <a:pt x="92" y="165"/>
                </a:cubicBezTo>
                <a:cubicBezTo>
                  <a:pt x="92" y="165"/>
                  <a:pt x="92" y="166"/>
                  <a:pt x="92" y="167"/>
                </a:cubicBezTo>
                <a:cubicBezTo>
                  <a:pt x="92" y="167"/>
                  <a:pt x="93" y="167"/>
                  <a:pt x="94" y="167"/>
                </a:cubicBezTo>
                <a:cubicBezTo>
                  <a:pt x="94" y="168"/>
                  <a:pt x="93" y="168"/>
                  <a:pt x="93" y="168"/>
                </a:cubicBezTo>
                <a:cubicBezTo>
                  <a:pt x="94" y="168"/>
                  <a:pt x="96" y="169"/>
                  <a:pt x="97" y="168"/>
                </a:cubicBezTo>
                <a:cubicBezTo>
                  <a:pt x="97" y="169"/>
                  <a:pt x="97" y="169"/>
                  <a:pt x="98" y="169"/>
                </a:cubicBezTo>
                <a:cubicBezTo>
                  <a:pt x="98" y="167"/>
                  <a:pt x="100" y="166"/>
                  <a:pt x="101" y="165"/>
                </a:cubicBezTo>
                <a:cubicBezTo>
                  <a:pt x="101" y="165"/>
                  <a:pt x="101" y="166"/>
                  <a:pt x="102" y="165"/>
                </a:cubicBezTo>
                <a:cubicBezTo>
                  <a:pt x="101" y="166"/>
                  <a:pt x="101" y="166"/>
                  <a:pt x="101" y="167"/>
                </a:cubicBezTo>
                <a:cubicBezTo>
                  <a:pt x="101" y="167"/>
                  <a:pt x="101" y="167"/>
                  <a:pt x="102" y="167"/>
                </a:cubicBezTo>
                <a:cubicBezTo>
                  <a:pt x="102" y="168"/>
                  <a:pt x="102" y="168"/>
                  <a:pt x="102" y="168"/>
                </a:cubicBezTo>
                <a:cubicBezTo>
                  <a:pt x="101" y="168"/>
                  <a:pt x="100" y="169"/>
                  <a:pt x="99" y="169"/>
                </a:cubicBezTo>
                <a:cubicBezTo>
                  <a:pt x="98" y="169"/>
                  <a:pt x="99" y="169"/>
                  <a:pt x="98" y="169"/>
                </a:cubicBezTo>
                <a:cubicBezTo>
                  <a:pt x="99" y="170"/>
                  <a:pt x="99" y="170"/>
                  <a:pt x="99" y="170"/>
                </a:cubicBezTo>
                <a:cubicBezTo>
                  <a:pt x="97" y="170"/>
                  <a:pt x="94" y="171"/>
                  <a:pt x="92" y="172"/>
                </a:cubicBezTo>
                <a:cubicBezTo>
                  <a:pt x="92" y="172"/>
                  <a:pt x="92" y="172"/>
                  <a:pt x="91" y="172"/>
                </a:cubicBezTo>
                <a:cubicBezTo>
                  <a:pt x="91" y="173"/>
                  <a:pt x="89" y="173"/>
                  <a:pt x="88" y="174"/>
                </a:cubicBezTo>
                <a:cubicBezTo>
                  <a:pt x="87" y="174"/>
                  <a:pt x="87" y="173"/>
                  <a:pt x="86" y="174"/>
                </a:cubicBezTo>
                <a:cubicBezTo>
                  <a:pt x="86" y="173"/>
                  <a:pt x="87" y="172"/>
                  <a:pt x="87" y="172"/>
                </a:cubicBezTo>
                <a:cubicBezTo>
                  <a:pt x="87" y="172"/>
                  <a:pt x="87" y="172"/>
                  <a:pt x="87" y="172"/>
                </a:cubicBezTo>
                <a:cubicBezTo>
                  <a:pt x="88" y="171"/>
                  <a:pt x="90" y="170"/>
                  <a:pt x="91" y="169"/>
                </a:cubicBezTo>
                <a:cubicBezTo>
                  <a:pt x="92" y="170"/>
                  <a:pt x="92" y="170"/>
                  <a:pt x="92" y="170"/>
                </a:cubicBezTo>
                <a:cubicBezTo>
                  <a:pt x="92" y="170"/>
                  <a:pt x="92" y="169"/>
                  <a:pt x="93" y="170"/>
                </a:cubicBezTo>
                <a:cubicBezTo>
                  <a:pt x="92" y="169"/>
                  <a:pt x="91" y="169"/>
                  <a:pt x="90" y="170"/>
                </a:cubicBezTo>
                <a:cubicBezTo>
                  <a:pt x="91" y="169"/>
                  <a:pt x="92" y="169"/>
                  <a:pt x="92" y="168"/>
                </a:cubicBezTo>
                <a:cubicBezTo>
                  <a:pt x="90" y="169"/>
                  <a:pt x="88" y="170"/>
                  <a:pt x="86" y="170"/>
                </a:cubicBezTo>
                <a:cubicBezTo>
                  <a:pt x="86" y="170"/>
                  <a:pt x="86" y="171"/>
                  <a:pt x="86" y="171"/>
                </a:cubicBezTo>
                <a:cubicBezTo>
                  <a:pt x="85" y="171"/>
                  <a:pt x="83" y="172"/>
                  <a:pt x="83" y="172"/>
                </a:cubicBezTo>
                <a:cubicBezTo>
                  <a:pt x="83" y="172"/>
                  <a:pt x="83" y="172"/>
                  <a:pt x="83" y="172"/>
                </a:cubicBezTo>
                <a:cubicBezTo>
                  <a:pt x="82" y="172"/>
                  <a:pt x="82" y="172"/>
                  <a:pt x="82" y="172"/>
                </a:cubicBezTo>
                <a:cubicBezTo>
                  <a:pt x="82" y="172"/>
                  <a:pt x="82" y="172"/>
                  <a:pt x="82" y="172"/>
                </a:cubicBezTo>
                <a:cubicBezTo>
                  <a:pt x="82" y="172"/>
                  <a:pt x="82" y="172"/>
                  <a:pt x="81" y="172"/>
                </a:cubicBezTo>
                <a:cubicBezTo>
                  <a:pt x="82" y="172"/>
                  <a:pt x="82" y="172"/>
                  <a:pt x="82" y="172"/>
                </a:cubicBezTo>
                <a:cubicBezTo>
                  <a:pt x="81" y="172"/>
                  <a:pt x="81" y="172"/>
                  <a:pt x="81" y="173"/>
                </a:cubicBezTo>
                <a:cubicBezTo>
                  <a:pt x="80" y="173"/>
                  <a:pt x="80" y="173"/>
                  <a:pt x="79" y="173"/>
                </a:cubicBezTo>
                <a:cubicBezTo>
                  <a:pt x="79" y="173"/>
                  <a:pt x="79" y="173"/>
                  <a:pt x="79" y="173"/>
                </a:cubicBezTo>
                <a:cubicBezTo>
                  <a:pt x="79" y="173"/>
                  <a:pt x="79" y="173"/>
                  <a:pt x="79" y="174"/>
                </a:cubicBezTo>
                <a:cubicBezTo>
                  <a:pt x="77" y="174"/>
                  <a:pt x="76" y="177"/>
                  <a:pt x="75" y="177"/>
                </a:cubicBezTo>
                <a:cubicBezTo>
                  <a:pt x="75" y="177"/>
                  <a:pt x="76" y="178"/>
                  <a:pt x="76" y="179"/>
                </a:cubicBezTo>
                <a:cubicBezTo>
                  <a:pt x="76" y="179"/>
                  <a:pt x="76" y="179"/>
                  <a:pt x="76" y="179"/>
                </a:cubicBezTo>
                <a:cubicBezTo>
                  <a:pt x="76" y="179"/>
                  <a:pt x="77" y="178"/>
                  <a:pt x="76" y="178"/>
                </a:cubicBezTo>
                <a:cubicBezTo>
                  <a:pt x="77" y="178"/>
                  <a:pt x="77" y="178"/>
                  <a:pt x="77" y="179"/>
                </a:cubicBezTo>
                <a:cubicBezTo>
                  <a:pt x="76" y="179"/>
                  <a:pt x="76" y="179"/>
                  <a:pt x="75" y="179"/>
                </a:cubicBezTo>
                <a:cubicBezTo>
                  <a:pt x="75" y="179"/>
                  <a:pt x="75" y="179"/>
                  <a:pt x="75" y="179"/>
                </a:cubicBezTo>
                <a:cubicBezTo>
                  <a:pt x="75" y="179"/>
                  <a:pt x="74" y="179"/>
                  <a:pt x="74" y="179"/>
                </a:cubicBezTo>
                <a:cubicBezTo>
                  <a:pt x="74" y="179"/>
                  <a:pt x="74" y="179"/>
                  <a:pt x="74" y="179"/>
                </a:cubicBezTo>
                <a:cubicBezTo>
                  <a:pt x="73" y="179"/>
                  <a:pt x="73" y="180"/>
                  <a:pt x="73" y="180"/>
                </a:cubicBezTo>
                <a:cubicBezTo>
                  <a:pt x="71" y="180"/>
                  <a:pt x="69" y="180"/>
                  <a:pt x="68" y="181"/>
                </a:cubicBezTo>
                <a:cubicBezTo>
                  <a:pt x="68" y="181"/>
                  <a:pt x="70" y="181"/>
                  <a:pt x="71" y="180"/>
                </a:cubicBezTo>
                <a:cubicBezTo>
                  <a:pt x="71" y="181"/>
                  <a:pt x="72" y="181"/>
                  <a:pt x="72" y="180"/>
                </a:cubicBezTo>
                <a:cubicBezTo>
                  <a:pt x="71" y="181"/>
                  <a:pt x="68" y="182"/>
                  <a:pt x="67" y="182"/>
                </a:cubicBezTo>
                <a:cubicBezTo>
                  <a:pt x="67" y="183"/>
                  <a:pt x="65" y="185"/>
                  <a:pt x="63" y="186"/>
                </a:cubicBezTo>
                <a:cubicBezTo>
                  <a:pt x="64" y="185"/>
                  <a:pt x="63" y="185"/>
                  <a:pt x="63" y="185"/>
                </a:cubicBezTo>
                <a:cubicBezTo>
                  <a:pt x="62" y="186"/>
                  <a:pt x="63" y="186"/>
                  <a:pt x="63" y="187"/>
                </a:cubicBezTo>
                <a:cubicBezTo>
                  <a:pt x="63" y="187"/>
                  <a:pt x="62" y="188"/>
                  <a:pt x="62" y="189"/>
                </a:cubicBezTo>
                <a:cubicBezTo>
                  <a:pt x="61" y="189"/>
                  <a:pt x="62" y="188"/>
                  <a:pt x="62" y="188"/>
                </a:cubicBezTo>
                <a:cubicBezTo>
                  <a:pt x="61" y="189"/>
                  <a:pt x="61" y="190"/>
                  <a:pt x="60" y="191"/>
                </a:cubicBezTo>
                <a:cubicBezTo>
                  <a:pt x="60" y="190"/>
                  <a:pt x="60" y="189"/>
                  <a:pt x="61" y="189"/>
                </a:cubicBezTo>
                <a:cubicBezTo>
                  <a:pt x="60" y="189"/>
                  <a:pt x="61" y="188"/>
                  <a:pt x="60" y="188"/>
                </a:cubicBezTo>
                <a:cubicBezTo>
                  <a:pt x="60" y="187"/>
                  <a:pt x="60" y="187"/>
                  <a:pt x="61" y="187"/>
                </a:cubicBezTo>
                <a:cubicBezTo>
                  <a:pt x="60" y="187"/>
                  <a:pt x="60" y="186"/>
                  <a:pt x="61" y="186"/>
                </a:cubicBezTo>
                <a:cubicBezTo>
                  <a:pt x="60" y="186"/>
                  <a:pt x="60" y="186"/>
                  <a:pt x="60" y="186"/>
                </a:cubicBezTo>
                <a:cubicBezTo>
                  <a:pt x="61" y="185"/>
                  <a:pt x="61" y="185"/>
                  <a:pt x="62" y="185"/>
                </a:cubicBezTo>
                <a:cubicBezTo>
                  <a:pt x="61" y="185"/>
                  <a:pt x="59" y="186"/>
                  <a:pt x="60" y="188"/>
                </a:cubicBezTo>
                <a:cubicBezTo>
                  <a:pt x="60" y="189"/>
                  <a:pt x="59" y="188"/>
                  <a:pt x="59" y="188"/>
                </a:cubicBezTo>
                <a:cubicBezTo>
                  <a:pt x="60" y="189"/>
                  <a:pt x="60" y="189"/>
                  <a:pt x="60" y="189"/>
                </a:cubicBezTo>
                <a:cubicBezTo>
                  <a:pt x="59" y="189"/>
                  <a:pt x="59" y="190"/>
                  <a:pt x="59" y="190"/>
                </a:cubicBezTo>
                <a:cubicBezTo>
                  <a:pt x="59" y="190"/>
                  <a:pt x="59" y="190"/>
                  <a:pt x="59" y="190"/>
                </a:cubicBezTo>
                <a:cubicBezTo>
                  <a:pt x="58" y="190"/>
                  <a:pt x="59" y="191"/>
                  <a:pt x="59" y="191"/>
                </a:cubicBezTo>
                <a:cubicBezTo>
                  <a:pt x="58" y="191"/>
                  <a:pt x="58" y="191"/>
                  <a:pt x="58" y="191"/>
                </a:cubicBezTo>
                <a:cubicBezTo>
                  <a:pt x="57" y="191"/>
                  <a:pt x="58" y="191"/>
                  <a:pt x="58" y="191"/>
                </a:cubicBezTo>
                <a:cubicBezTo>
                  <a:pt x="59" y="191"/>
                  <a:pt x="59" y="191"/>
                  <a:pt x="59" y="191"/>
                </a:cubicBezTo>
                <a:cubicBezTo>
                  <a:pt x="59" y="192"/>
                  <a:pt x="60" y="193"/>
                  <a:pt x="60" y="194"/>
                </a:cubicBezTo>
                <a:cubicBezTo>
                  <a:pt x="59" y="194"/>
                  <a:pt x="59" y="194"/>
                  <a:pt x="59" y="193"/>
                </a:cubicBezTo>
                <a:cubicBezTo>
                  <a:pt x="58" y="193"/>
                  <a:pt x="58" y="193"/>
                  <a:pt x="58" y="194"/>
                </a:cubicBezTo>
                <a:cubicBezTo>
                  <a:pt x="58" y="194"/>
                  <a:pt x="58" y="194"/>
                  <a:pt x="58" y="194"/>
                </a:cubicBezTo>
                <a:cubicBezTo>
                  <a:pt x="58" y="194"/>
                  <a:pt x="58" y="194"/>
                  <a:pt x="58" y="194"/>
                </a:cubicBezTo>
                <a:cubicBezTo>
                  <a:pt x="58" y="195"/>
                  <a:pt x="59" y="194"/>
                  <a:pt x="59" y="194"/>
                </a:cubicBezTo>
                <a:cubicBezTo>
                  <a:pt x="59" y="195"/>
                  <a:pt x="58" y="196"/>
                  <a:pt x="57" y="195"/>
                </a:cubicBezTo>
                <a:cubicBezTo>
                  <a:pt x="57" y="196"/>
                  <a:pt x="57" y="196"/>
                  <a:pt x="57" y="196"/>
                </a:cubicBezTo>
                <a:cubicBezTo>
                  <a:pt x="57" y="196"/>
                  <a:pt x="57" y="196"/>
                  <a:pt x="56" y="196"/>
                </a:cubicBezTo>
                <a:cubicBezTo>
                  <a:pt x="56" y="197"/>
                  <a:pt x="57" y="196"/>
                  <a:pt x="57" y="197"/>
                </a:cubicBezTo>
                <a:cubicBezTo>
                  <a:pt x="57" y="197"/>
                  <a:pt x="57" y="197"/>
                  <a:pt x="57" y="197"/>
                </a:cubicBezTo>
                <a:cubicBezTo>
                  <a:pt x="56" y="197"/>
                  <a:pt x="53" y="198"/>
                  <a:pt x="53" y="199"/>
                </a:cubicBezTo>
                <a:cubicBezTo>
                  <a:pt x="50" y="199"/>
                  <a:pt x="50" y="202"/>
                  <a:pt x="48" y="202"/>
                </a:cubicBezTo>
                <a:cubicBezTo>
                  <a:pt x="47" y="203"/>
                  <a:pt x="46" y="203"/>
                  <a:pt x="45" y="203"/>
                </a:cubicBezTo>
                <a:cubicBezTo>
                  <a:pt x="39" y="207"/>
                  <a:pt x="46" y="219"/>
                  <a:pt x="42" y="223"/>
                </a:cubicBezTo>
                <a:cubicBezTo>
                  <a:pt x="41" y="223"/>
                  <a:pt x="42" y="223"/>
                  <a:pt x="42" y="222"/>
                </a:cubicBezTo>
                <a:cubicBezTo>
                  <a:pt x="41" y="222"/>
                  <a:pt x="40" y="223"/>
                  <a:pt x="40" y="222"/>
                </a:cubicBezTo>
                <a:cubicBezTo>
                  <a:pt x="41" y="222"/>
                  <a:pt x="40" y="222"/>
                  <a:pt x="41" y="222"/>
                </a:cubicBezTo>
                <a:cubicBezTo>
                  <a:pt x="40" y="222"/>
                  <a:pt x="40" y="221"/>
                  <a:pt x="40" y="221"/>
                </a:cubicBezTo>
                <a:cubicBezTo>
                  <a:pt x="39" y="220"/>
                  <a:pt x="39" y="220"/>
                  <a:pt x="39" y="220"/>
                </a:cubicBezTo>
                <a:cubicBezTo>
                  <a:pt x="39" y="220"/>
                  <a:pt x="39" y="220"/>
                  <a:pt x="39" y="219"/>
                </a:cubicBezTo>
                <a:cubicBezTo>
                  <a:pt x="39" y="219"/>
                  <a:pt x="39" y="219"/>
                  <a:pt x="39" y="219"/>
                </a:cubicBezTo>
                <a:cubicBezTo>
                  <a:pt x="39" y="219"/>
                  <a:pt x="39" y="218"/>
                  <a:pt x="39" y="218"/>
                </a:cubicBezTo>
                <a:cubicBezTo>
                  <a:pt x="39" y="218"/>
                  <a:pt x="39" y="218"/>
                  <a:pt x="39" y="218"/>
                </a:cubicBezTo>
                <a:cubicBezTo>
                  <a:pt x="38" y="218"/>
                  <a:pt x="38" y="217"/>
                  <a:pt x="38" y="216"/>
                </a:cubicBezTo>
                <a:cubicBezTo>
                  <a:pt x="38" y="216"/>
                  <a:pt x="39" y="216"/>
                  <a:pt x="38" y="215"/>
                </a:cubicBezTo>
                <a:cubicBezTo>
                  <a:pt x="38" y="216"/>
                  <a:pt x="38" y="216"/>
                  <a:pt x="38" y="216"/>
                </a:cubicBezTo>
                <a:cubicBezTo>
                  <a:pt x="39" y="212"/>
                  <a:pt x="38" y="208"/>
                  <a:pt x="33" y="210"/>
                </a:cubicBezTo>
                <a:cubicBezTo>
                  <a:pt x="34" y="210"/>
                  <a:pt x="33" y="210"/>
                  <a:pt x="33" y="209"/>
                </a:cubicBezTo>
                <a:cubicBezTo>
                  <a:pt x="32" y="209"/>
                  <a:pt x="32" y="209"/>
                  <a:pt x="31" y="209"/>
                </a:cubicBezTo>
                <a:cubicBezTo>
                  <a:pt x="32" y="208"/>
                  <a:pt x="32" y="208"/>
                  <a:pt x="32" y="208"/>
                </a:cubicBezTo>
                <a:cubicBezTo>
                  <a:pt x="31" y="208"/>
                  <a:pt x="30" y="209"/>
                  <a:pt x="30" y="209"/>
                </a:cubicBezTo>
                <a:cubicBezTo>
                  <a:pt x="30" y="208"/>
                  <a:pt x="30" y="208"/>
                  <a:pt x="30" y="208"/>
                </a:cubicBezTo>
                <a:cubicBezTo>
                  <a:pt x="29" y="208"/>
                  <a:pt x="29" y="209"/>
                  <a:pt x="28" y="209"/>
                </a:cubicBezTo>
                <a:cubicBezTo>
                  <a:pt x="28" y="209"/>
                  <a:pt x="28" y="209"/>
                  <a:pt x="28" y="208"/>
                </a:cubicBezTo>
                <a:cubicBezTo>
                  <a:pt x="27" y="209"/>
                  <a:pt x="25" y="209"/>
                  <a:pt x="23" y="209"/>
                </a:cubicBezTo>
                <a:cubicBezTo>
                  <a:pt x="22" y="209"/>
                  <a:pt x="22" y="209"/>
                  <a:pt x="22" y="209"/>
                </a:cubicBezTo>
                <a:cubicBezTo>
                  <a:pt x="23" y="210"/>
                  <a:pt x="23" y="209"/>
                  <a:pt x="24" y="209"/>
                </a:cubicBezTo>
                <a:cubicBezTo>
                  <a:pt x="24" y="210"/>
                  <a:pt x="24" y="210"/>
                  <a:pt x="24" y="210"/>
                </a:cubicBezTo>
                <a:cubicBezTo>
                  <a:pt x="24" y="210"/>
                  <a:pt x="24" y="209"/>
                  <a:pt x="24" y="209"/>
                </a:cubicBezTo>
                <a:cubicBezTo>
                  <a:pt x="24" y="210"/>
                  <a:pt x="24" y="210"/>
                  <a:pt x="24" y="210"/>
                </a:cubicBezTo>
                <a:cubicBezTo>
                  <a:pt x="24" y="210"/>
                  <a:pt x="24" y="210"/>
                  <a:pt x="24" y="210"/>
                </a:cubicBezTo>
                <a:cubicBezTo>
                  <a:pt x="24" y="211"/>
                  <a:pt x="24" y="211"/>
                  <a:pt x="24" y="210"/>
                </a:cubicBezTo>
                <a:cubicBezTo>
                  <a:pt x="24" y="211"/>
                  <a:pt x="25" y="211"/>
                  <a:pt x="25" y="212"/>
                </a:cubicBezTo>
                <a:cubicBezTo>
                  <a:pt x="24" y="212"/>
                  <a:pt x="24" y="212"/>
                  <a:pt x="24" y="212"/>
                </a:cubicBezTo>
                <a:cubicBezTo>
                  <a:pt x="24" y="211"/>
                  <a:pt x="23" y="211"/>
                  <a:pt x="23" y="211"/>
                </a:cubicBezTo>
                <a:cubicBezTo>
                  <a:pt x="23" y="211"/>
                  <a:pt x="23" y="212"/>
                  <a:pt x="22" y="212"/>
                </a:cubicBezTo>
                <a:cubicBezTo>
                  <a:pt x="22" y="212"/>
                  <a:pt x="22" y="211"/>
                  <a:pt x="22" y="211"/>
                </a:cubicBezTo>
                <a:cubicBezTo>
                  <a:pt x="21" y="212"/>
                  <a:pt x="20" y="212"/>
                  <a:pt x="20" y="211"/>
                </a:cubicBezTo>
                <a:cubicBezTo>
                  <a:pt x="20" y="211"/>
                  <a:pt x="20" y="211"/>
                  <a:pt x="20" y="211"/>
                </a:cubicBezTo>
                <a:cubicBezTo>
                  <a:pt x="20" y="211"/>
                  <a:pt x="19" y="211"/>
                  <a:pt x="19" y="210"/>
                </a:cubicBezTo>
                <a:cubicBezTo>
                  <a:pt x="19" y="210"/>
                  <a:pt x="19" y="210"/>
                  <a:pt x="19" y="210"/>
                </a:cubicBezTo>
                <a:cubicBezTo>
                  <a:pt x="18" y="210"/>
                  <a:pt x="18" y="210"/>
                  <a:pt x="18" y="211"/>
                </a:cubicBezTo>
                <a:cubicBezTo>
                  <a:pt x="16" y="210"/>
                  <a:pt x="14" y="210"/>
                  <a:pt x="12" y="211"/>
                </a:cubicBezTo>
                <a:cubicBezTo>
                  <a:pt x="12" y="211"/>
                  <a:pt x="13" y="211"/>
                  <a:pt x="12" y="211"/>
                </a:cubicBezTo>
                <a:cubicBezTo>
                  <a:pt x="12" y="211"/>
                  <a:pt x="12" y="211"/>
                  <a:pt x="12" y="210"/>
                </a:cubicBezTo>
                <a:cubicBezTo>
                  <a:pt x="12" y="210"/>
                  <a:pt x="12" y="211"/>
                  <a:pt x="12" y="210"/>
                </a:cubicBezTo>
                <a:cubicBezTo>
                  <a:pt x="12" y="211"/>
                  <a:pt x="12" y="211"/>
                  <a:pt x="12" y="211"/>
                </a:cubicBezTo>
                <a:cubicBezTo>
                  <a:pt x="11" y="212"/>
                  <a:pt x="11" y="212"/>
                  <a:pt x="11" y="212"/>
                </a:cubicBezTo>
                <a:cubicBezTo>
                  <a:pt x="11" y="212"/>
                  <a:pt x="12" y="212"/>
                  <a:pt x="12" y="211"/>
                </a:cubicBezTo>
                <a:cubicBezTo>
                  <a:pt x="11" y="212"/>
                  <a:pt x="10" y="213"/>
                  <a:pt x="9" y="214"/>
                </a:cubicBezTo>
                <a:cubicBezTo>
                  <a:pt x="8" y="213"/>
                  <a:pt x="8" y="214"/>
                  <a:pt x="8" y="213"/>
                </a:cubicBezTo>
                <a:cubicBezTo>
                  <a:pt x="8" y="214"/>
                  <a:pt x="8" y="214"/>
                  <a:pt x="8" y="214"/>
                </a:cubicBezTo>
                <a:cubicBezTo>
                  <a:pt x="7" y="214"/>
                  <a:pt x="6" y="215"/>
                  <a:pt x="6" y="215"/>
                </a:cubicBezTo>
                <a:cubicBezTo>
                  <a:pt x="6" y="215"/>
                  <a:pt x="6" y="215"/>
                  <a:pt x="6" y="215"/>
                </a:cubicBezTo>
                <a:cubicBezTo>
                  <a:pt x="6" y="215"/>
                  <a:pt x="6" y="215"/>
                  <a:pt x="6" y="215"/>
                </a:cubicBezTo>
                <a:cubicBezTo>
                  <a:pt x="6" y="215"/>
                  <a:pt x="5" y="216"/>
                  <a:pt x="5" y="217"/>
                </a:cubicBezTo>
                <a:cubicBezTo>
                  <a:pt x="5" y="217"/>
                  <a:pt x="5" y="217"/>
                  <a:pt x="4" y="217"/>
                </a:cubicBezTo>
                <a:cubicBezTo>
                  <a:pt x="5" y="217"/>
                  <a:pt x="5" y="217"/>
                  <a:pt x="5" y="217"/>
                </a:cubicBezTo>
                <a:cubicBezTo>
                  <a:pt x="5" y="217"/>
                  <a:pt x="5" y="221"/>
                  <a:pt x="4" y="219"/>
                </a:cubicBezTo>
                <a:cubicBezTo>
                  <a:pt x="4" y="219"/>
                  <a:pt x="4" y="219"/>
                  <a:pt x="4" y="219"/>
                </a:cubicBezTo>
                <a:cubicBezTo>
                  <a:pt x="4" y="221"/>
                  <a:pt x="4" y="222"/>
                  <a:pt x="3" y="224"/>
                </a:cubicBezTo>
                <a:cubicBezTo>
                  <a:pt x="2" y="223"/>
                  <a:pt x="3" y="224"/>
                  <a:pt x="3" y="224"/>
                </a:cubicBezTo>
                <a:cubicBezTo>
                  <a:pt x="2" y="224"/>
                  <a:pt x="2" y="224"/>
                  <a:pt x="2" y="224"/>
                </a:cubicBezTo>
                <a:cubicBezTo>
                  <a:pt x="3" y="226"/>
                  <a:pt x="0" y="230"/>
                  <a:pt x="1" y="232"/>
                </a:cubicBezTo>
                <a:cubicBezTo>
                  <a:pt x="2" y="232"/>
                  <a:pt x="1" y="232"/>
                  <a:pt x="1" y="231"/>
                </a:cubicBezTo>
                <a:cubicBezTo>
                  <a:pt x="2" y="231"/>
                  <a:pt x="2" y="232"/>
                  <a:pt x="2" y="232"/>
                </a:cubicBezTo>
                <a:cubicBezTo>
                  <a:pt x="1" y="234"/>
                  <a:pt x="4" y="236"/>
                  <a:pt x="4" y="239"/>
                </a:cubicBezTo>
                <a:cubicBezTo>
                  <a:pt x="5" y="239"/>
                  <a:pt x="7" y="239"/>
                  <a:pt x="7" y="241"/>
                </a:cubicBezTo>
                <a:cubicBezTo>
                  <a:pt x="9" y="241"/>
                  <a:pt x="11" y="239"/>
                  <a:pt x="13" y="240"/>
                </a:cubicBezTo>
                <a:cubicBezTo>
                  <a:pt x="13" y="239"/>
                  <a:pt x="14" y="239"/>
                  <a:pt x="14" y="239"/>
                </a:cubicBezTo>
                <a:cubicBezTo>
                  <a:pt x="13" y="240"/>
                  <a:pt x="13" y="240"/>
                  <a:pt x="13" y="240"/>
                </a:cubicBezTo>
                <a:cubicBezTo>
                  <a:pt x="13" y="240"/>
                  <a:pt x="14" y="240"/>
                  <a:pt x="15" y="239"/>
                </a:cubicBezTo>
                <a:cubicBezTo>
                  <a:pt x="14" y="239"/>
                  <a:pt x="14" y="239"/>
                  <a:pt x="14" y="239"/>
                </a:cubicBezTo>
                <a:cubicBezTo>
                  <a:pt x="16" y="239"/>
                  <a:pt x="16" y="237"/>
                  <a:pt x="17" y="236"/>
                </a:cubicBezTo>
                <a:cubicBezTo>
                  <a:pt x="17" y="231"/>
                  <a:pt x="22" y="232"/>
                  <a:pt x="25" y="232"/>
                </a:cubicBezTo>
                <a:cubicBezTo>
                  <a:pt x="27" y="234"/>
                  <a:pt x="24" y="235"/>
                  <a:pt x="23" y="237"/>
                </a:cubicBezTo>
                <a:cubicBezTo>
                  <a:pt x="24" y="237"/>
                  <a:pt x="24" y="237"/>
                  <a:pt x="24" y="237"/>
                </a:cubicBezTo>
                <a:cubicBezTo>
                  <a:pt x="24" y="237"/>
                  <a:pt x="23" y="238"/>
                  <a:pt x="23" y="238"/>
                </a:cubicBezTo>
                <a:cubicBezTo>
                  <a:pt x="23" y="238"/>
                  <a:pt x="23" y="238"/>
                  <a:pt x="23" y="238"/>
                </a:cubicBezTo>
                <a:cubicBezTo>
                  <a:pt x="23" y="239"/>
                  <a:pt x="23" y="240"/>
                  <a:pt x="22" y="241"/>
                </a:cubicBezTo>
                <a:cubicBezTo>
                  <a:pt x="22" y="240"/>
                  <a:pt x="22" y="240"/>
                  <a:pt x="22" y="239"/>
                </a:cubicBezTo>
                <a:cubicBezTo>
                  <a:pt x="22" y="239"/>
                  <a:pt x="21" y="240"/>
                  <a:pt x="21" y="240"/>
                </a:cubicBezTo>
                <a:cubicBezTo>
                  <a:pt x="22" y="240"/>
                  <a:pt x="22" y="240"/>
                  <a:pt x="22" y="240"/>
                </a:cubicBezTo>
                <a:cubicBezTo>
                  <a:pt x="21" y="242"/>
                  <a:pt x="21" y="245"/>
                  <a:pt x="19" y="247"/>
                </a:cubicBezTo>
                <a:cubicBezTo>
                  <a:pt x="20" y="247"/>
                  <a:pt x="20" y="247"/>
                  <a:pt x="20" y="247"/>
                </a:cubicBezTo>
                <a:cubicBezTo>
                  <a:pt x="20" y="247"/>
                  <a:pt x="20" y="247"/>
                  <a:pt x="20" y="247"/>
                </a:cubicBezTo>
                <a:cubicBezTo>
                  <a:pt x="21" y="247"/>
                  <a:pt x="21" y="247"/>
                  <a:pt x="21" y="247"/>
                </a:cubicBezTo>
                <a:cubicBezTo>
                  <a:pt x="21" y="247"/>
                  <a:pt x="21" y="247"/>
                  <a:pt x="22" y="247"/>
                </a:cubicBezTo>
                <a:cubicBezTo>
                  <a:pt x="23" y="247"/>
                  <a:pt x="25" y="247"/>
                  <a:pt x="26" y="246"/>
                </a:cubicBezTo>
                <a:cubicBezTo>
                  <a:pt x="27" y="247"/>
                  <a:pt x="28" y="246"/>
                  <a:pt x="29" y="247"/>
                </a:cubicBezTo>
                <a:cubicBezTo>
                  <a:pt x="30" y="247"/>
                  <a:pt x="31" y="248"/>
                  <a:pt x="32" y="249"/>
                </a:cubicBezTo>
                <a:cubicBezTo>
                  <a:pt x="31" y="249"/>
                  <a:pt x="31" y="249"/>
                  <a:pt x="31" y="249"/>
                </a:cubicBezTo>
                <a:cubicBezTo>
                  <a:pt x="31" y="252"/>
                  <a:pt x="31" y="255"/>
                  <a:pt x="30" y="257"/>
                </a:cubicBezTo>
                <a:cubicBezTo>
                  <a:pt x="30" y="258"/>
                  <a:pt x="30" y="258"/>
                  <a:pt x="29" y="259"/>
                </a:cubicBezTo>
                <a:cubicBezTo>
                  <a:pt x="30" y="261"/>
                  <a:pt x="31" y="263"/>
                  <a:pt x="33" y="264"/>
                </a:cubicBezTo>
                <a:cubicBezTo>
                  <a:pt x="33" y="264"/>
                  <a:pt x="33" y="264"/>
                  <a:pt x="33" y="265"/>
                </a:cubicBezTo>
                <a:cubicBezTo>
                  <a:pt x="33" y="265"/>
                  <a:pt x="33" y="265"/>
                  <a:pt x="34" y="265"/>
                </a:cubicBezTo>
                <a:cubicBezTo>
                  <a:pt x="34" y="265"/>
                  <a:pt x="33" y="265"/>
                  <a:pt x="34" y="264"/>
                </a:cubicBezTo>
                <a:cubicBezTo>
                  <a:pt x="34" y="265"/>
                  <a:pt x="34" y="265"/>
                  <a:pt x="34" y="265"/>
                </a:cubicBezTo>
                <a:cubicBezTo>
                  <a:pt x="36" y="265"/>
                  <a:pt x="38" y="264"/>
                  <a:pt x="39" y="263"/>
                </a:cubicBezTo>
                <a:cubicBezTo>
                  <a:pt x="39" y="263"/>
                  <a:pt x="40" y="263"/>
                  <a:pt x="40" y="264"/>
                </a:cubicBezTo>
                <a:cubicBezTo>
                  <a:pt x="43" y="264"/>
                  <a:pt x="44" y="266"/>
                  <a:pt x="45" y="267"/>
                </a:cubicBezTo>
                <a:cubicBezTo>
                  <a:pt x="45" y="267"/>
                  <a:pt x="45" y="266"/>
                  <a:pt x="45" y="266"/>
                </a:cubicBezTo>
                <a:cubicBezTo>
                  <a:pt x="47" y="266"/>
                  <a:pt x="46" y="264"/>
                  <a:pt x="48" y="264"/>
                </a:cubicBezTo>
                <a:cubicBezTo>
                  <a:pt x="48" y="262"/>
                  <a:pt x="48" y="261"/>
                  <a:pt x="50" y="259"/>
                </a:cubicBezTo>
                <a:cubicBezTo>
                  <a:pt x="51" y="259"/>
                  <a:pt x="51" y="260"/>
                  <a:pt x="51" y="260"/>
                </a:cubicBezTo>
                <a:cubicBezTo>
                  <a:pt x="51" y="260"/>
                  <a:pt x="51" y="260"/>
                  <a:pt x="51" y="260"/>
                </a:cubicBezTo>
                <a:cubicBezTo>
                  <a:pt x="51" y="260"/>
                  <a:pt x="51" y="259"/>
                  <a:pt x="52" y="259"/>
                </a:cubicBezTo>
                <a:cubicBezTo>
                  <a:pt x="54" y="259"/>
                  <a:pt x="56" y="258"/>
                  <a:pt x="57" y="256"/>
                </a:cubicBezTo>
                <a:cubicBezTo>
                  <a:pt x="57" y="256"/>
                  <a:pt x="57" y="256"/>
                  <a:pt x="58" y="256"/>
                </a:cubicBezTo>
                <a:cubicBezTo>
                  <a:pt x="58" y="256"/>
                  <a:pt x="59" y="256"/>
                  <a:pt x="59" y="257"/>
                </a:cubicBezTo>
                <a:cubicBezTo>
                  <a:pt x="59" y="258"/>
                  <a:pt x="58" y="258"/>
                  <a:pt x="57" y="258"/>
                </a:cubicBezTo>
                <a:cubicBezTo>
                  <a:pt x="57" y="259"/>
                  <a:pt x="58" y="259"/>
                  <a:pt x="58" y="260"/>
                </a:cubicBezTo>
                <a:cubicBezTo>
                  <a:pt x="58" y="259"/>
                  <a:pt x="61" y="258"/>
                  <a:pt x="62" y="258"/>
                </a:cubicBezTo>
                <a:cubicBezTo>
                  <a:pt x="62" y="258"/>
                  <a:pt x="62" y="258"/>
                  <a:pt x="62" y="258"/>
                </a:cubicBezTo>
                <a:cubicBezTo>
                  <a:pt x="61" y="258"/>
                  <a:pt x="61" y="258"/>
                  <a:pt x="61" y="258"/>
                </a:cubicBezTo>
                <a:cubicBezTo>
                  <a:pt x="60" y="258"/>
                  <a:pt x="61" y="256"/>
                  <a:pt x="62" y="256"/>
                </a:cubicBezTo>
                <a:cubicBezTo>
                  <a:pt x="62" y="257"/>
                  <a:pt x="62" y="258"/>
                  <a:pt x="62" y="258"/>
                </a:cubicBezTo>
                <a:cubicBezTo>
                  <a:pt x="65" y="258"/>
                  <a:pt x="65" y="260"/>
                  <a:pt x="66" y="261"/>
                </a:cubicBezTo>
                <a:cubicBezTo>
                  <a:pt x="67" y="261"/>
                  <a:pt x="68" y="260"/>
                  <a:pt x="70" y="261"/>
                </a:cubicBezTo>
                <a:cubicBezTo>
                  <a:pt x="71" y="263"/>
                  <a:pt x="74" y="261"/>
                  <a:pt x="76" y="261"/>
                </a:cubicBezTo>
                <a:cubicBezTo>
                  <a:pt x="76" y="261"/>
                  <a:pt x="74" y="261"/>
                  <a:pt x="75" y="261"/>
                </a:cubicBezTo>
                <a:cubicBezTo>
                  <a:pt x="76" y="260"/>
                  <a:pt x="78" y="260"/>
                  <a:pt x="80" y="260"/>
                </a:cubicBezTo>
                <a:cubicBezTo>
                  <a:pt x="80" y="261"/>
                  <a:pt x="79" y="261"/>
                  <a:pt x="78" y="261"/>
                </a:cubicBezTo>
                <a:cubicBezTo>
                  <a:pt x="78" y="262"/>
                  <a:pt x="79" y="262"/>
                  <a:pt x="79" y="263"/>
                </a:cubicBezTo>
                <a:cubicBezTo>
                  <a:pt x="79" y="263"/>
                  <a:pt x="79" y="262"/>
                  <a:pt x="79" y="262"/>
                </a:cubicBezTo>
                <a:cubicBezTo>
                  <a:pt x="80" y="262"/>
                  <a:pt x="80" y="263"/>
                  <a:pt x="81" y="263"/>
                </a:cubicBezTo>
                <a:cubicBezTo>
                  <a:pt x="81" y="263"/>
                  <a:pt x="82" y="263"/>
                  <a:pt x="82" y="264"/>
                </a:cubicBezTo>
                <a:cubicBezTo>
                  <a:pt x="82" y="264"/>
                  <a:pt x="82" y="265"/>
                  <a:pt x="82" y="265"/>
                </a:cubicBezTo>
                <a:cubicBezTo>
                  <a:pt x="82" y="266"/>
                  <a:pt x="82" y="265"/>
                  <a:pt x="82" y="265"/>
                </a:cubicBezTo>
                <a:cubicBezTo>
                  <a:pt x="82" y="265"/>
                  <a:pt x="82" y="265"/>
                  <a:pt x="82" y="265"/>
                </a:cubicBezTo>
                <a:cubicBezTo>
                  <a:pt x="82" y="265"/>
                  <a:pt x="82" y="265"/>
                  <a:pt x="82" y="265"/>
                </a:cubicBezTo>
                <a:cubicBezTo>
                  <a:pt x="82" y="265"/>
                  <a:pt x="82" y="265"/>
                  <a:pt x="82" y="265"/>
                </a:cubicBezTo>
                <a:cubicBezTo>
                  <a:pt x="83" y="266"/>
                  <a:pt x="83" y="266"/>
                  <a:pt x="83" y="266"/>
                </a:cubicBezTo>
                <a:cubicBezTo>
                  <a:pt x="85" y="266"/>
                  <a:pt x="88" y="268"/>
                  <a:pt x="87" y="271"/>
                </a:cubicBezTo>
                <a:cubicBezTo>
                  <a:pt x="89" y="270"/>
                  <a:pt x="90" y="272"/>
                  <a:pt x="91" y="273"/>
                </a:cubicBezTo>
                <a:cubicBezTo>
                  <a:pt x="91" y="273"/>
                  <a:pt x="93" y="273"/>
                  <a:pt x="93" y="273"/>
                </a:cubicBezTo>
                <a:cubicBezTo>
                  <a:pt x="93" y="273"/>
                  <a:pt x="95" y="273"/>
                  <a:pt x="95" y="273"/>
                </a:cubicBezTo>
                <a:cubicBezTo>
                  <a:pt x="98" y="272"/>
                  <a:pt x="101" y="275"/>
                  <a:pt x="103" y="276"/>
                </a:cubicBezTo>
                <a:cubicBezTo>
                  <a:pt x="103" y="277"/>
                  <a:pt x="103" y="277"/>
                  <a:pt x="103" y="278"/>
                </a:cubicBezTo>
                <a:cubicBezTo>
                  <a:pt x="103" y="277"/>
                  <a:pt x="103" y="277"/>
                  <a:pt x="103" y="277"/>
                </a:cubicBezTo>
                <a:cubicBezTo>
                  <a:pt x="105" y="278"/>
                  <a:pt x="104" y="282"/>
                  <a:pt x="106" y="283"/>
                </a:cubicBezTo>
                <a:cubicBezTo>
                  <a:pt x="106" y="283"/>
                  <a:pt x="105" y="283"/>
                  <a:pt x="106" y="283"/>
                </a:cubicBezTo>
                <a:cubicBezTo>
                  <a:pt x="106" y="283"/>
                  <a:pt x="106" y="283"/>
                  <a:pt x="106" y="284"/>
                </a:cubicBezTo>
                <a:cubicBezTo>
                  <a:pt x="107" y="284"/>
                  <a:pt x="107" y="284"/>
                  <a:pt x="107" y="284"/>
                </a:cubicBezTo>
                <a:cubicBezTo>
                  <a:pt x="107" y="285"/>
                  <a:pt x="107" y="286"/>
                  <a:pt x="107" y="286"/>
                </a:cubicBezTo>
                <a:cubicBezTo>
                  <a:pt x="107" y="286"/>
                  <a:pt x="107" y="286"/>
                  <a:pt x="107" y="286"/>
                </a:cubicBezTo>
                <a:cubicBezTo>
                  <a:pt x="106" y="287"/>
                  <a:pt x="106" y="286"/>
                  <a:pt x="106" y="287"/>
                </a:cubicBezTo>
                <a:cubicBezTo>
                  <a:pt x="107" y="287"/>
                  <a:pt x="107" y="287"/>
                  <a:pt x="107" y="287"/>
                </a:cubicBezTo>
                <a:cubicBezTo>
                  <a:pt x="107" y="287"/>
                  <a:pt x="106" y="288"/>
                  <a:pt x="106" y="288"/>
                </a:cubicBezTo>
                <a:cubicBezTo>
                  <a:pt x="107" y="288"/>
                  <a:pt x="107" y="288"/>
                  <a:pt x="108" y="288"/>
                </a:cubicBezTo>
                <a:cubicBezTo>
                  <a:pt x="108" y="288"/>
                  <a:pt x="107" y="288"/>
                  <a:pt x="107" y="289"/>
                </a:cubicBezTo>
                <a:cubicBezTo>
                  <a:pt x="106" y="288"/>
                  <a:pt x="106" y="288"/>
                  <a:pt x="106" y="288"/>
                </a:cubicBezTo>
                <a:cubicBezTo>
                  <a:pt x="105" y="289"/>
                  <a:pt x="105" y="289"/>
                  <a:pt x="104" y="289"/>
                </a:cubicBezTo>
                <a:cubicBezTo>
                  <a:pt x="104" y="289"/>
                  <a:pt x="105" y="289"/>
                  <a:pt x="105" y="289"/>
                </a:cubicBezTo>
                <a:cubicBezTo>
                  <a:pt x="105" y="288"/>
                  <a:pt x="106" y="288"/>
                  <a:pt x="106" y="287"/>
                </a:cubicBezTo>
                <a:cubicBezTo>
                  <a:pt x="105" y="288"/>
                  <a:pt x="104" y="290"/>
                  <a:pt x="103" y="290"/>
                </a:cubicBezTo>
                <a:cubicBezTo>
                  <a:pt x="103" y="291"/>
                  <a:pt x="103" y="290"/>
                  <a:pt x="104" y="290"/>
                </a:cubicBezTo>
                <a:cubicBezTo>
                  <a:pt x="104" y="291"/>
                  <a:pt x="104" y="291"/>
                  <a:pt x="104" y="291"/>
                </a:cubicBezTo>
                <a:cubicBezTo>
                  <a:pt x="104" y="290"/>
                  <a:pt x="105" y="290"/>
                  <a:pt x="105" y="290"/>
                </a:cubicBezTo>
                <a:cubicBezTo>
                  <a:pt x="105" y="289"/>
                  <a:pt x="105" y="289"/>
                  <a:pt x="106" y="289"/>
                </a:cubicBezTo>
                <a:cubicBezTo>
                  <a:pt x="108" y="289"/>
                  <a:pt x="109" y="289"/>
                  <a:pt x="111" y="289"/>
                </a:cubicBezTo>
                <a:cubicBezTo>
                  <a:pt x="110" y="292"/>
                  <a:pt x="108" y="293"/>
                  <a:pt x="106" y="293"/>
                </a:cubicBezTo>
                <a:cubicBezTo>
                  <a:pt x="107" y="293"/>
                  <a:pt x="108" y="294"/>
                  <a:pt x="109" y="293"/>
                </a:cubicBezTo>
                <a:cubicBezTo>
                  <a:pt x="108" y="294"/>
                  <a:pt x="108" y="294"/>
                  <a:pt x="108" y="295"/>
                </a:cubicBezTo>
                <a:cubicBezTo>
                  <a:pt x="109" y="294"/>
                  <a:pt x="109" y="292"/>
                  <a:pt x="110" y="293"/>
                </a:cubicBezTo>
                <a:cubicBezTo>
                  <a:pt x="111" y="291"/>
                  <a:pt x="111" y="290"/>
                  <a:pt x="113" y="290"/>
                </a:cubicBezTo>
                <a:cubicBezTo>
                  <a:pt x="114" y="290"/>
                  <a:pt x="115" y="291"/>
                  <a:pt x="116" y="291"/>
                </a:cubicBezTo>
                <a:cubicBezTo>
                  <a:pt x="115" y="292"/>
                  <a:pt x="116" y="291"/>
                  <a:pt x="116" y="292"/>
                </a:cubicBezTo>
                <a:cubicBezTo>
                  <a:pt x="117" y="292"/>
                  <a:pt x="117" y="292"/>
                  <a:pt x="117" y="292"/>
                </a:cubicBezTo>
                <a:cubicBezTo>
                  <a:pt x="116" y="292"/>
                  <a:pt x="118" y="292"/>
                  <a:pt x="117" y="292"/>
                </a:cubicBezTo>
                <a:cubicBezTo>
                  <a:pt x="118" y="292"/>
                  <a:pt x="118" y="292"/>
                  <a:pt x="118" y="292"/>
                </a:cubicBezTo>
                <a:cubicBezTo>
                  <a:pt x="118" y="292"/>
                  <a:pt x="117" y="293"/>
                  <a:pt x="118" y="293"/>
                </a:cubicBezTo>
                <a:cubicBezTo>
                  <a:pt x="118" y="293"/>
                  <a:pt x="118" y="293"/>
                  <a:pt x="118" y="292"/>
                </a:cubicBezTo>
                <a:cubicBezTo>
                  <a:pt x="119" y="292"/>
                  <a:pt x="119" y="292"/>
                  <a:pt x="119" y="292"/>
                </a:cubicBezTo>
                <a:cubicBezTo>
                  <a:pt x="119" y="293"/>
                  <a:pt x="120" y="294"/>
                  <a:pt x="120" y="295"/>
                </a:cubicBezTo>
                <a:cubicBezTo>
                  <a:pt x="120" y="295"/>
                  <a:pt x="119" y="296"/>
                  <a:pt x="119" y="297"/>
                </a:cubicBezTo>
                <a:cubicBezTo>
                  <a:pt x="120" y="296"/>
                  <a:pt x="120" y="295"/>
                  <a:pt x="121" y="295"/>
                </a:cubicBezTo>
                <a:cubicBezTo>
                  <a:pt x="121" y="295"/>
                  <a:pt x="120" y="295"/>
                  <a:pt x="120" y="296"/>
                </a:cubicBezTo>
                <a:cubicBezTo>
                  <a:pt x="121" y="296"/>
                  <a:pt x="122" y="295"/>
                  <a:pt x="122" y="295"/>
                </a:cubicBezTo>
                <a:cubicBezTo>
                  <a:pt x="122" y="295"/>
                  <a:pt x="122" y="295"/>
                  <a:pt x="122" y="295"/>
                </a:cubicBezTo>
                <a:cubicBezTo>
                  <a:pt x="124" y="295"/>
                  <a:pt x="124" y="296"/>
                  <a:pt x="126" y="296"/>
                </a:cubicBezTo>
                <a:cubicBezTo>
                  <a:pt x="128" y="296"/>
                  <a:pt x="132" y="296"/>
                  <a:pt x="134" y="298"/>
                </a:cubicBezTo>
                <a:cubicBezTo>
                  <a:pt x="134" y="300"/>
                  <a:pt x="136" y="300"/>
                  <a:pt x="137" y="302"/>
                </a:cubicBezTo>
                <a:cubicBezTo>
                  <a:pt x="137" y="301"/>
                  <a:pt x="138" y="302"/>
                  <a:pt x="138" y="302"/>
                </a:cubicBezTo>
                <a:cubicBezTo>
                  <a:pt x="141" y="301"/>
                  <a:pt x="142" y="305"/>
                  <a:pt x="143" y="308"/>
                </a:cubicBezTo>
                <a:cubicBezTo>
                  <a:pt x="143" y="311"/>
                  <a:pt x="140" y="314"/>
                  <a:pt x="139" y="316"/>
                </a:cubicBezTo>
                <a:cubicBezTo>
                  <a:pt x="136" y="317"/>
                  <a:pt x="137" y="321"/>
                  <a:pt x="134" y="323"/>
                </a:cubicBezTo>
                <a:cubicBezTo>
                  <a:pt x="134" y="323"/>
                  <a:pt x="134" y="322"/>
                  <a:pt x="134" y="322"/>
                </a:cubicBezTo>
                <a:cubicBezTo>
                  <a:pt x="134" y="323"/>
                  <a:pt x="134" y="323"/>
                  <a:pt x="133" y="324"/>
                </a:cubicBezTo>
                <a:cubicBezTo>
                  <a:pt x="134" y="327"/>
                  <a:pt x="134" y="331"/>
                  <a:pt x="134" y="335"/>
                </a:cubicBezTo>
                <a:cubicBezTo>
                  <a:pt x="132" y="338"/>
                  <a:pt x="133" y="342"/>
                  <a:pt x="130" y="344"/>
                </a:cubicBezTo>
                <a:cubicBezTo>
                  <a:pt x="130" y="345"/>
                  <a:pt x="130" y="345"/>
                  <a:pt x="130" y="347"/>
                </a:cubicBezTo>
                <a:cubicBezTo>
                  <a:pt x="130" y="347"/>
                  <a:pt x="128" y="347"/>
                  <a:pt x="128" y="348"/>
                </a:cubicBezTo>
                <a:cubicBezTo>
                  <a:pt x="128" y="349"/>
                  <a:pt x="128" y="349"/>
                  <a:pt x="128" y="349"/>
                </a:cubicBezTo>
                <a:cubicBezTo>
                  <a:pt x="126" y="349"/>
                  <a:pt x="125" y="349"/>
                  <a:pt x="124" y="349"/>
                </a:cubicBezTo>
                <a:cubicBezTo>
                  <a:pt x="124" y="349"/>
                  <a:pt x="124" y="349"/>
                  <a:pt x="124" y="349"/>
                </a:cubicBezTo>
                <a:cubicBezTo>
                  <a:pt x="124" y="349"/>
                  <a:pt x="123" y="349"/>
                  <a:pt x="123" y="350"/>
                </a:cubicBezTo>
                <a:cubicBezTo>
                  <a:pt x="123" y="350"/>
                  <a:pt x="123" y="350"/>
                  <a:pt x="123" y="349"/>
                </a:cubicBezTo>
                <a:cubicBezTo>
                  <a:pt x="123" y="349"/>
                  <a:pt x="123" y="349"/>
                  <a:pt x="122" y="349"/>
                </a:cubicBezTo>
                <a:cubicBezTo>
                  <a:pt x="122" y="350"/>
                  <a:pt x="123" y="349"/>
                  <a:pt x="123" y="350"/>
                </a:cubicBezTo>
                <a:cubicBezTo>
                  <a:pt x="122" y="350"/>
                  <a:pt x="121" y="350"/>
                  <a:pt x="121" y="351"/>
                </a:cubicBezTo>
                <a:cubicBezTo>
                  <a:pt x="121" y="351"/>
                  <a:pt x="121" y="351"/>
                  <a:pt x="121" y="352"/>
                </a:cubicBezTo>
                <a:cubicBezTo>
                  <a:pt x="121" y="351"/>
                  <a:pt x="120" y="351"/>
                  <a:pt x="120" y="351"/>
                </a:cubicBezTo>
                <a:cubicBezTo>
                  <a:pt x="119" y="351"/>
                  <a:pt x="119" y="351"/>
                  <a:pt x="119" y="352"/>
                </a:cubicBezTo>
                <a:cubicBezTo>
                  <a:pt x="117" y="352"/>
                  <a:pt x="116" y="354"/>
                  <a:pt x="115" y="356"/>
                </a:cubicBezTo>
                <a:cubicBezTo>
                  <a:pt x="114" y="355"/>
                  <a:pt x="114" y="355"/>
                  <a:pt x="114" y="355"/>
                </a:cubicBezTo>
                <a:cubicBezTo>
                  <a:pt x="114" y="355"/>
                  <a:pt x="115" y="356"/>
                  <a:pt x="114" y="356"/>
                </a:cubicBezTo>
                <a:cubicBezTo>
                  <a:pt x="114" y="356"/>
                  <a:pt x="114" y="356"/>
                  <a:pt x="114" y="356"/>
                </a:cubicBezTo>
                <a:cubicBezTo>
                  <a:pt x="114" y="357"/>
                  <a:pt x="114" y="359"/>
                  <a:pt x="115" y="360"/>
                </a:cubicBezTo>
                <a:cubicBezTo>
                  <a:pt x="114" y="360"/>
                  <a:pt x="115" y="361"/>
                  <a:pt x="115" y="361"/>
                </a:cubicBezTo>
                <a:cubicBezTo>
                  <a:pt x="115" y="361"/>
                  <a:pt x="114" y="361"/>
                  <a:pt x="115" y="361"/>
                </a:cubicBezTo>
                <a:cubicBezTo>
                  <a:pt x="115" y="362"/>
                  <a:pt x="115" y="363"/>
                  <a:pt x="115" y="364"/>
                </a:cubicBezTo>
                <a:cubicBezTo>
                  <a:pt x="111" y="365"/>
                  <a:pt x="113" y="371"/>
                  <a:pt x="109" y="373"/>
                </a:cubicBezTo>
                <a:cubicBezTo>
                  <a:pt x="108" y="375"/>
                  <a:pt x="107" y="377"/>
                  <a:pt x="106" y="379"/>
                </a:cubicBezTo>
                <a:cubicBezTo>
                  <a:pt x="106" y="380"/>
                  <a:pt x="105" y="380"/>
                  <a:pt x="104" y="381"/>
                </a:cubicBezTo>
                <a:cubicBezTo>
                  <a:pt x="103" y="380"/>
                  <a:pt x="102" y="380"/>
                  <a:pt x="101" y="380"/>
                </a:cubicBezTo>
                <a:cubicBezTo>
                  <a:pt x="100" y="380"/>
                  <a:pt x="99" y="380"/>
                  <a:pt x="99" y="379"/>
                </a:cubicBezTo>
                <a:cubicBezTo>
                  <a:pt x="98" y="379"/>
                  <a:pt x="98" y="379"/>
                  <a:pt x="97" y="379"/>
                </a:cubicBezTo>
                <a:cubicBezTo>
                  <a:pt x="97" y="379"/>
                  <a:pt x="96" y="378"/>
                  <a:pt x="96" y="378"/>
                </a:cubicBezTo>
                <a:cubicBezTo>
                  <a:pt x="95" y="380"/>
                  <a:pt x="99" y="380"/>
                  <a:pt x="100" y="382"/>
                </a:cubicBezTo>
                <a:cubicBezTo>
                  <a:pt x="99" y="383"/>
                  <a:pt x="100" y="384"/>
                  <a:pt x="101" y="384"/>
                </a:cubicBezTo>
                <a:cubicBezTo>
                  <a:pt x="102" y="386"/>
                  <a:pt x="100" y="387"/>
                  <a:pt x="100" y="389"/>
                </a:cubicBezTo>
                <a:cubicBezTo>
                  <a:pt x="98" y="390"/>
                  <a:pt x="94" y="392"/>
                  <a:pt x="90" y="391"/>
                </a:cubicBezTo>
                <a:cubicBezTo>
                  <a:pt x="90" y="392"/>
                  <a:pt x="92" y="392"/>
                  <a:pt x="92" y="393"/>
                </a:cubicBezTo>
                <a:cubicBezTo>
                  <a:pt x="91" y="393"/>
                  <a:pt x="91" y="393"/>
                  <a:pt x="91" y="393"/>
                </a:cubicBezTo>
                <a:cubicBezTo>
                  <a:pt x="91" y="394"/>
                  <a:pt x="92" y="394"/>
                  <a:pt x="91" y="395"/>
                </a:cubicBezTo>
                <a:cubicBezTo>
                  <a:pt x="92" y="395"/>
                  <a:pt x="92" y="395"/>
                  <a:pt x="92" y="396"/>
                </a:cubicBezTo>
                <a:cubicBezTo>
                  <a:pt x="92" y="398"/>
                  <a:pt x="87" y="396"/>
                  <a:pt x="87" y="396"/>
                </a:cubicBezTo>
                <a:cubicBezTo>
                  <a:pt x="86" y="397"/>
                  <a:pt x="87" y="399"/>
                  <a:pt x="89" y="400"/>
                </a:cubicBezTo>
                <a:cubicBezTo>
                  <a:pt x="89" y="400"/>
                  <a:pt x="89" y="400"/>
                  <a:pt x="89" y="400"/>
                </a:cubicBezTo>
                <a:cubicBezTo>
                  <a:pt x="90" y="400"/>
                  <a:pt x="90" y="400"/>
                  <a:pt x="90" y="400"/>
                </a:cubicBezTo>
                <a:cubicBezTo>
                  <a:pt x="90" y="400"/>
                  <a:pt x="89" y="400"/>
                  <a:pt x="89" y="400"/>
                </a:cubicBezTo>
                <a:cubicBezTo>
                  <a:pt x="90" y="399"/>
                  <a:pt x="90" y="399"/>
                  <a:pt x="90" y="399"/>
                </a:cubicBezTo>
                <a:cubicBezTo>
                  <a:pt x="91" y="400"/>
                  <a:pt x="91" y="400"/>
                  <a:pt x="91" y="401"/>
                </a:cubicBezTo>
                <a:cubicBezTo>
                  <a:pt x="91" y="401"/>
                  <a:pt x="90" y="401"/>
                  <a:pt x="90" y="401"/>
                </a:cubicBezTo>
                <a:cubicBezTo>
                  <a:pt x="89" y="400"/>
                  <a:pt x="89" y="400"/>
                  <a:pt x="89" y="400"/>
                </a:cubicBezTo>
                <a:cubicBezTo>
                  <a:pt x="89" y="400"/>
                  <a:pt x="88" y="401"/>
                  <a:pt x="88" y="401"/>
                </a:cubicBezTo>
                <a:cubicBezTo>
                  <a:pt x="88" y="401"/>
                  <a:pt x="89" y="401"/>
                  <a:pt x="90" y="401"/>
                </a:cubicBezTo>
                <a:cubicBezTo>
                  <a:pt x="89" y="402"/>
                  <a:pt x="88" y="402"/>
                  <a:pt x="88" y="403"/>
                </a:cubicBezTo>
                <a:cubicBezTo>
                  <a:pt x="89" y="404"/>
                  <a:pt x="90" y="405"/>
                  <a:pt x="88" y="406"/>
                </a:cubicBezTo>
                <a:cubicBezTo>
                  <a:pt x="88" y="407"/>
                  <a:pt x="89" y="406"/>
                  <a:pt x="89" y="407"/>
                </a:cubicBezTo>
                <a:cubicBezTo>
                  <a:pt x="87" y="406"/>
                  <a:pt x="87" y="407"/>
                  <a:pt x="86" y="407"/>
                </a:cubicBezTo>
                <a:cubicBezTo>
                  <a:pt x="84" y="412"/>
                  <a:pt x="91" y="411"/>
                  <a:pt x="91" y="414"/>
                </a:cubicBezTo>
                <a:cubicBezTo>
                  <a:pt x="91" y="415"/>
                  <a:pt x="89" y="416"/>
                  <a:pt x="89" y="418"/>
                </a:cubicBezTo>
                <a:cubicBezTo>
                  <a:pt x="90" y="419"/>
                  <a:pt x="89" y="420"/>
                  <a:pt x="87" y="421"/>
                </a:cubicBezTo>
                <a:cubicBezTo>
                  <a:pt x="88" y="423"/>
                  <a:pt x="90" y="424"/>
                  <a:pt x="91" y="426"/>
                </a:cubicBezTo>
                <a:cubicBezTo>
                  <a:pt x="90" y="426"/>
                  <a:pt x="90" y="425"/>
                  <a:pt x="89" y="425"/>
                </a:cubicBezTo>
                <a:cubicBezTo>
                  <a:pt x="89" y="426"/>
                  <a:pt x="90" y="427"/>
                  <a:pt x="90" y="426"/>
                </a:cubicBezTo>
                <a:cubicBezTo>
                  <a:pt x="91" y="426"/>
                  <a:pt x="92" y="427"/>
                  <a:pt x="92" y="427"/>
                </a:cubicBezTo>
                <a:cubicBezTo>
                  <a:pt x="92" y="427"/>
                  <a:pt x="92" y="427"/>
                  <a:pt x="92" y="427"/>
                </a:cubicBezTo>
                <a:cubicBezTo>
                  <a:pt x="94" y="429"/>
                  <a:pt x="97" y="431"/>
                  <a:pt x="100" y="431"/>
                </a:cubicBezTo>
                <a:cubicBezTo>
                  <a:pt x="100" y="432"/>
                  <a:pt x="100" y="432"/>
                  <a:pt x="100" y="432"/>
                </a:cubicBezTo>
                <a:cubicBezTo>
                  <a:pt x="99" y="432"/>
                  <a:pt x="98" y="433"/>
                  <a:pt x="97" y="432"/>
                </a:cubicBezTo>
                <a:cubicBezTo>
                  <a:pt x="96" y="432"/>
                  <a:pt x="97" y="433"/>
                  <a:pt x="97" y="433"/>
                </a:cubicBezTo>
                <a:cubicBezTo>
                  <a:pt x="96" y="433"/>
                  <a:pt x="96" y="433"/>
                  <a:pt x="96" y="433"/>
                </a:cubicBezTo>
                <a:cubicBezTo>
                  <a:pt x="96" y="433"/>
                  <a:pt x="95" y="433"/>
                  <a:pt x="94" y="432"/>
                </a:cubicBezTo>
                <a:cubicBezTo>
                  <a:pt x="94" y="432"/>
                  <a:pt x="94" y="433"/>
                  <a:pt x="94" y="432"/>
                </a:cubicBezTo>
                <a:cubicBezTo>
                  <a:pt x="95" y="433"/>
                  <a:pt x="95" y="433"/>
                  <a:pt x="96" y="434"/>
                </a:cubicBezTo>
                <a:cubicBezTo>
                  <a:pt x="134" y="460"/>
                  <a:pt x="180" y="475"/>
                  <a:pt x="229" y="475"/>
                </a:cubicBezTo>
                <a:cubicBezTo>
                  <a:pt x="340" y="475"/>
                  <a:pt x="433" y="399"/>
                  <a:pt x="459" y="297"/>
                </a:cubicBezTo>
                <a:cubicBezTo>
                  <a:pt x="457" y="294"/>
                  <a:pt x="457" y="290"/>
                  <a:pt x="453" y="288"/>
                </a:cubicBezTo>
                <a:close/>
                <a:moveTo>
                  <a:pt x="242" y="181"/>
                </a:moveTo>
                <a:cubicBezTo>
                  <a:pt x="243" y="182"/>
                  <a:pt x="244" y="181"/>
                  <a:pt x="244" y="180"/>
                </a:cubicBezTo>
                <a:cubicBezTo>
                  <a:pt x="245" y="180"/>
                  <a:pt x="245" y="180"/>
                  <a:pt x="245" y="180"/>
                </a:cubicBezTo>
                <a:cubicBezTo>
                  <a:pt x="246" y="182"/>
                  <a:pt x="246" y="184"/>
                  <a:pt x="245" y="186"/>
                </a:cubicBezTo>
                <a:cubicBezTo>
                  <a:pt x="245" y="186"/>
                  <a:pt x="245" y="185"/>
                  <a:pt x="244" y="185"/>
                </a:cubicBezTo>
                <a:cubicBezTo>
                  <a:pt x="244" y="186"/>
                  <a:pt x="244" y="186"/>
                  <a:pt x="244" y="186"/>
                </a:cubicBezTo>
                <a:cubicBezTo>
                  <a:pt x="243" y="186"/>
                  <a:pt x="243" y="186"/>
                  <a:pt x="243" y="186"/>
                </a:cubicBezTo>
                <a:cubicBezTo>
                  <a:pt x="243" y="186"/>
                  <a:pt x="243" y="186"/>
                  <a:pt x="243" y="186"/>
                </a:cubicBezTo>
                <a:cubicBezTo>
                  <a:pt x="243" y="185"/>
                  <a:pt x="243" y="185"/>
                  <a:pt x="243" y="184"/>
                </a:cubicBezTo>
                <a:cubicBezTo>
                  <a:pt x="243" y="183"/>
                  <a:pt x="243" y="184"/>
                  <a:pt x="243" y="183"/>
                </a:cubicBezTo>
                <a:cubicBezTo>
                  <a:pt x="243" y="183"/>
                  <a:pt x="243" y="182"/>
                  <a:pt x="242" y="182"/>
                </a:cubicBezTo>
                <a:cubicBezTo>
                  <a:pt x="242" y="181"/>
                  <a:pt x="242" y="181"/>
                  <a:pt x="242" y="181"/>
                </a:cubicBezTo>
                <a:close/>
                <a:moveTo>
                  <a:pt x="380" y="90"/>
                </a:moveTo>
                <a:cubicBezTo>
                  <a:pt x="381" y="90"/>
                  <a:pt x="381" y="90"/>
                  <a:pt x="382" y="90"/>
                </a:cubicBezTo>
                <a:cubicBezTo>
                  <a:pt x="382" y="91"/>
                  <a:pt x="382" y="91"/>
                  <a:pt x="382" y="91"/>
                </a:cubicBezTo>
                <a:cubicBezTo>
                  <a:pt x="384" y="90"/>
                  <a:pt x="386" y="91"/>
                  <a:pt x="388" y="92"/>
                </a:cubicBezTo>
                <a:cubicBezTo>
                  <a:pt x="386" y="93"/>
                  <a:pt x="382" y="93"/>
                  <a:pt x="380" y="93"/>
                </a:cubicBezTo>
                <a:cubicBezTo>
                  <a:pt x="380" y="92"/>
                  <a:pt x="380" y="91"/>
                  <a:pt x="380" y="90"/>
                </a:cubicBezTo>
                <a:close/>
                <a:moveTo>
                  <a:pt x="363" y="89"/>
                </a:moveTo>
                <a:cubicBezTo>
                  <a:pt x="363" y="88"/>
                  <a:pt x="364" y="88"/>
                  <a:pt x="365" y="88"/>
                </a:cubicBezTo>
                <a:cubicBezTo>
                  <a:pt x="365" y="88"/>
                  <a:pt x="365" y="88"/>
                  <a:pt x="365" y="88"/>
                </a:cubicBezTo>
                <a:cubicBezTo>
                  <a:pt x="364" y="88"/>
                  <a:pt x="364" y="88"/>
                  <a:pt x="364" y="88"/>
                </a:cubicBezTo>
                <a:cubicBezTo>
                  <a:pt x="366" y="86"/>
                  <a:pt x="369" y="87"/>
                  <a:pt x="372" y="88"/>
                </a:cubicBezTo>
                <a:cubicBezTo>
                  <a:pt x="371" y="88"/>
                  <a:pt x="371" y="88"/>
                  <a:pt x="371" y="88"/>
                </a:cubicBezTo>
                <a:cubicBezTo>
                  <a:pt x="371" y="89"/>
                  <a:pt x="372" y="88"/>
                  <a:pt x="372" y="89"/>
                </a:cubicBezTo>
                <a:cubicBezTo>
                  <a:pt x="372" y="89"/>
                  <a:pt x="373" y="89"/>
                  <a:pt x="373" y="89"/>
                </a:cubicBezTo>
                <a:cubicBezTo>
                  <a:pt x="373" y="90"/>
                  <a:pt x="373" y="90"/>
                  <a:pt x="373" y="90"/>
                </a:cubicBezTo>
                <a:cubicBezTo>
                  <a:pt x="373" y="89"/>
                  <a:pt x="374" y="89"/>
                  <a:pt x="374" y="89"/>
                </a:cubicBezTo>
                <a:cubicBezTo>
                  <a:pt x="374" y="89"/>
                  <a:pt x="374" y="89"/>
                  <a:pt x="374" y="89"/>
                </a:cubicBezTo>
                <a:cubicBezTo>
                  <a:pt x="377" y="89"/>
                  <a:pt x="377" y="90"/>
                  <a:pt x="378" y="91"/>
                </a:cubicBezTo>
                <a:cubicBezTo>
                  <a:pt x="375" y="92"/>
                  <a:pt x="370" y="90"/>
                  <a:pt x="367" y="90"/>
                </a:cubicBezTo>
                <a:cubicBezTo>
                  <a:pt x="368" y="90"/>
                  <a:pt x="368" y="90"/>
                  <a:pt x="369" y="90"/>
                </a:cubicBezTo>
                <a:cubicBezTo>
                  <a:pt x="368" y="89"/>
                  <a:pt x="368" y="89"/>
                  <a:pt x="369" y="89"/>
                </a:cubicBezTo>
                <a:cubicBezTo>
                  <a:pt x="368" y="89"/>
                  <a:pt x="368" y="89"/>
                  <a:pt x="368" y="89"/>
                </a:cubicBezTo>
                <a:cubicBezTo>
                  <a:pt x="368" y="90"/>
                  <a:pt x="368" y="90"/>
                  <a:pt x="368" y="90"/>
                </a:cubicBezTo>
                <a:cubicBezTo>
                  <a:pt x="366" y="90"/>
                  <a:pt x="364" y="90"/>
                  <a:pt x="363" y="89"/>
                </a:cubicBezTo>
                <a:cubicBezTo>
                  <a:pt x="363" y="89"/>
                  <a:pt x="364" y="89"/>
                  <a:pt x="365" y="89"/>
                </a:cubicBezTo>
                <a:cubicBezTo>
                  <a:pt x="364" y="89"/>
                  <a:pt x="364" y="89"/>
                  <a:pt x="363" y="89"/>
                </a:cubicBezTo>
                <a:close/>
                <a:moveTo>
                  <a:pt x="315" y="105"/>
                </a:moveTo>
                <a:cubicBezTo>
                  <a:pt x="316" y="104"/>
                  <a:pt x="316" y="104"/>
                  <a:pt x="316" y="104"/>
                </a:cubicBezTo>
                <a:cubicBezTo>
                  <a:pt x="316" y="104"/>
                  <a:pt x="315" y="104"/>
                  <a:pt x="315" y="103"/>
                </a:cubicBezTo>
                <a:cubicBezTo>
                  <a:pt x="316" y="103"/>
                  <a:pt x="316" y="103"/>
                  <a:pt x="316" y="102"/>
                </a:cubicBezTo>
                <a:cubicBezTo>
                  <a:pt x="316" y="103"/>
                  <a:pt x="317" y="102"/>
                  <a:pt x="317" y="102"/>
                </a:cubicBezTo>
                <a:cubicBezTo>
                  <a:pt x="317" y="102"/>
                  <a:pt x="317" y="102"/>
                  <a:pt x="317" y="102"/>
                </a:cubicBezTo>
                <a:cubicBezTo>
                  <a:pt x="316" y="101"/>
                  <a:pt x="316" y="101"/>
                  <a:pt x="316" y="101"/>
                </a:cubicBezTo>
                <a:cubicBezTo>
                  <a:pt x="317" y="101"/>
                  <a:pt x="317" y="100"/>
                  <a:pt x="318" y="100"/>
                </a:cubicBezTo>
                <a:cubicBezTo>
                  <a:pt x="318" y="100"/>
                  <a:pt x="318" y="100"/>
                  <a:pt x="318" y="99"/>
                </a:cubicBezTo>
                <a:cubicBezTo>
                  <a:pt x="318" y="99"/>
                  <a:pt x="319" y="99"/>
                  <a:pt x="319" y="99"/>
                </a:cubicBezTo>
                <a:cubicBezTo>
                  <a:pt x="318" y="99"/>
                  <a:pt x="318" y="99"/>
                  <a:pt x="318" y="99"/>
                </a:cubicBezTo>
                <a:cubicBezTo>
                  <a:pt x="319" y="99"/>
                  <a:pt x="319" y="99"/>
                  <a:pt x="319" y="99"/>
                </a:cubicBezTo>
                <a:cubicBezTo>
                  <a:pt x="319" y="99"/>
                  <a:pt x="318" y="99"/>
                  <a:pt x="318" y="98"/>
                </a:cubicBezTo>
                <a:cubicBezTo>
                  <a:pt x="318" y="98"/>
                  <a:pt x="319" y="99"/>
                  <a:pt x="319" y="98"/>
                </a:cubicBezTo>
                <a:cubicBezTo>
                  <a:pt x="319" y="98"/>
                  <a:pt x="320" y="98"/>
                  <a:pt x="320" y="98"/>
                </a:cubicBezTo>
                <a:cubicBezTo>
                  <a:pt x="320" y="97"/>
                  <a:pt x="323" y="97"/>
                  <a:pt x="325" y="97"/>
                </a:cubicBezTo>
                <a:cubicBezTo>
                  <a:pt x="325" y="96"/>
                  <a:pt x="325" y="96"/>
                  <a:pt x="325" y="96"/>
                </a:cubicBezTo>
                <a:cubicBezTo>
                  <a:pt x="327" y="97"/>
                  <a:pt x="330" y="96"/>
                  <a:pt x="332" y="96"/>
                </a:cubicBezTo>
                <a:cubicBezTo>
                  <a:pt x="331" y="95"/>
                  <a:pt x="331" y="95"/>
                  <a:pt x="331" y="95"/>
                </a:cubicBezTo>
                <a:cubicBezTo>
                  <a:pt x="333" y="95"/>
                  <a:pt x="335" y="94"/>
                  <a:pt x="336" y="96"/>
                </a:cubicBezTo>
                <a:cubicBezTo>
                  <a:pt x="334" y="98"/>
                  <a:pt x="328" y="97"/>
                  <a:pt x="326" y="99"/>
                </a:cubicBezTo>
                <a:cubicBezTo>
                  <a:pt x="325" y="99"/>
                  <a:pt x="325" y="99"/>
                  <a:pt x="325" y="100"/>
                </a:cubicBezTo>
                <a:cubicBezTo>
                  <a:pt x="324" y="99"/>
                  <a:pt x="324" y="100"/>
                  <a:pt x="323" y="100"/>
                </a:cubicBezTo>
                <a:cubicBezTo>
                  <a:pt x="323" y="100"/>
                  <a:pt x="323" y="100"/>
                  <a:pt x="323" y="100"/>
                </a:cubicBezTo>
                <a:cubicBezTo>
                  <a:pt x="322" y="101"/>
                  <a:pt x="322" y="101"/>
                  <a:pt x="322" y="101"/>
                </a:cubicBezTo>
                <a:cubicBezTo>
                  <a:pt x="322" y="101"/>
                  <a:pt x="323" y="101"/>
                  <a:pt x="323" y="101"/>
                </a:cubicBezTo>
                <a:cubicBezTo>
                  <a:pt x="318" y="104"/>
                  <a:pt x="321" y="107"/>
                  <a:pt x="325" y="108"/>
                </a:cubicBezTo>
                <a:cubicBezTo>
                  <a:pt x="324" y="109"/>
                  <a:pt x="321" y="108"/>
                  <a:pt x="320" y="108"/>
                </a:cubicBezTo>
                <a:cubicBezTo>
                  <a:pt x="320" y="108"/>
                  <a:pt x="319" y="108"/>
                  <a:pt x="318" y="108"/>
                </a:cubicBezTo>
                <a:cubicBezTo>
                  <a:pt x="318" y="108"/>
                  <a:pt x="319" y="107"/>
                  <a:pt x="318" y="107"/>
                </a:cubicBezTo>
                <a:cubicBezTo>
                  <a:pt x="319" y="107"/>
                  <a:pt x="319" y="107"/>
                  <a:pt x="319" y="107"/>
                </a:cubicBezTo>
                <a:cubicBezTo>
                  <a:pt x="317" y="105"/>
                  <a:pt x="314" y="108"/>
                  <a:pt x="314" y="105"/>
                </a:cubicBezTo>
                <a:cubicBezTo>
                  <a:pt x="314" y="105"/>
                  <a:pt x="314" y="105"/>
                  <a:pt x="315" y="105"/>
                </a:cubicBezTo>
                <a:close/>
                <a:moveTo>
                  <a:pt x="260" y="89"/>
                </a:moveTo>
                <a:cubicBezTo>
                  <a:pt x="259" y="89"/>
                  <a:pt x="259" y="89"/>
                  <a:pt x="259" y="89"/>
                </a:cubicBezTo>
                <a:cubicBezTo>
                  <a:pt x="259" y="88"/>
                  <a:pt x="260" y="89"/>
                  <a:pt x="260" y="89"/>
                </a:cubicBezTo>
                <a:cubicBezTo>
                  <a:pt x="260" y="88"/>
                  <a:pt x="260" y="89"/>
                  <a:pt x="260" y="88"/>
                </a:cubicBezTo>
                <a:cubicBezTo>
                  <a:pt x="261" y="89"/>
                  <a:pt x="263" y="89"/>
                  <a:pt x="264" y="89"/>
                </a:cubicBezTo>
                <a:cubicBezTo>
                  <a:pt x="264" y="89"/>
                  <a:pt x="264" y="89"/>
                  <a:pt x="264" y="89"/>
                </a:cubicBezTo>
                <a:cubicBezTo>
                  <a:pt x="264" y="88"/>
                  <a:pt x="265" y="88"/>
                  <a:pt x="265" y="89"/>
                </a:cubicBezTo>
                <a:cubicBezTo>
                  <a:pt x="265" y="89"/>
                  <a:pt x="265" y="89"/>
                  <a:pt x="265" y="89"/>
                </a:cubicBezTo>
                <a:cubicBezTo>
                  <a:pt x="267" y="89"/>
                  <a:pt x="269" y="88"/>
                  <a:pt x="271" y="89"/>
                </a:cubicBezTo>
                <a:cubicBezTo>
                  <a:pt x="268" y="91"/>
                  <a:pt x="263" y="90"/>
                  <a:pt x="260" y="90"/>
                </a:cubicBezTo>
                <a:cubicBezTo>
                  <a:pt x="261" y="90"/>
                  <a:pt x="261" y="90"/>
                  <a:pt x="261" y="90"/>
                </a:cubicBezTo>
                <a:cubicBezTo>
                  <a:pt x="260" y="90"/>
                  <a:pt x="259" y="90"/>
                  <a:pt x="258" y="89"/>
                </a:cubicBezTo>
                <a:cubicBezTo>
                  <a:pt x="259" y="89"/>
                  <a:pt x="259" y="89"/>
                  <a:pt x="259" y="89"/>
                </a:cubicBezTo>
                <a:cubicBezTo>
                  <a:pt x="258" y="89"/>
                  <a:pt x="258" y="89"/>
                  <a:pt x="257" y="89"/>
                </a:cubicBezTo>
                <a:cubicBezTo>
                  <a:pt x="258" y="89"/>
                  <a:pt x="259" y="89"/>
                  <a:pt x="260" y="89"/>
                </a:cubicBezTo>
                <a:close/>
                <a:moveTo>
                  <a:pt x="249" y="90"/>
                </a:moveTo>
                <a:cubicBezTo>
                  <a:pt x="249" y="89"/>
                  <a:pt x="252" y="89"/>
                  <a:pt x="252" y="89"/>
                </a:cubicBezTo>
                <a:cubicBezTo>
                  <a:pt x="252" y="90"/>
                  <a:pt x="251" y="90"/>
                  <a:pt x="251" y="90"/>
                </a:cubicBezTo>
                <a:cubicBezTo>
                  <a:pt x="251" y="90"/>
                  <a:pt x="252" y="90"/>
                  <a:pt x="252" y="90"/>
                </a:cubicBezTo>
                <a:cubicBezTo>
                  <a:pt x="253" y="90"/>
                  <a:pt x="252" y="90"/>
                  <a:pt x="252" y="90"/>
                </a:cubicBezTo>
                <a:cubicBezTo>
                  <a:pt x="254" y="89"/>
                  <a:pt x="255" y="91"/>
                  <a:pt x="256" y="91"/>
                </a:cubicBezTo>
                <a:cubicBezTo>
                  <a:pt x="256" y="91"/>
                  <a:pt x="255" y="90"/>
                  <a:pt x="255" y="89"/>
                </a:cubicBezTo>
                <a:cubicBezTo>
                  <a:pt x="255" y="89"/>
                  <a:pt x="255" y="89"/>
                  <a:pt x="255" y="89"/>
                </a:cubicBezTo>
                <a:cubicBezTo>
                  <a:pt x="256" y="89"/>
                  <a:pt x="257" y="89"/>
                  <a:pt x="258" y="90"/>
                </a:cubicBezTo>
                <a:cubicBezTo>
                  <a:pt x="258" y="90"/>
                  <a:pt x="257" y="90"/>
                  <a:pt x="258" y="90"/>
                </a:cubicBezTo>
                <a:cubicBezTo>
                  <a:pt x="258" y="90"/>
                  <a:pt x="258" y="90"/>
                  <a:pt x="259" y="90"/>
                </a:cubicBezTo>
                <a:cubicBezTo>
                  <a:pt x="259" y="91"/>
                  <a:pt x="262" y="91"/>
                  <a:pt x="263" y="91"/>
                </a:cubicBezTo>
                <a:cubicBezTo>
                  <a:pt x="263" y="92"/>
                  <a:pt x="263" y="92"/>
                  <a:pt x="263" y="92"/>
                </a:cubicBezTo>
                <a:cubicBezTo>
                  <a:pt x="263" y="92"/>
                  <a:pt x="265" y="91"/>
                  <a:pt x="264" y="92"/>
                </a:cubicBezTo>
                <a:cubicBezTo>
                  <a:pt x="265" y="92"/>
                  <a:pt x="266" y="92"/>
                  <a:pt x="266" y="93"/>
                </a:cubicBezTo>
                <a:cubicBezTo>
                  <a:pt x="266" y="93"/>
                  <a:pt x="266" y="93"/>
                  <a:pt x="266" y="93"/>
                </a:cubicBezTo>
                <a:cubicBezTo>
                  <a:pt x="267" y="93"/>
                  <a:pt x="268" y="93"/>
                  <a:pt x="269" y="93"/>
                </a:cubicBezTo>
                <a:cubicBezTo>
                  <a:pt x="267" y="94"/>
                  <a:pt x="266" y="94"/>
                  <a:pt x="265" y="94"/>
                </a:cubicBezTo>
                <a:cubicBezTo>
                  <a:pt x="265" y="94"/>
                  <a:pt x="265" y="94"/>
                  <a:pt x="265" y="94"/>
                </a:cubicBezTo>
                <a:cubicBezTo>
                  <a:pt x="264" y="94"/>
                  <a:pt x="264" y="94"/>
                  <a:pt x="263" y="94"/>
                </a:cubicBezTo>
                <a:cubicBezTo>
                  <a:pt x="263" y="94"/>
                  <a:pt x="263" y="93"/>
                  <a:pt x="264" y="93"/>
                </a:cubicBezTo>
                <a:cubicBezTo>
                  <a:pt x="263" y="93"/>
                  <a:pt x="262" y="92"/>
                  <a:pt x="261" y="92"/>
                </a:cubicBezTo>
                <a:cubicBezTo>
                  <a:pt x="261" y="92"/>
                  <a:pt x="262" y="92"/>
                  <a:pt x="263" y="92"/>
                </a:cubicBezTo>
                <a:cubicBezTo>
                  <a:pt x="262" y="91"/>
                  <a:pt x="261" y="92"/>
                  <a:pt x="260" y="92"/>
                </a:cubicBezTo>
                <a:cubicBezTo>
                  <a:pt x="260" y="93"/>
                  <a:pt x="260" y="93"/>
                  <a:pt x="260" y="93"/>
                </a:cubicBezTo>
                <a:cubicBezTo>
                  <a:pt x="259" y="93"/>
                  <a:pt x="259" y="93"/>
                  <a:pt x="259" y="93"/>
                </a:cubicBezTo>
                <a:cubicBezTo>
                  <a:pt x="259" y="93"/>
                  <a:pt x="259" y="93"/>
                  <a:pt x="259" y="94"/>
                </a:cubicBezTo>
                <a:cubicBezTo>
                  <a:pt x="257" y="94"/>
                  <a:pt x="258" y="95"/>
                  <a:pt x="257" y="95"/>
                </a:cubicBezTo>
                <a:cubicBezTo>
                  <a:pt x="257" y="96"/>
                  <a:pt x="257" y="96"/>
                  <a:pt x="257" y="96"/>
                </a:cubicBezTo>
                <a:cubicBezTo>
                  <a:pt x="256" y="96"/>
                  <a:pt x="255" y="95"/>
                  <a:pt x="255" y="95"/>
                </a:cubicBezTo>
                <a:cubicBezTo>
                  <a:pt x="254" y="95"/>
                  <a:pt x="253" y="95"/>
                  <a:pt x="252" y="94"/>
                </a:cubicBezTo>
                <a:cubicBezTo>
                  <a:pt x="252" y="93"/>
                  <a:pt x="253" y="94"/>
                  <a:pt x="253" y="94"/>
                </a:cubicBezTo>
                <a:cubicBezTo>
                  <a:pt x="253" y="93"/>
                  <a:pt x="251" y="94"/>
                  <a:pt x="251" y="93"/>
                </a:cubicBezTo>
                <a:cubicBezTo>
                  <a:pt x="253" y="93"/>
                  <a:pt x="254" y="92"/>
                  <a:pt x="256" y="92"/>
                </a:cubicBezTo>
                <a:cubicBezTo>
                  <a:pt x="256" y="92"/>
                  <a:pt x="256" y="92"/>
                  <a:pt x="256" y="92"/>
                </a:cubicBezTo>
                <a:cubicBezTo>
                  <a:pt x="255" y="92"/>
                  <a:pt x="254" y="92"/>
                  <a:pt x="253" y="92"/>
                </a:cubicBezTo>
                <a:cubicBezTo>
                  <a:pt x="253" y="92"/>
                  <a:pt x="253" y="92"/>
                  <a:pt x="253" y="92"/>
                </a:cubicBezTo>
                <a:cubicBezTo>
                  <a:pt x="253" y="92"/>
                  <a:pt x="253" y="92"/>
                  <a:pt x="253" y="92"/>
                </a:cubicBezTo>
                <a:cubicBezTo>
                  <a:pt x="251" y="93"/>
                  <a:pt x="249" y="92"/>
                  <a:pt x="248" y="91"/>
                </a:cubicBezTo>
                <a:cubicBezTo>
                  <a:pt x="248" y="91"/>
                  <a:pt x="249" y="91"/>
                  <a:pt x="249" y="91"/>
                </a:cubicBezTo>
                <a:cubicBezTo>
                  <a:pt x="248" y="91"/>
                  <a:pt x="247" y="91"/>
                  <a:pt x="247" y="90"/>
                </a:cubicBezTo>
                <a:cubicBezTo>
                  <a:pt x="248" y="90"/>
                  <a:pt x="249" y="89"/>
                  <a:pt x="249" y="90"/>
                </a:cubicBezTo>
                <a:close/>
                <a:moveTo>
                  <a:pt x="83" y="125"/>
                </a:moveTo>
                <a:cubicBezTo>
                  <a:pt x="82" y="124"/>
                  <a:pt x="82" y="124"/>
                  <a:pt x="81" y="124"/>
                </a:cubicBezTo>
                <a:cubicBezTo>
                  <a:pt x="81" y="124"/>
                  <a:pt x="81" y="123"/>
                  <a:pt x="81" y="123"/>
                </a:cubicBezTo>
                <a:cubicBezTo>
                  <a:pt x="81" y="123"/>
                  <a:pt x="80" y="123"/>
                  <a:pt x="80" y="123"/>
                </a:cubicBezTo>
                <a:cubicBezTo>
                  <a:pt x="80" y="123"/>
                  <a:pt x="80" y="123"/>
                  <a:pt x="80" y="123"/>
                </a:cubicBezTo>
                <a:cubicBezTo>
                  <a:pt x="78" y="123"/>
                  <a:pt x="77" y="125"/>
                  <a:pt x="74" y="125"/>
                </a:cubicBezTo>
                <a:cubicBezTo>
                  <a:pt x="74" y="125"/>
                  <a:pt x="75" y="125"/>
                  <a:pt x="75" y="124"/>
                </a:cubicBezTo>
                <a:cubicBezTo>
                  <a:pt x="74" y="124"/>
                  <a:pt x="73" y="124"/>
                  <a:pt x="72" y="124"/>
                </a:cubicBezTo>
                <a:cubicBezTo>
                  <a:pt x="72" y="123"/>
                  <a:pt x="74" y="123"/>
                  <a:pt x="75" y="123"/>
                </a:cubicBezTo>
                <a:cubicBezTo>
                  <a:pt x="76" y="121"/>
                  <a:pt x="77" y="120"/>
                  <a:pt x="79" y="119"/>
                </a:cubicBezTo>
                <a:cubicBezTo>
                  <a:pt x="80" y="119"/>
                  <a:pt x="80" y="118"/>
                  <a:pt x="81" y="118"/>
                </a:cubicBezTo>
                <a:cubicBezTo>
                  <a:pt x="81" y="119"/>
                  <a:pt x="81" y="119"/>
                  <a:pt x="80" y="119"/>
                </a:cubicBezTo>
                <a:cubicBezTo>
                  <a:pt x="80" y="120"/>
                  <a:pt x="81" y="120"/>
                  <a:pt x="80" y="120"/>
                </a:cubicBezTo>
                <a:cubicBezTo>
                  <a:pt x="81" y="120"/>
                  <a:pt x="81" y="120"/>
                  <a:pt x="81" y="120"/>
                </a:cubicBezTo>
                <a:cubicBezTo>
                  <a:pt x="82" y="121"/>
                  <a:pt x="85" y="122"/>
                  <a:pt x="83" y="123"/>
                </a:cubicBezTo>
                <a:cubicBezTo>
                  <a:pt x="83" y="123"/>
                  <a:pt x="84" y="123"/>
                  <a:pt x="84" y="123"/>
                </a:cubicBezTo>
                <a:cubicBezTo>
                  <a:pt x="85" y="123"/>
                  <a:pt x="85" y="123"/>
                  <a:pt x="85" y="124"/>
                </a:cubicBezTo>
                <a:cubicBezTo>
                  <a:pt x="84" y="124"/>
                  <a:pt x="84" y="124"/>
                  <a:pt x="83" y="125"/>
                </a:cubicBezTo>
                <a:close/>
                <a:moveTo>
                  <a:pt x="46" y="236"/>
                </a:moveTo>
                <a:cubicBezTo>
                  <a:pt x="46" y="235"/>
                  <a:pt x="48" y="235"/>
                  <a:pt x="47" y="234"/>
                </a:cubicBezTo>
                <a:cubicBezTo>
                  <a:pt x="45" y="235"/>
                  <a:pt x="44" y="233"/>
                  <a:pt x="44" y="232"/>
                </a:cubicBezTo>
                <a:cubicBezTo>
                  <a:pt x="42" y="232"/>
                  <a:pt x="41" y="231"/>
                  <a:pt x="39" y="230"/>
                </a:cubicBezTo>
                <a:cubicBezTo>
                  <a:pt x="39" y="231"/>
                  <a:pt x="37" y="230"/>
                  <a:pt x="37" y="229"/>
                </a:cubicBezTo>
                <a:cubicBezTo>
                  <a:pt x="37" y="229"/>
                  <a:pt x="38" y="230"/>
                  <a:pt x="38" y="229"/>
                </a:cubicBezTo>
                <a:cubicBezTo>
                  <a:pt x="35" y="228"/>
                  <a:pt x="33" y="231"/>
                  <a:pt x="31" y="231"/>
                </a:cubicBezTo>
                <a:cubicBezTo>
                  <a:pt x="31" y="231"/>
                  <a:pt x="31" y="231"/>
                  <a:pt x="31" y="231"/>
                </a:cubicBezTo>
                <a:cubicBezTo>
                  <a:pt x="31" y="231"/>
                  <a:pt x="31" y="231"/>
                  <a:pt x="30" y="231"/>
                </a:cubicBezTo>
                <a:cubicBezTo>
                  <a:pt x="30" y="231"/>
                  <a:pt x="31" y="231"/>
                  <a:pt x="32" y="230"/>
                </a:cubicBezTo>
                <a:cubicBezTo>
                  <a:pt x="32" y="227"/>
                  <a:pt x="38" y="228"/>
                  <a:pt x="40" y="228"/>
                </a:cubicBezTo>
                <a:cubicBezTo>
                  <a:pt x="41" y="228"/>
                  <a:pt x="43" y="228"/>
                  <a:pt x="43" y="230"/>
                </a:cubicBezTo>
                <a:cubicBezTo>
                  <a:pt x="45" y="229"/>
                  <a:pt x="46" y="231"/>
                  <a:pt x="47" y="231"/>
                </a:cubicBezTo>
                <a:cubicBezTo>
                  <a:pt x="47" y="231"/>
                  <a:pt x="46" y="230"/>
                  <a:pt x="45" y="229"/>
                </a:cubicBezTo>
                <a:cubicBezTo>
                  <a:pt x="45" y="229"/>
                  <a:pt x="45" y="229"/>
                  <a:pt x="45" y="229"/>
                </a:cubicBezTo>
                <a:cubicBezTo>
                  <a:pt x="45" y="229"/>
                  <a:pt x="45" y="229"/>
                  <a:pt x="45" y="229"/>
                </a:cubicBezTo>
                <a:cubicBezTo>
                  <a:pt x="47" y="230"/>
                  <a:pt x="48" y="233"/>
                  <a:pt x="51" y="233"/>
                </a:cubicBezTo>
                <a:cubicBezTo>
                  <a:pt x="51" y="234"/>
                  <a:pt x="51" y="234"/>
                  <a:pt x="51" y="234"/>
                </a:cubicBezTo>
                <a:cubicBezTo>
                  <a:pt x="52" y="234"/>
                  <a:pt x="53" y="235"/>
                  <a:pt x="54" y="235"/>
                </a:cubicBezTo>
                <a:cubicBezTo>
                  <a:pt x="52" y="237"/>
                  <a:pt x="49" y="236"/>
                  <a:pt x="46" y="236"/>
                </a:cubicBezTo>
                <a:close/>
                <a:moveTo>
                  <a:pt x="66" y="241"/>
                </a:moveTo>
                <a:cubicBezTo>
                  <a:pt x="66" y="241"/>
                  <a:pt x="66" y="240"/>
                  <a:pt x="66" y="240"/>
                </a:cubicBezTo>
                <a:cubicBezTo>
                  <a:pt x="63" y="240"/>
                  <a:pt x="63" y="241"/>
                  <a:pt x="62" y="241"/>
                </a:cubicBezTo>
                <a:cubicBezTo>
                  <a:pt x="62" y="240"/>
                  <a:pt x="62" y="240"/>
                  <a:pt x="62" y="240"/>
                </a:cubicBezTo>
                <a:cubicBezTo>
                  <a:pt x="61" y="240"/>
                  <a:pt x="61" y="241"/>
                  <a:pt x="61" y="240"/>
                </a:cubicBezTo>
                <a:cubicBezTo>
                  <a:pt x="60" y="241"/>
                  <a:pt x="60" y="242"/>
                  <a:pt x="59" y="242"/>
                </a:cubicBezTo>
                <a:cubicBezTo>
                  <a:pt x="60" y="240"/>
                  <a:pt x="55" y="240"/>
                  <a:pt x="54" y="241"/>
                </a:cubicBezTo>
                <a:cubicBezTo>
                  <a:pt x="54" y="241"/>
                  <a:pt x="54" y="240"/>
                  <a:pt x="53" y="240"/>
                </a:cubicBezTo>
                <a:cubicBezTo>
                  <a:pt x="53" y="240"/>
                  <a:pt x="53" y="240"/>
                  <a:pt x="53" y="239"/>
                </a:cubicBezTo>
                <a:cubicBezTo>
                  <a:pt x="55" y="240"/>
                  <a:pt x="56" y="240"/>
                  <a:pt x="58" y="240"/>
                </a:cubicBezTo>
                <a:cubicBezTo>
                  <a:pt x="58" y="239"/>
                  <a:pt x="57" y="239"/>
                  <a:pt x="57" y="238"/>
                </a:cubicBezTo>
                <a:cubicBezTo>
                  <a:pt x="57" y="238"/>
                  <a:pt x="57" y="238"/>
                  <a:pt x="57" y="238"/>
                </a:cubicBezTo>
                <a:cubicBezTo>
                  <a:pt x="57" y="237"/>
                  <a:pt x="56" y="237"/>
                  <a:pt x="56" y="237"/>
                </a:cubicBezTo>
                <a:cubicBezTo>
                  <a:pt x="56" y="235"/>
                  <a:pt x="59" y="238"/>
                  <a:pt x="60" y="236"/>
                </a:cubicBezTo>
                <a:cubicBezTo>
                  <a:pt x="61" y="236"/>
                  <a:pt x="63" y="237"/>
                  <a:pt x="64" y="237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4" y="238"/>
                  <a:pt x="65" y="238"/>
                  <a:pt x="65" y="238"/>
                </a:cubicBezTo>
                <a:cubicBezTo>
                  <a:pt x="66" y="238"/>
                  <a:pt x="65" y="238"/>
                  <a:pt x="64" y="238"/>
                </a:cubicBezTo>
                <a:cubicBezTo>
                  <a:pt x="65" y="239"/>
                  <a:pt x="66" y="238"/>
                  <a:pt x="67" y="240"/>
                </a:cubicBezTo>
                <a:cubicBezTo>
                  <a:pt x="67" y="240"/>
                  <a:pt x="66" y="240"/>
                  <a:pt x="66" y="241"/>
                </a:cubicBezTo>
                <a:close/>
                <a:moveTo>
                  <a:pt x="187" y="226"/>
                </a:moveTo>
                <a:cubicBezTo>
                  <a:pt x="188" y="226"/>
                  <a:pt x="188" y="226"/>
                  <a:pt x="188" y="226"/>
                </a:cubicBezTo>
                <a:lnTo>
                  <a:pt x="187" y="226"/>
                </a:lnTo>
                <a:close/>
                <a:moveTo>
                  <a:pt x="197" y="124"/>
                </a:moveTo>
                <a:cubicBezTo>
                  <a:pt x="194" y="126"/>
                  <a:pt x="191" y="122"/>
                  <a:pt x="188" y="124"/>
                </a:cubicBezTo>
                <a:cubicBezTo>
                  <a:pt x="188" y="123"/>
                  <a:pt x="188" y="123"/>
                  <a:pt x="188" y="123"/>
                </a:cubicBezTo>
                <a:cubicBezTo>
                  <a:pt x="188" y="123"/>
                  <a:pt x="189" y="123"/>
                  <a:pt x="190" y="123"/>
                </a:cubicBezTo>
                <a:cubicBezTo>
                  <a:pt x="190" y="123"/>
                  <a:pt x="189" y="122"/>
                  <a:pt x="190" y="122"/>
                </a:cubicBezTo>
                <a:cubicBezTo>
                  <a:pt x="189" y="122"/>
                  <a:pt x="189" y="122"/>
                  <a:pt x="189" y="121"/>
                </a:cubicBezTo>
                <a:cubicBezTo>
                  <a:pt x="188" y="121"/>
                  <a:pt x="187" y="122"/>
                  <a:pt x="186" y="121"/>
                </a:cubicBezTo>
                <a:cubicBezTo>
                  <a:pt x="187" y="121"/>
                  <a:pt x="188" y="121"/>
                  <a:pt x="189" y="121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189" y="120"/>
                  <a:pt x="190" y="120"/>
                  <a:pt x="190" y="120"/>
                </a:cubicBezTo>
                <a:cubicBezTo>
                  <a:pt x="189" y="119"/>
                  <a:pt x="187" y="120"/>
                  <a:pt x="186" y="120"/>
                </a:cubicBezTo>
                <a:cubicBezTo>
                  <a:pt x="187" y="119"/>
                  <a:pt x="187" y="119"/>
                  <a:pt x="187" y="119"/>
                </a:cubicBezTo>
                <a:cubicBezTo>
                  <a:pt x="187" y="119"/>
                  <a:pt x="187" y="119"/>
                  <a:pt x="187" y="119"/>
                </a:cubicBezTo>
                <a:cubicBezTo>
                  <a:pt x="187" y="119"/>
                  <a:pt x="187" y="119"/>
                  <a:pt x="187" y="119"/>
                </a:cubicBezTo>
                <a:cubicBezTo>
                  <a:pt x="187" y="119"/>
                  <a:pt x="187" y="118"/>
                  <a:pt x="188" y="118"/>
                </a:cubicBezTo>
                <a:cubicBezTo>
                  <a:pt x="189" y="118"/>
                  <a:pt x="189" y="119"/>
                  <a:pt x="189" y="118"/>
                </a:cubicBezTo>
                <a:cubicBezTo>
                  <a:pt x="189" y="118"/>
                  <a:pt x="189" y="118"/>
                  <a:pt x="189" y="118"/>
                </a:cubicBezTo>
                <a:cubicBezTo>
                  <a:pt x="190" y="117"/>
                  <a:pt x="191" y="118"/>
                  <a:pt x="192" y="118"/>
                </a:cubicBezTo>
                <a:cubicBezTo>
                  <a:pt x="192" y="119"/>
                  <a:pt x="192" y="119"/>
                  <a:pt x="191" y="119"/>
                </a:cubicBezTo>
                <a:cubicBezTo>
                  <a:pt x="191" y="120"/>
                  <a:pt x="191" y="120"/>
                  <a:pt x="191" y="120"/>
                </a:cubicBezTo>
                <a:cubicBezTo>
                  <a:pt x="192" y="120"/>
                  <a:pt x="192" y="119"/>
                  <a:pt x="192" y="119"/>
                </a:cubicBezTo>
                <a:cubicBezTo>
                  <a:pt x="193" y="119"/>
                  <a:pt x="193" y="119"/>
                  <a:pt x="193" y="119"/>
                </a:cubicBezTo>
                <a:cubicBezTo>
                  <a:pt x="193" y="120"/>
                  <a:pt x="193" y="118"/>
                  <a:pt x="193" y="118"/>
                </a:cubicBezTo>
                <a:cubicBezTo>
                  <a:pt x="194" y="118"/>
                  <a:pt x="194" y="119"/>
                  <a:pt x="195" y="119"/>
                </a:cubicBezTo>
                <a:cubicBezTo>
                  <a:pt x="195" y="118"/>
                  <a:pt x="195" y="118"/>
                  <a:pt x="195" y="118"/>
                </a:cubicBezTo>
                <a:cubicBezTo>
                  <a:pt x="196" y="118"/>
                  <a:pt x="195" y="118"/>
                  <a:pt x="196" y="118"/>
                </a:cubicBezTo>
                <a:cubicBezTo>
                  <a:pt x="197" y="119"/>
                  <a:pt x="197" y="119"/>
                  <a:pt x="197" y="119"/>
                </a:cubicBezTo>
                <a:cubicBezTo>
                  <a:pt x="197" y="119"/>
                  <a:pt x="197" y="118"/>
                  <a:pt x="197" y="118"/>
                </a:cubicBezTo>
                <a:cubicBezTo>
                  <a:pt x="197" y="118"/>
                  <a:pt x="198" y="118"/>
                  <a:pt x="198" y="119"/>
                </a:cubicBezTo>
                <a:cubicBezTo>
                  <a:pt x="199" y="118"/>
                  <a:pt x="199" y="118"/>
                  <a:pt x="200" y="118"/>
                </a:cubicBezTo>
                <a:cubicBezTo>
                  <a:pt x="200" y="118"/>
                  <a:pt x="200" y="118"/>
                  <a:pt x="200" y="117"/>
                </a:cubicBezTo>
                <a:cubicBezTo>
                  <a:pt x="200" y="117"/>
                  <a:pt x="201" y="117"/>
                  <a:pt x="201" y="117"/>
                </a:cubicBezTo>
                <a:cubicBezTo>
                  <a:pt x="202" y="118"/>
                  <a:pt x="202" y="118"/>
                  <a:pt x="203" y="118"/>
                </a:cubicBezTo>
                <a:cubicBezTo>
                  <a:pt x="202" y="118"/>
                  <a:pt x="202" y="118"/>
                  <a:pt x="202" y="118"/>
                </a:cubicBezTo>
                <a:cubicBezTo>
                  <a:pt x="203" y="118"/>
                  <a:pt x="203" y="118"/>
                  <a:pt x="203" y="118"/>
                </a:cubicBezTo>
                <a:cubicBezTo>
                  <a:pt x="203" y="119"/>
                  <a:pt x="203" y="119"/>
                  <a:pt x="203" y="119"/>
                </a:cubicBezTo>
                <a:cubicBezTo>
                  <a:pt x="203" y="119"/>
                  <a:pt x="204" y="118"/>
                  <a:pt x="204" y="119"/>
                </a:cubicBezTo>
                <a:cubicBezTo>
                  <a:pt x="204" y="119"/>
                  <a:pt x="204" y="119"/>
                  <a:pt x="205" y="119"/>
                </a:cubicBezTo>
                <a:cubicBezTo>
                  <a:pt x="205" y="120"/>
                  <a:pt x="204" y="120"/>
                  <a:pt x="205" y="120"/>
                </a:cubicBezTo>
                <a:cubicBezTo>
                  <a:pt x="203" y="122"/>
                  <a:pt x="200" y="123"/>
                  <a:pt x="197" y="124"/>
                </a:cubicBezTo>
                <a:close/>
                <a:moveTo>
                  <a:pt x="207" y="154"/>
                </a:moveTo>
                <a:cubicBezTo>
                  <a:pt x="207" y="154"/>
                  <a:pt x="207" y="153"/>
                  <a:pt x="207" y="153"/>
                </a:cubicBezTo>
                <a:cubicBezTo>
                  <a:pt x="207" y="153"/>
                  <a:pt x="207" y="154"/>
                  <a:pt x="206" y="153"/>
                </a:cubicBezTo>
                <a:cubicBezTo>
                  <a:pt x="207" y="153"/>
                  <a:pt x="207" y="153"/>
                  <a:pt x="207" y="153"/>
                </a:cubicBezTo>
                <a:cubicBezTo>
                  <a:pt x="206" y="153"/>
                  <a:pt x="206" y="153"/>
                  <a:pt x="206" y="153"/>
                </a:cubicBezTo>
                <a:cubicBezTo>
                  <a:pt x="206" y="153"/>
                  <a:pt x="206" y="152"/>
                  <a:pt x="207" y="152"/>
                </a:cubicBezTo>
                <a:cubicBezTo>
                  <a:pt x="206" y="152"/>
                  <a:pt x="206" y="152"/>
                  <a:pt x="206" y="152"/>
                </a:cubicBezTo>
                <a:cubicBezTo>
                  <a:pt x="205" y="152"/>
                  <a:pt x="207" y="151"/>
                  <a:pt x="207" y="152"/>
                </a:cubicBezTo>
                <a:cubicBezTo>
                  <a:pt x="207" y="152"/>
                  <a:pt x="207" y="151"/>
                  <a:pt x="207" y="151"/>
                </a:cubicBezTo>
                <a:cubicBezTo>
                  <a:pt x="207" y="151"/>
                  <a:pt x="207" y="151"/>
                  <a:pt x="207" y="151"/>
                </a:cubicBezTo>
                <a:cubicBezTo>
                  <a:pt x="208" y="151"/>
                  <a:pt x="208" y="150"/>
                  <a:pt x="209" y="149"/>
                </a:cubicBezTo>
                <a:cubicBezTo>
                  <a:pt x="208" y="149"/>
                  <a:pt x="208" y="149"/>
                  <a:pt x="207" y="149"/>
                </a:cubicBezTo>
                <a:cubicBezTo>
                  <a:pt x="207" y="149"/>
                  <a:pt x="207" y="149"/>
                  <a:pt x="207" y="149"/>
                </a:cubicBezTo>
                <a:cubicBezTo>
                  <a:pt x="207" y="148"/>
                  <a:pt x="207" y="148"/>
                  <a:pt x="208" y="148"/>
                </a:cubicBezTo>
                <a:cubicBezTo>
                  <a:pt x="208" y="148"/>
                  <a:pt x="207" y="148"/>
                  <a:pt x="207" y="148"/>
                </a:cubicBezTo>
                <a:cubicBezTo>
                  <a:pt x="207" y="147"/>
                  <a:pt x="207" y="147"/>
                  <a:pt x="207" y="147"/>
                </a:cubicBezTo>
                <a:cubicBezTo>
                  <a:pt x="208" y="147"/>
                  <a:pt x="209" y="146"/>
                  <a:pt x="209" y="147"/>
                </a:cubicBezTo>
                <a:cubicBezTo>
                  <a:pt x="209" y="147"/>
                  <a:pt x="210" y="146"/>
                  <a:pt x="211" y="146"/>
                </a:cubicBezTo>
                <a:cubicBezTo>
                  <a:pt x="210" y="146"/>
                  <a:pt x="210" y="146"/>
                  <a:pt x="210" y="146"/>
                </a:cubicBezTo>
                <a:cubicBezTo>
                  <a:pt x="211" y="145"/>
                  <a:pt x="211" y="144"/>
                  <a:pt x="213" y="144"/>
                </a:cubicBezTo>
                <a:cubicBezTo>
                  <a:pt x="213" y="145"/>
                  <a:pt x="214" y="144"/>
                  <a:pt x="215" y="144"/>
                </a:cubicBezTo>
                <a:cubicBezTo>
                  <a:pt x="215" y="145"/>
                  <a:pt x="216" y="145"/>
                  <a:pt x="216" y="146"/>
                </a:cubicBezTo>
                <a:cubicBezTo>
                  <a:pt x="216" y="147"/>
                  <a:pt x="215" y="148"/>
                  <a:pt x="214" y="147"/>
                </a:cubicBezTo>
                <a:cubicBezTo>
                  <a:pt x="215" y="149"/>
                  <a:pt x="214" y="151"/>
                  <a:pt x="214" y="152"/>
                </a:cubicBezTo>
                <a:cubicBezTo>
                  <a:pt x="211" y="152"/>
                  <a:pt x="210" y="154"/>
                  <a:pt x="207" y="154"/>
                </a:cubicBezTo>
                <a:close/>
                <a:moveTo>
                  <a:pt x="216" y="139"/>
                </a:moveTo>
                <a:cubicBezTo>
                  <a:pt x="216" y="139"/>
                  <a:pt x="216" y="139"/>
                  <a:pt x="216" y="139"/>
                </a:cubicBezTo>
                <a:cubicBezTo>
                  <a:pt x="216" y="139"/>
                  <a:pt x="216" y="138"/>
                  <a:pt x="216" y="138"/>
                </a:cubicBezTo>
                <a:cubicBezTo>
                  <a:pt x="217" y="138"/>
                  <a:pt x="217" y="138"/>
                  <a:pt x="217" y="138"/>
                </a:cubicBezTo>
                <a:cubicBezTo>
                  <a:pt x="217" y="137"/>
                  <a:pt x="218" y="137"/>
                  <a:pt x="217" y="137"/>
                </a:cubicBezTo>
                <a:cubicBezTo>
                  <a:pt x="218" y="137"/>
                  <a:pt x="218" y="136"/>
                  <a:pt x="218" y="136"/>
                </a:cubicBezTo>
                <a:cubicBezTo>
                  <a:pt x="219" y="136"/>
                  <a:pt x="220" y="136"/>
                  <a:pt x="222" y="136"/>
                </a:cubicBezTo>
                <a:cubicBezTo>
                  <a:pt x="222" y="137"/>
                  <a:pt x="221" y="137"/>
                  <a:pt x="220" y="138"/>
                </a:cubicBezTo>
                <a:cubicBezTo>
                  <a:pt x="220" y="138"/>
                  <a:pt x="220" y="138"/>
                  <a:pt x="220" y="138"/>
                </a:cubicBezTo>
                <a:cubicBezTo>
                  <a:pt x="221" y="138"/>
                  <a:pt x="223" y="138"/>
                  <a:pt x="224" y="139"/>
                </a:cubicBezTo>
                <a:cubicBezTo>
                  <a:pt x="223" y="140"/>
                  <a:pt x="223" y="141"/>
                  <a:pt x="222" y="141"/>
                </a:cubicBezTo>
                <a:cubicBezTo>
                  <a:pt x="222" y="142"/>
                  <a:pt x="222" y="142"/>
                  <a:pt x="222" y="142"/>
                </a:cubicBezTo>
                <a:cubicBezTo>
                  <a:pt x="222" y="142"/>
                  <a:pt x="221" y="142"/>
                  <a:pt x="221" y="142"/>
                </a:cubicBezTo>
                <a:cubicBezTo>
                  <a:pt x="224" y="141"/>
                  <a:pt x="224" y="146"/>
                  <a:pt x="226" y="147"/>
                </a:cubicBezTo>
                <a:cubicBezTo>
                  <a:pt x="227" y="148"/>
                  <a:pt x="227" y="148"/>
                  <a:pt x="227" y="149"/>
                </a:cubicBezTo>
                <a:cubicBezTo>
                  <a:pt x="227" y="150"/>
                  <a:pt x="227" y="150"/>
                  <a:pt x="227" y="150"/>
                </a:cubicBezTo>
                <a:cubicBezTo>
                  <a:pt x="227" y="150"/>
                  <a:pt x="227" y="150"/>
                  <a:pt x="227" y="150"/>
                </a:cubicBezTo>
                <a:cubicBezTo>
                  <a:pt x="228" y="150"/>
                  <a:pt x="229" y="150"/>
                  <a:pt x="230" y="151"/>
                </a:cubicBezTo>
                <a:cubicBezTo>
                  <a:pt x="230" y="152"/>
                  <a:pt x="229" y="153"/>
                  <a:pt x="228" y="153"/>
                </a:cubicBezTo>
                <a:cubicBezTo>
                  <a:pt x="228" y="153"/>
                  <a:pt x="228" y="154"/>
                  <a:pt x="228" y="154"/>
                </a:cubicBezTo>
                <a:cubicBezTo>
                  <a:pt x="228" y="154"/>
                  <a:pt x="229" y="154"/>
                  <a:pt x="229" y="154"/>
                </a:cubicBezTo>
                <a:cubicBezTo>
                  <a:pt x="229" y="154"/>
                  <a:pt x="229" y="154"/>
                  <a:pt x="229" y="155"/>
                </a:cubicBezTo>
                <a:cubicBezTo>
                  <a:pt x="228" y="155"/>
                  <a:pt x="226" y="156"/>
                  <a:pt x="224" y="155"/>
                </a:cubicBezTo>
                <a:cubicBezTo>
                  <a:pt x="224" y="156"/>
                  <a:pt x="224" y="156"/>
                  <a:pt x="224" y="156"/>
                </a:cubicBezTo>
                <a:cubicBezTo>
                  <a:pt x="223" y="156"/>
                  <a:pt x="222" y="156"/>
                  <a:pt x="221" y="156"/>
                </a:cubicBezTo>
                <a:cubicBezTo>
                  <a:pt x="220" y="155"/>
                  <a:pt x="219" y="156"/>
                  <a:pt x="219" y="157"/>
                </a:cubicBezTo>
                <a:cubicBezTo>
                  <a:pt x="218" y="156"/>
                  <a:pt x="216" y="157"/>
                  <a:pt x="216" y="157"/>
                </a:cubicBezTo>
                <a:cubicBezTo>
                  <a:pt x="215" y="158"/>
                  <a:pt x="215" y="157"/>
                  <a:pt x="215" y="157"/>
                </a:cubicBezTo>
                <a:cubicBezTo>
                  <a:pt x="215" y="156"/>
                  <a:pt x="217" y="156"/>
                  <a:pt x="217" y="155"/>
                </a:cubicBezTo>
                <a:cubicBezTo>
                  <a:pt x="218" y="154"/>
                  <a:pt x="219" y="154"/>
                  <a:pt x="220" y="154"/>
                </a:cubicBezTo>
                <a:cubicBezTo>
                  <a:pt x="220" y="154"/>
                  <a:pt x="220" y="154"/>
                  <a:pt x="221" y="154"/>
                </a:cubicBezTo>
                <a:cubicBezTo>
                  <a:pt x="221" y="153"/>
                  <a:pt x="219" y="155"/>
                  <a:pt x="219" y="153"/>
                </a:cubicBezTo>
                <a:cubicBezTo>
                  <a:pt x="218" y="153"/>
                  <a:pt x="218" y="154"/>
                  <a:pt x="218" y="154"/>
                </a:cubicBezTo>
                <a:cubicBezTo>
                  <a:pt x="218" y="153"/>
                  <a:pt x="218" y="153"/>
                  <a:pt x="218" y="153"/>
                </a:cubicBezTo>
                <a:cubicBezTo>
                  <a:pt x="217" y="153"/>
                  <a:pt x="217" y="154"/>
                  <a:pt x="216" y="153"/>
                </a:cubicBezTo>
                <a:cubicBezTo>
                  <a:pt x="216" y="153"/>
                  <a:pt x="216" y="153"/>
                  <a:pt x="216" y="153"/>
                </a:cubicBezTo>
                <a:cubicBezTo>
                  <a:pt x="217" y="152"/>
                  <a:pt x="219" y="152"/>
                  <a:pt x="218" y="150"/>
                </a:cubicBezTo>
                <a:cubicBezTo>
                  <a:pt x="218" y="150"/>
                  <a:pt x="218" y="150"/>
                  <a:pt x="217" y="150"/>
                </a:cubicBezTo>
                <a:cubicBezTo>
                  <a:pt x="218" y="150"/>
                  <a:pt x="218" y="150"/>
                  <a:pt x="218" y="150"/>
                </a:cubicBezTo>
                <a:cubicBezTo>
                  <a:pt x="218" y="149"/>
                  <a:pt x="217" y="149"/>
                  <a:pt x="218" y="149"/>
                </a:cubicBezTo>
                <a:cubicBezTo>
                  <a:pt x="219" y="150"/>
                  <a:pt x="221" y="149"/>
                  <a:pt x="221" y="147"/>
                </a:cubicBezTo>
                <a:cubicBezTo>
                  <a:pt x="221" y="147"/>
                  <a:pt x="221" y="147"/>
                  <a:pt x="221" y="147"/>
                </a:cubicBezTo>
                <a:cubicBezTo>
                  <a:pt x="220" y="147"/>
                  <a:pt x="220" y="146"/>
                  <a:pt x="220" y="146"/>
                </a:cubicBezTo>
                <a:cubicBezTo>
                  <a:pt x="220" y="146"/>
                  <a:pt x="220" y="145"/>
                  <a:pt x="220" y="145"/>
                </a:cubicBezTo>
                <a:cubicBezTo>
                  <a:pt x="220" y="145"/>
                  <a:pt x="219" y="145"/>
                  <a:pt x="218" y="146"/>
                </a:cubicBezTo>
                <a:cubicBezTo>
                  <a:pt x="218" y="146"/>
                  <a:pt x="217" y="145"/>
                  <a:pt x="217" y="146"/>
                </a:cubicBezTo>
                <a:cubicBezTo>
                  <a:pt x="217" y="145"/>
                  <a:pt x="217" y="145"/>
                  <a:pt x="217" y="145"/>
                </a:cubicBezTo>
                <a:cubicBezTo>
                  <a:pt x="217" y="145"/>
                  <a:pt x="217" y="144"/>
                  <a:pt x="218" y="144"/>
                </a:cubicBezTo>
                <a:cubicBezTo>
                  <a:pt x="218" y="143"/>
                  <a:pt x="218" y="143"/>
                  <a:pt x="217" y="143"/>
                </a:cubicBezTo>
                <a:cubicBezTo>
                  <a:pt x="216" y="143"/>
                  <a:pt x="217" y="144"/>
                  <a:pt x="216" y="144"/>
                </a:cubicBezTo>
                <a:cubicBezTo>
                  <a:pt x="216" y="143"/>
                  <a:pt x="216" y="143"/>
                  <a:pt x="216" y="142"/>
                </a:cubicBezTo>
                <a:cubicBezTo>
                  <a:pt x="215" y="143"/>
                  <a:pt x="215" y="143"/>
                  <a:pt x="215" y="143"/>
                </a:cubicBezTo>
                <a:cubicBezTo>
                  <a:pt x="215" y="143"/>
                  <a:pt x="215" y="143"/>
                  <a:pt x="214" y="143"/>
                </a:cubicBezTo>
                <a:cubicBezTo>
                  <a:pt x="215" y="143"/>
                  <a:pt x="216" y="142"/>
                  <a:pt x="216" y="142"/>
                </a:cubicBezTo>
                <a:cubicBezTo>
                  <a:pt x="216" y="142"/>
                  <a:pt x="217" y="142"/>
                  <a:pt x="217" y="141"/>
                </a:cubicBezTo>
                <a:cubicBezTo>
                  <a:pt x="216" y="141"/>
                  <a:pt x="216" y="142"/>
                  <a:pt x="215" y="142"/>
                </a:cubicBezTo>
                <a:cubicBezTo>
                  <a:pt x="215" y="141"/>
                  <a:pt x="215" y="142"/>
                  <a:pt x="215" y="141"/>
                </a:cubicBezTo>
                <a:cubicBezTo>
                  <a:pt x="215" y="141"/>
                  <a:pt x="215" y="141"/>
                  <a:pt x="215" y="141"/>
                </a:cubicBezTo>
                <a:cubicBezTo>
                  <a:pt x="215" y="140"/>
                  <a:pt x="216" y="141"/>
                  <a:pt x="216" y="140"/>
                </a:cubicBezTo>
                <a:cubicBezTo>
                  <a:pt x="216" y="140"/>
                  <a:pt x="215" y="139"/>
                  <a:pt x="214" y="139"/>
                </a:cubicBezTo>
                <a:cubicBezTo>
                  <a:pt x="215" y="138"/>
                  <a:pt x="215" y="139"/>
                  <a:pt x="215" y="138"/>
                </a:cubicBezTo>
                <a:cubicBezTo>
                  <a:pt x="216" y="138"/>
                  <a:pt x="216" y="139"/>
                  <a:pt x="216" y="139"/>
                </a:cubicBezTo>
                <a:close/>
                <a:moveTo>
                  <a:pt x="92" y="90"/>
                </a:moveTo>
                <a:cubicBezTo>
                  <a:pt x="92" y="89"/>
                  <a:pt x="92" y="89"/>
                  <a:pt x="92" y="89"/>
                </a:cubicBezTo>
                <a:cubicBezTo>
                  <a:pt x="93" y="89"/>
                  <a:pt x="93" y="89"/>
                  <a:pt x="94" y="89"/>
                </a:cubicBezTo>
                <a:cubicBezTo>
                  <a:pt x="94" y="89"/>
                  <a:pt x="93" y="89"/>
                  <a:pt x="93" y="88"/>
                </a:cubicBezTo>
                <a:cubicBezTo>
                  <a:pt x="94" y="89"/>
                  <a:pt x="95" y="88"/>
                  <a:pt x="97" y="88"/>
                </a:cubicBezTo>
                <a:cubicBezTo>
                  <a:pt x="97" y="88"/>
                  <a:pt x="96" y="88"/>
                  <a:pt x="96" y="88"/>
                </a:cubicBezTo>
                <a:cubicBezTo>
                  <a:pt x="97" y="87"/>
                  <a:pt x="98" y="87"/>
                  <a:pt x="99" y="87"/>
                </a:cubicBezTo>
                <a:cubicBezTo>
                  <a:pt x="99" y="87"/>
                  <a:pt x="99" y="87"/>
                  <a:pt x="99" y="87"/>
                </a:cubicBezTo>
                <a:cubicBezTo>
                  <a:pt x="100" y="86"/>
                  <a:pt x="101" y="87"/>
                  <a:pt x="102" y="87"/>
                </a:cubicBezTo>
                <a:cubicBezTo>
                  <a:pt x="102" y="88"/>
                  <a:pt x="103" y="88"/>
                  <a:pt x="104" y="88"/>
                </a:cubicBezTo>
                <a:cubicBezTo>
                  <a:pt x="104" y="89"/>
                  <a:pt x="104" y="89"/>
                  <a:pt x="104" y="89"/>
                </a:cubicBezTo>
                <a:cubicBezTo>
                  <a:pt x="105" y="89"/>
                  <a:pt x="105" y="88"/>
                  <a:pt x="106" y="88"/>
                </a:cubicBezTo>
                <a:cubicBezTo>
                  <a:pt x="106" y="89"/>
                  <a:pt x="105" y="89"/>
                  <a:pt x="106" y="89"/>
                </a:cubicBezTo>
                <a:cubicBezTo>
                  <a:pt x="106" y="89"/>
                  <a:pt x="106" y="90"/>
                  <a:pt x="105" y="90"/>
                </a:cubicBezTo>
                <a:cubicBezTo>
                  <a:pt x="106" y="90"/>
                  <a:pt x="106" y="90"/>
                  <a:pt x="106" y="90"/>
                </a:cubicBezTo>
                <a:cubicBezTo>
                  <a:pt x="107" y="88"/>
                  <a:pt x="112" y="88"/>
                  <a:pt x="113" y="90"/>
                </a:cubicBezTo>
                <a:cubicBezTo>
                  <a:pt x="114" y="89"/>
                  <a:pt x="114" y="89"/>
                  <a:pt x="114" y="89"/>
                </a:cubicBezTo>
                <a:cubicBezTo>
                  <a:pt x="112" y="89"/>
                  <a:pt x="112" y="89"/>
                  <a:pt x="112" y="89"/>
                </a:cubicBezTo>
                <a:cubicBezTo>
                  <a:pt x="114" y="88"/>
                  <a:pt x="117" y="88"/>
                  <a:pt x="118" y="88"/>
                </a:cubicBezTo>
                <a:cubicBezTo>
                  <a:pt x="117" y="88"/>
                  <a:pt x="114" y="89"/>
                  <a:pt x="113" y="88"/>
                </a:cubicBezTo>
                <a:cubicBezTo>
                  <a:pt x="112" y="89"/>
                  <a:pt x="109" y="88"/>
                  <a:pt x="108" y="88"/>
                </a:cubicBezTo>
                <a:cubicBezTo>
                  <a:pt x="108" y="88"/>
                  <a:pt x="108" y="88"/>
                  <a:pt x="108" y="88"/>
                </a:cubicBezTo>
                <a:cubicBezTo>
                  <a:pt x="107" y="89"/>
                  <a:pt x="105" y="88"/>
                  <a:pt x="104" y="87"/>
                </a:cubicBezTo>
                <a:cubicBezTo>
                  <a:pt x="104" y="87"/>
                  <a:pt x="105" y="87"/>
                  <a:pt x="105" y="87"/>
                </a:cubicBezTo>
                <a:cubicBezTo>
                  <a:pt x="105" y="87"/>
                  <a:pt x="104" y="87"/>
                  <a:pt x="103" y="86"/>
                </a:cubicBezTo>
                <a:cubicBezTo>
                  <a:pt x="108" y="86"/>
                  <a:pt x="113" y="85"/>
                  <a:pt x="117" y="86"/>
                </a:cubicBezTo>
                <a:cubicBezTo>
                  <a:pt x="117" y="85"/>
                  <a:pt x="119" y="84"/>
                  <a:pt x="121" y="85"/>
                </a:cubicBezTo>
                <a:cubicBezTo>
                  <a:pt x="120" y="85"/>
                  <a:pt x="120" y="85"/>
                  <a:pt x="120" y="85"/>
                </a:cubicBezTo>
                <a:cubicBezTo>
                  <a:pt x="121" y="84"/>
                  <a:pt x="122" y="84"/>
                  <a:pt x="122" y="85"/>
                </a:cubicBezTo>
                <a:cubicBezTo>
                  <a:pt x="123" y="84"/>
                  <a:pt x="126" y="84"/>
                  <a:pt x="127" y="85"/>
                </a:cubicBezTo>
                <a:cubicBezTo>
                  <a:pt x="127" y="84"/>
                  <a:pt x="126" y="84"/>
                  <a:pt x="126" y="84"/>
                </a:cubicBezTo>
                <a:cubicBezTo>
                  <a:pt x="129" y="84"/>
                  <a:pt x="132" y="84"/>
                  <a:pt x="134" y="84"/>
                </a:cubicBezTo>
                <a:cubicBezTo>
                  <a:pt x="138" y="84"/>
                  <a:pt x="141" y="85"/>
                  <a:pt x="145" y="84"/>
                </a:cubicBezTo>
                <a:cubicBezTo>
                  <a:pt x="145" y="85"/>
                  <a:pt x="147" y="85"/>
                  <a:pt x="148" y="85"/>
                </a:cubicBezTo>
                <a:cubicBezTo>
                  <a:pt x="146" y="86"/>
                  <a:pt x="143" y="86"/>
                  <a:pt x="140" y="86"/>
                </a:cubicBezTo>
                <a:cubicBezTo>
                  <a:pt x="141" y="86"/>
                  <a:pt x="141" y="86"/>
                  <a:pt x="141" y="86"/>
                </a:cubicBezTo>
                <a:cubicBezTo>
                  <a:pt x="136" y="87"/>
                  <a:pt x="131" y="90"/>
                  <a:pt x="126" y="90"/>
                </a:cubicBezTo>
                <a:cubicBezTo>
                  <a:pt x="125" y="90"/>
                  <a:pt x="125" y="90"/>
                  <a:pt x="125" y="90"/>
                </a:cubicBezTo>
                <a:cubicBezTo>
                  <a:pt x="124" y="90"/>
                  <a:pt x="122" y="91"/>
                  <a:pt x="121" y="90"/>
                </a:cubicBezTo>
                <a:cubicBezTo>
                  <a:pt x="121" y="90"/>
                  <a:pt x="121" y="91"/>
                  <a:pt x="120" y="90"/>
                </a:cubicBezTo>
                <a:cubicBezTo>
                  <a:pt x="121" y="91"/>
                  <a:pt x="122" y="90"/>
                  <a:pt x="123" y="91"/>
                </a:cubicBezTo>
                <a:cubicBezTo>
                  <a:pt x="122" y="92"/>
                  <a:pt x="120" y="91"/>
                  <a:pt x="120" y="91"/>
                </a:cubicBezTo>
                <a:cubicBezTo>
                  <a:pt x="120" y="91"/>
                  <a:pt x="121" y="91"/>
                  <a:pt x="121" y="91"/>
                </a:cubicBezTo>
                <a:cubicBezTo>
                  <a:pt x="119" y="93"/>
                  <a:pt x="118" y="93"/>
                  <a:pt x="114" y="93"/>
                </a:cubicBezTo>
                <a:cubicBezTo>
                  <a:pt x="115" y="93"/>
                  <a:pt x="114" y="93"/>
                  <a:pt x="114" y="94"/>
                </a:cubicBezTo>
                <a:cubicBezTo>
                  <a:pt x="113" y="94"/>
                  <a:pt x="112" y="94"/>
                  <a:pt x="111" y="94"/>
                </a:cubicBezTo>
                <a:cubicBezTo>
                  <a:pt x="112" y="95"/>
                  <a:pt x="111" y="95"/>
                  <a:pt x="111" y="95"/>
                </a:cubicBezTo>
                <a:cubicBezTo>
                  <a:pt x="111" y="95"/>
                  <a:pt x="112" y="95"/>
                  <a:pt x="113" y="95"/>
                </a:cubicBezTo>
                <a:cubicBezTo>
                  <a:pt x="112" y="97"/>
                  <a:pt x="109" y="96"/>
                  <a:pt x="106" y="97"/>
                </a:cubicBezTo>
                <a:cubicBezTo>
                  <a:pt x="106" y="96"/>
                  <a:pt x="107" y="96"/>
                  <a:pt x="107" y="96"/>
                </a:cubicBezTo>
                <a:cubicBezTo>
                  <a:pt x="105" y="95"/>
                  <a:pt x="104" y="97"/>
                  <a:pt x="103" y="96"/>
                </a:cubicBezTo>
                <a:cubicBezTo>
                  <a:pt x="99" y="97"/>
                  <a:pt x="96" y="96"/>
                  <a:pt x="93" y="96"/>
                </a:cubicBezTo>
                <a:cubicBezTo>
                  <a:pt x="93" y="95"/>
                  <a:pt x="94" y="95"/>
                  <a:pt x="94" y="95"/>
                </a:cubicBezTo>
                <a:cubicBezTo>
                  <a:pt x="94" y="96"/>
                  <a:pt x="94" y="96"/>
                  <a:pt x="94" y="96"/>
                </a:cubicBezTo>
                <a:cubicBezTo>
                  <a:pt x="95" y="95"/>
                  <a:pt x="97" y="95"/>
                  <a:pt x="99" y="94"/>
                </a:cubicBezTo>
                <a:cubicBezTo>
                  <a:pt x="100" y="94"/>
                  <a:pt x="99" y="94"/>
                  <a:pt x="99" y="94"/>
                </a:cubicBezTo>
                <a:cubicBezTo>
                  <a:pt x="99" y="94"/>
                  <a:pt x="99" y="94"/>
                  <a:pt x="99" y="94"/>
                </a:cubicBezTo>
                <a:cubicBezTo>
                  <a:pt x="99" y="93"/>
                  <a:pt x="101" y="93"/>
                  <a:pt x="102" y="93"/>
                </a:cubicBezTo>
                <a:cubicBezTo>
                  <a:pt x="102" y="94"/>
                  <a:pt x="102" y="94"/>
                  <a:pt x="102" y="94"/>
                </a:cubicBezTo>
                <a:cubicBezTo>
                  <a:pt x="103" y="94"/>
                  <a:pt x="104" y="94"/>
                  <a:pt x="105" y="94"/>
                </a:cubicBezTo>
                <a:cubicBezTo>
                  <a:pt x="105" y="94"/>
                  <a:pt x="103" y="94"/>
                  <a:pt x="103" y="93"/>
                </a:cubicBezTo>
                <a:cubicBezTo>
                  <a:pt x="103" y="93"/>
                  <a:pt x="103" y="93"/>
                  <a:pt x="103" y="93"/>
                </a:cubicBezTo>
                <a:cubicBezTo>
                  <a:pt x="103" y="93"/>
                  <a:pt x="104" y="93"/>
                  <a:pt x="104" y="93"/>
                </a:cubicBezTo>
                <a:cubicBezTo>
                  <a:pt x="103" y="93"/>
                  <a:pt x="102" y="93"/>
                  <a:pt x="101" y="93"/>
                </a:cubicBezTo>
                <a:cubicBezTo>
                  <a:pt x="103" y="91"/>
                  <a:pt x="107" y="91"/>
                  <a:pt x="110" y="91"/>
                </a:cubicBezTo>
                <a:cubicBezTo>
                  <a:pt x="109" y="91"/>
                  <a:pt x="108" y="91"/>
                  <a:pt x="107" y="91"/>
                </a:cubicBezTo>
                <a:cubicBezTo>
                  <a:pt x="107" y="90"/>
                  <a:pt x="108" y="91"/>
                  <a:pt x="108" y="90"/>
                </a:cubicBezTo>
                <a:cubicBezTo>
                  <a:pt x="108" y="90"/>
                  <a:pt x="107" y="90"/>
                  <a:pt x="106" y="90"/>
                </a:cubicBezTo>
                <a:cubicBezTo>
                  <a:pt x="107" y="90"/>
                  <a:pt x="106" y="90"/>
                  <a:pt x="107" y="90"/>
                </a:cubicBezTo>
                <a:cubicBezTo>
                  <a:pt x="107" y="90"/>
                  <a:pt x="108" y="90"/>
                  <a:pt x="108" y="91"/>
                </a:cubicBezTo>
                <a:cubicBezTo>
                  <a:pt x="105" y="91"/>
                  <a:pt x="104" y="91"/>
                  <a:pt x="102" y="92"/>
                </a:cubicBezTo>
                <a:cubicBezTo>
                  <a:pt x="102" y="91"/>
                  <a:pt x="102" y="91"/>
                  <a:pt x="102" y="91"/>
                </a:cubicBezTo>
                <a:cubicBezTo>
                  <a:pt x="102" y="91"/>
                  <a:pt x="102" y="92"/>
                  <a:pt x="101" y="92"/>
                </a:cubicBezTo>
                <a:cubicBezTo>
                  <a:pt x="101" y="92"/>
                  <a:pt x="101" y="92"/>
                  <a:pt x="100" y="92"/>
                </a:cubicBezTo>
                <a:cubicBezTo>
                  <a:pt x="100" y="92"/>
                  <a:pt x="100" y="92"/>
                  <a:pt x="99" y="93"/>
                </a:cubicBezTo>
                <a:cubicBezTo>
                  <a:pt x="99" y="93"/>
                  <a:pt x="99" y="92"/>
                  <a:pt x="98" y="92"/>
                </a:cubicBezTo>
                <a:cubicBezTo>
                  <a:pt x="98" y="93"/>
                  <a:pt x="98" y="93"/>
                  <a:pt x="98" y="93"/>
                </a:cubicBezTo>
                <a:cubicBezTo>
                  <a:pt x="97" y="92"/>
                  <a:pt x="95" y="93"/>
                  <a:pt x="94" y="92"/>
                </a:cubicBezTo>
                <a:cubicBezTo>
                  <a:pt x="94" y="92"/>
                  <a:pt x="93" y="92"/>
                  <a:pt x="93" y="91"/>
                </a:cubicBezTo>
                <a:cubicBezTo>
                  <a:pt x="94" y="91"/>
                  <a:pt x="95" y="91"/>
                  <a:pt x="97" y="91"/>
                </a:cubicBezTo>
                <a:cubicBezTo>
                  <a:pt x="96" y="91"/>
                  <a:pt x="96" y="91"/>
                  <a:pt x="96" y="91"/>
                </a:cubicBezTo>
                <a:cubicBezTo>
                  <a:pt x="97" y="90"/>
                  <a:pt x="97" y="90"/>
                  <a:pt x="97" y="90"/>
                </a:cubicBezTo>
                <a:cubicBezTo>
                  <a:pt x="96" y="90"/>
                  <a:pt x="95" y="91"/>
                  <a:pt x="94" y="91"/>
                </a:cubicBezTo>
                <a:cubicBezTo>
                  <a:pt x="94" y="90"/>
                  <a:pt x="94" y="90"/>
                  <a:pt x="94" y="90"/>
                </a:cubicBezTo>
                <a:cubicBezTo>
                  <a:pt x="94" y="90"/>
                  <a:pt x="93" y="91"/>
                  <a:pt x="92" y="91"/>
                </a:cubicBezTo>
                <a:cubicBezTo>
                  <a:pt x="92" y="90"/>
                  <a:pt x="92" y="90"/>
                  <a:pt x="92" y="90"/>
                </a:cubicBezTo>
                <a:cubicBezTo>
                  <a:pt x="93" y="90"/>
                  <a:pt x="93" y="90"/>
                  <a:pt x="93" y="90"/>
                </a:cubicBezTo>
                <a:lnTo>
                  <a:pt x="92" y="90"/>
                </a:lnTo>
                <a:close/>
                <a:moveTo>
                  <a:pt x="45" y="97"/>
                </a:moveTo>
                <a:cubicBezTo>
                  <a:pt x="44" y="97"/>
                  <a:pt x="45" y="97"/>
                  <a:pt x="45" y="97"/>
                </a:cubicBezTo>
                <a:cubicBezTo>
                  <a:pt x="44" y="97"/>
                  <a:pt x="43" y="97"/>
                  <a:pt x="42" y="97"/>
                </a:cubicBezTo>
                <a:cubicBezTo>
                  <a:pt x="42" y="97"/>
                  <a:pt x="43" y="97"/>
                  <a:pt x="42" y="97"/>
                </a:cubicBezTo>
                <a:cubicBezTo>
                  <a:pt x="46" y="96"/>
                  <a:pt x="52" y="93"/>
                  <a:pt x="57" y="94"/>
                </a:cubicBezTo>
                <a:cubicBezTo>
                  <a:pt x="56" y="94"/>
                  <a:pt x="56" y="94"/>
                  <a:pt x="55" y="95"/>
                </a:cubicBezTo>
                <a:cubicBezTo>
                  <a:pt x="55" y="95"/>
                  <a:pt x="55" y="95"/>
                  <a:pt x="55" y="95"/>
                </a:cubicBezTo>
                <a:cubicBezTo>
                  <a:pt x="55" y="95"/>
                  <a:pt x="54" y="95"/>
                  <a:pt x="54" y="96"/>
                </a:cubicBezTo>
                <a:cubicBezTo>
                  <a:pt x="53" y="95"/>
                  <a:pt x="52" y="97"/>
                  <a:pt x="50" y="96"/>
                </a:cubicBezTo>
                <a:cubicBezTo>
                  <a:pt x="50" y="96"/>
                  <a:pt x="51" y="96"/>
                  <a:pt x="51" y="95"/>
                </a:cubicBezTo>
                <a:cubicBezTo>
                  <a:pt x="50" y="95"/>
                  <a:pt x="49" y="96"/>
                  <a:pt x="48" y="97"/>
                </a:cubicBezTo>
                <a:cubicBezTo>
                  <a:pt x="47" y="97"/>
                  <a:pt x="47" y="97"/>
                  <a:pt x="47" y="96"/>
                </a:cubicBezTo>
                <a:cubicBezTo>
                  <a:pt x="47" y="97"/>
                  <a:pt x="46" y="97"/>
                  <a:pt x="45" y="97"/>
                </a:cubicBezTo>
                <a:close/>
                <a:moveTo>
                  <a:pt x="61" y="99"/>
                </a:moveTo>
                <a:cubicBezTo>
                  <a:pt x="58" y="99"/>
                  <a:pt x="53" y="101"/>
                  <a:pt x="51" y="99"/>
                </a:cubicBezTo>
                <a:cubicBezTo>
                  <a:pt x="52" y="99"/>
                  <a:pt x="54" y="99"/>
                  <a:pt x="57" y="99"/>
                </a:cubicBezTo>
                <a:cubicBezTo>
                  <a:pt x="55" y="98"/>
                  <a:pt x="53" y="99"/>
                  <a:pt x="53" y="98"/>
                </a:cubicBezTo>
                <a:cubicBezTo>
                  <a:pt x="52" y="98"/>
                  <a:pt x="51" y="100"/>
                  <a:pt x="50" y="99"/>
                </a:cubicBezTo>
                <a:cubicBezTo>
                  <a:pt x="50" y="99"/>
                  <a:pt x="50" y="99"/>
                  <a:pt x="49" y="99"/>
                </a:cubicBezTo>
                <a:cubicBezTo>
                  <a:pt x="49" y="98"/>
                  <a:pt x="49" y="98"/>
                  <a:pt x="49" y="98"/>
                </a:cubicBezTo>
                <a:cubicBezTo>
                  <a:pt x="49" y="99"/>
                  <a:pt x="48" y="99"/>
                  <a:pt x="47" y="98"/>
                </a:cubicBezTo>
                <a:cubicBezTo>
                  <a:pt x="48" y="98"/>
                  <a:pt x="49" y="98"/>
                  <a:pt x="50" y="98"/>
                </a:cubicBezTo>
                <a:cubicBezTo>
                  <a:pt x="50" y="98"/>
                  <a:pt x="49" y="98"/>
                  <a:pt x="49" y="98"/>
                </a:cubicBezTo>
                <a:cubicBezTo>
                  <a:pt x="51" y="97"/>
                  <a:pt x="53" y="96"/>
                  <a:pt x="56" y="96"/>
                </a:cubicBezTo>
                <a:cubicBezTo>
                  <a:pt x="57" y="96"/>
                  <a:pt x="56" y="96"/>
                  <a:pt x="56" y="96"/>
                </a:cubicBezTo>
                <a:cubicBezTo>
                  <a:pt x="56" y="96"/>
                  <a:pt x="57" y="96"/>
                  <a:pt x="58" y="96"/>
                </a:cubicBezTo>
                <a:cubicBezTo>
                  <a:pt x="58" y="97"/>
                  <a:pt x="58" y="97"/>
                  <a:pt x="59" y="97"/>
                </a:cubicBezTo>
                <a:cubicBezTo>
                  <a:pt x="58" y="98"/>
                  <a:pt x="58" y="98"/>
                  <a:pt x="58" y="98"/>
                </a:cubicBezTo>
                <a:cubicBezTo>
                  <a:pt x="59" y="98"/>
                  <a:pt x="61" y="98"/>
                  <a:pt x="62" y="98"/>
                </a:cubicBezTo>
                <a:cubicBezTo>
                  <a:pt x="62" y="97"/>
                  <a:pt x="61" y="97"/>
                  <a:pt x="61" y="97"/>
                </a:cubicBezTo>
                <a:cubicBezTo>
                  <a:pt x="61" y="97"/>
                  <a:pt x="62" y="97"/>
                  <a:pt x="62" y="97"/>
                </a:cubicBezTo>
                <a:cubicBezTo>
                  <a:pt x="62" y="96"/>
                  <a:pt x="62" y="97"/>
                  <a:pt x="62" y="96"/>
                </a:cubicBezTo>
                <a:cubicBezTo>
                  <a:pt x="63" y="96"/>
                  <a:pt x="64" y="95"/>
                  <a:pt x="66" y="95"/>
                </a:cubicBezTo>
                <a:cubicBezTo>
                  <a:pt x="65" y="96"/>
                  <a:pt x="65" y="96"/>
                  <a:pt x="64" y="96"/>
                </a:cubicBezTo>
                <a:cubicBezTo>
                  <a:pt x="65" y="97"/>
                  <a:pt x="65" y="97"/>
                  <a:pt x="65" y="97"/>
                </a:cubicBezTo>
                <a:cubicBezTo>
                  <a:pt x="66" y="97"/>
                  <a:pt x="67" y="96"/>
                  <a:pt x="68" y="97"/>
                </a:cubicBezTo>
                <a:cubicBezTo>
                  <a:pt x="67" y="99"/>
                  <a:pt x="63" y="100"/>
                  <a:pt x="61" y="99"/>
                </a:cubicBezTo>
                <a:close/>
                <a:moveTo>
                  <a:pt x="75" y="102"/>
                </a:moveTo>
                <a:cubicBezTo>
                  <a:pt x="74" y="102"/>
                  <a:pt x="73" y="103"/>
                  <a:pt x="72" y="103"/>
                </a:cubicBezTo>
                <a:cubicBezTo>
                  <a:pt x="74" y="103"/>
                  <a:pt x="74" y="103"/>
                  <a:pt x="74" y="103"/>
                </a:cubicBezTo>
                <a:cubicBezTo>
                  <a:pt x="73" y="103"/>
                  <a:pt x="74" y="104"/>
                  <a:pt x="74" y="104"/>
                </a:cubicBezTo>
                <a:cubicBezTo>
                  <a:pt x="74" y="105"/>
                  <a:pt x="71" y="107"/>
                  <a:pt x="69" y="106"/>
                </a:cubicBezTo>
                <a:cubicBezTo>
                  <a:pt x="69" y="106"/>
                  <a:pt x="69" y="106"/>
                  <a:pt x="69" y="106"/>
                </a:cubicBezTo>
                <a:cubicBezTo>
                  <a:pt x="68" y="107"/>
                  <a:pt x="67" y="107"/>
                  <a:pt x="67" y="107"/>
                </a:cubicBezTo>
                <a:cubicBezTo>
                  <a:pt x="67" y="106"/>
                  <a:pt x="66" y="105"/>
                  <a:pt x="66" y="105"/>
                </a:cubicBezTo>
                <a:cubicBezTo>
                  <a:pt x="65" y="105"/>
                  <a:pt x="65" y="105"/>
                  <a:pt x="65" y="105"/>
                </a:cubicBezTo>
                <a:cubicBezTo>
                  <a:pt x="65" y="104"/>
                  <a:pt x="65" y="104"/>
                  <a:pt x="64" y="104"/>
                </a:cubicBezTo>
                <a:cubicBezTo>
                  <a:pt x="65" y="103"/>
                  <a:pt x="65" y="103"/>
                  <a:pt x="66" y="103"/>
                </a:cubicBezTo>
                <a:cubicBezTo>
                  <a:pt x="67" y="104"/>
                  <a:pt x="67" y="104"/>
                  <a:pt x="67" y="104"/>
                </a:cubicBezTo>
                <a:cubicBezTo>
                  <a:pt x="67" y="104"/>
                  <a:pt x="68" y="103"/>
                  <a:pt x="68" y="104"/>
                </a:cubicBezTo>
                <a:cubicBezTo>
                  <a:pt x="68" y="103"/>
                  <a:pt x="68" y="103"/>
                  <a:pt x="69" y="103"/>
                </a:cubicBezTo>
                <a:cubicBezTo>
                  <a:pt x="69" y="102"/>
                  <a:pt x="68" y="103"/>
                  <a:pt x="68" y="102"/>
                </a:cubicBezTo>
                <a:cubicBezTo>
                  <a:pt x="68" y="102"/>
                  <a:pt x="69" y="102"/>
                  <a:pt x="69" y="102"/>
                </a:cubicBezTo>
                <a:cubicBezTo>
                  <a:pt x="69" y="102"/>
                  <a:pt x="69" y="102"/>
                  <a:pt x="69" y="102"/>
                </a:cubicBezTo>
                <a:cubicBezTo>
                  <a:pt x="70" y="101"/>
                  <a:pt x="72" y="101"/>
                  <a:pt x="72" y="101"/>
                </a:cubicBezTo>
                <a:cubicBezTo>
                  <a:pt x="72" y="101"/>
                  <a:pt x="74" y="101"/>
                  <a:pt x="76" y="101"/>
                </a:cubicBezTo>
                <a:cubicBezTo>
                  <a:pt x="76" y="101"/>
                  <a:pt x="75" y="101"/>
                  <a:pt x="75" y="101"/>
                </a:cubicBezTo>
                <a:cubicBezTo>
                  <a:pt x="75" y="101"/>
                  <a:pt x="76" y="101"/>
                  <a:pt x="76" y="101"/>
                </a:cubicBezTo>
                <a:cubicBezTo>
                  <a:pt x="76" y="102"/>
                  <a:pt x="74" y="102"/>
                  <a:pt x="75" y="102"/>
                </a:cubicBezTo>
                <a:close/>
                <a:moveTo>
                  <a:pt x="80" y="97"/>
                </a:moveTo>
                <a:cubicBezTo>
                  <a:pt x="80" y="98"/>
                  <a:pt x="78" y="97"/>
                  <a:pt x="78" y="99"/>
                </a:cubicBezTo>
                <a:cubicBezTo>
                  <a:pt x="78" y="99"/>
                  <a:pt x="77" y="98"/>
                  <a:pt x="78" y="99"/>
                </a:cubicBezTo>
                <a:cubicBezTo>
                  <a:pt x="76" y="99"/>
                  <a:pt x="75" y="99"/>
                  <a:pt x="74" y="99"/>
                </a:cubicBezTo>
                <a:cubicBezTo>
                  <a:pt x="74" y="98"/>
                  <a:pt x="75" y="98"/>
                  <a:pt x="76" y="98"/>
                </a:cubicBezTo>
                <a:cubicBezTo>
                  <a:pt x="74" y="97"/>
                  <a:pt x="73" y="98"/>
                  <a:pt x="71" y="98"/>
                </a:cubicBezTo>
                <a:cubicBezTo>
                  <a:pt x="72" y="97"/>
                  <a:pt x="71" y="98"/>
                  <a:pt x="71" y="97"/>
                </a:cubicBezTo>
                <a:cubicBezTo>
                  <a:pt x="72" y="97"/>
                  <a:pt x="73" y="96"/>
                  <a:pt x="74" y="97"/>
                </a:cubicBezTo>
                <a:cubicBezTo>
                  <a:pt x="74" y="97"/>
                  <a:pt x="74" y="95"/>
                  <a:pt x="76" y="96"/>
                </a:cubicBezTo>
                <a:cubicBezTo>
                  <a:pt x="76" y="97"/>
                  <a:pt x="76" y="97"/>
                  <a:pt x="77" y="97"/>
                </a:cubicBezTo>
                <a:cubicBezTo>
                  <a:pt x="77" y="97"/>
                  <a:pt x="77" y="96"/>
                  <a:pt x="77" y="96"/>
                </a:cubicBezTo>
                <a:cubicBezTo>
                  <a:pt x="76" y="96"/>
                  <a:pt x="76" y="96"/>
                  <a:pt x="76" y="96"/>
                </a:cubicBezTo>
                <a:cubicBezTo>
                  <a:pt x="76" y="95"/>
                  <a:pt x="79" y="95"/>
                  <a:pt x="79" y="96"/>
                </a:cubicBezTo>
                <a:cubicBezTo>
                  <a:pt x="80" y="96"/>
                  <a:pt x="80" y="96"/>
                  <a:pt x="81" y="95"/>
                </a:cubicBezTo>
                <a:cubicBezTo>
                  <a:pt x="81" y="96"/>
                  <a:pt x="81" y="96"/>
                  <a:pt x="82" y="96"/>
                </a:cubicBezTo>
                <a:cubicBezTo>
                  <a:pt x="81" y="96"/>
                  <a:pt x="81" y="97"/>
                  <a:pt x="80" y="97"/>
                </a:cubicBezTo>
                <a:close/>
                <a:moveTo>
                  <a:pt x="81" y="93"/>
                </a:moveTo>
                <a:cubicBezTo>
                  <a:pt x="81" y="93"/>
                  <a:pt x="81" y="93"/>
                  <a:pt x="81" y="93"/>
                </a:cubicBezTo>
                <a:cubicBezTo>
                  <a:pt x="80" y="92"/>
                  <a:pt x="77" y="93"/>
                  <a:pt x="76" y="92"/>
                </a:cubicBezTo>
                <a:cubicBezTo>
                  <a:pt x="76" y="91"/>
                  <a:pt x="77" y="92"/>
                  <a:pt x="78" y="92"/>
                </a:cubicBezTo>
                <a:cubicBezTo>
                  <a:pt x="78" y="92"/>
                  <a:pt x="78" y="92"/>
                  <a:pt x="79" y="92"/>
                </a:cubicBezTo>
                <a:cubicBezTo>
                  <a:pt x="78" y="91"/>
                  <a:pt x="78" y="91"/>
                  <a:pt x="78" y="91"/>
                </a:cubicBezTo>
                <a:cubicBezTo>
                  <a:pt x="79" y="91"/>
                  <a:pt x="79" y="91"/>
                  <a:pt x="79" y="91"/>
                </a:cubicBezTo>
                <a:cubicBezTo>
                  <a:pt x="78" y="91"/>
                  <a:pt x="77" y="92"/>
                  <a:pt x="77" y="91"/>
                </a:cubicBezTo>
                <a:cubicBezTo>
                  <a:pt x="78" y="91"/>
                  <a:pt x="78" y="91"/>
                  <a:pt x="78" y="91"/>
                </a:cubicBezTo>
                <a:cubicBezTo>
                  <a:pt x="77" y="91"/>
                  <a:pt x="77" y="91"/>
                  <a:pt x="77" y="91"/>
                </a:cubicBezTo>
                <a:cubicBezTo>
                  <a:pt x="77" y="90"/>
                  <a:pt x="80" y="90"/>
                  <a:pt x="81" y="90"/>
                </a:cubicBezTo>
                <a:cubicBezTo>
                  <a:pt x="81" y="91"/>
                  <a:pt x="81" y="91"/>
                  <a:pt x="81" y="91"/>
                </a:cubicBezTo>
                <a:cubicBezTo>
                  <a:pt x="82" y="91"/>
                  <a:pt x="83" y="91"/>
                  <a:pt x="83" y="91"/>
                </a:cubicBezTo>
                <a:cubicBezTo>
                  <a:pt x="83" y="91"/>
                  <a:pt x="83" y="91"/>
                  <a:pt x="83" y="91"/>
                </a:cubicBezTo>
                <a:cubicBezTo>
                  <a:pt x="83" y="91"/>
                  <a:pt x="84" y="91"/>
                  <a:pt x="84" y="92"/>
                </a:cubicBezTo>
                <a:cubicBezTo>
                  <a:pt x="83" y="92"/>
                  <a:pt x="83" y="92"/>
                  <a:pt x="83" y="92"/>
                </a:cubicBezTo>
                <a:cubicBezTo>
                  <a:pt x="84" y="93"/>
                  <a:pt x="84" y="93"/>
                  <a:pt x="84" y="93"/>
                </a:cubicBezTo>
                <a:cubicBezTo>
                  <a:pt x="83" y="93"/>
                  <a:pt x="82" y="93"/>
                  <a:pt x="81" y="93"/>
                </a:cubicBezTo>
                <a:close/>
                <a:moveTo>
                  <a:pt x="86" y="99"/>
                </a:moveTo>
                <a:cubicBezTo>
                  <a:pt x="86" y="98"/>
                  <a:pt x="87" y="98"/>
                  <a:pt x="88" y="97"/>
                </a:cubicBezTo>
                <a:cubicBezTo>
                  <a:pt x="88" y="97"/>
                  <a:pt x="88" y="97"/>
                  <a:pt x="88" y="96"/>
                </a:cubicBezTo>
                <a:cubicBezTo>
                  <a:pt x="87" y="97"/>
                  <a:pt x="86" y="96"/>
                  <a:pt x="84" y="96"/>
                </a:cubicBezTo>
                <a:cubicBezTo>
                  <a:pt x="84" y="96"/>
                  <a:pt x="84" y="95"/>
                  <a:pt x="83" y="95"/>
                </a:cubicBezTo>
                <a:cubicBezTo>
                  <a:pt x="83" y="95"/>
                  <a:pt x="84" y="95"/>
                  <a:pt x="84" y="95"/>
                </a:cubicBezTo>
                <a:cubicBezTo>
                  <a:pt x="84" y="94"/>
                  <a:pt x="89" y="95"/>
                  <a:pt x="89" y="96"/>
                </a:cubicBezTo>
                <a:cubicBezTo>
                  <a:pt x="90" y="96"/>
                  <a:pt x="91" y="95"/>
                  <a:pt x="93" y="96"/>
                </a:cubicBezTo>
                <a:cubicBezTo>
                  <a:pt x="92" y="96"/>
                  <a:pt x="92" y="96"/>
                  <a:pt x="92" y="96"/>
                </a:cubicBezTo>
                <a:cubicBezTo>
                  <a:pt x="93" y="96"/>
                  <a:pt x="93" y="96"/>
                  <a:pt x="94" y="96"/>
                </a:cubicBezTo>
                <a:cubicBezTo>
                  <a:pt x="94" y="97"/>
                  <a:pt x="93" y="97"/>
                  <a:pt x="92" y="97"/>
                </a:cubicBezTo>
                <a:cubicBezTo>
                  <a:pt x="92" y="97"/>
                  <a:pt x="92" y="97"/>
                  <a:pt x="93" y="97"/>
                </a:cubicBezTo>
                <a:cubicBezTo>
                  <a:pt x="93" y="98"/>
                  <a:pt x="92" y="97"/>
                  <a:pt x="92" y="98"/>
                </a:cubicBezTo>
                <a:cubicBezTo>
                  <a:pt x="93" y="98"/>
                  <a:pt x="93" y="97"/>
                  <a:pt x="93" y="97"/>
                </a:cubicBezTo>
                <a:cubicBezTo>
                  <a:pt x="94" y="98"/>
                  <a:pt x="94" y="98"/>
                  <a:pt x="94" y="98"/>
                </a:cubicBezTo>
                <a:cubicBezTo>
                  <a:pt x="95" y="97"/>
                  <a:pt x="95" y="98"/>
                  <a:pt x="97" y="98"/>
                </a:cubicBezTo>
                <a:cubicBezTo>
                  <a:pt x="99" y="97"/>
                  <a:pt x="102" y="97"/>
                  <a:pt x="105" y="97"/>
                </a:cubicBezTo>
                <a:cubicBezTo>
                  <a:pt x="105" y="98"/>
                  <a:pt x="105" y="98"/>
                  <a:pt x="105" y="98"/>
                </a:cubicBezTo>
                <a:cubicBezTo>
                  <a:pt x="106" y="97"/>
                  <a:pt x="106" y="98"/>
                  <a:pt x="107" y="98"/>
                </a:cubicBezTo>
                <a:cubicBezTo>
                  <a:pt x="107" y="99"/>
                  <a:pt x="106" y="99"/>
                  <a:pt x="106" y="99"/>
                </a:cubicBezTo>
                <a:cubicBezTo>
                  <a:pt x="106" y="99"/>
                  <a:pt x="106" y="99"/>
                  <a:pt x="106" y="99"/>
                </a:cubicBezTo>
                <a:cubicBezTo>
                  <a:pt x="105" y="99"/>
                  <a:pt x="102" y="100"/>
                  <a:pt x="100" y="100"/>
                </a:cubicBezTo>
                <a:cubicBezTo>
                  <a:pt x="100" y="99"/>
                  <a:pt x="100" y="99"/>
                  <a:pt x="100" y="99"/>
                </a:cubicBezTo>
                <a:cubicBezTo>
                  <a:pt x="98" y="101"/>
                  <a:pt x="93" y="100"/>
                  <a:pt x="91" y="100"/>
                </a:cubicBezTo>
                <a:cubicBezTo>
                  <a:pt x="91" y="99"/>
                  <a:pt x="92" y="100"/>
                  <a:pt x="92" y="99"/>
                </a:cubicBezTo>
                <a:cubicBezTo>
                  <a:pt x="90" y="100"/>
                  <a:pt x="88" y="100"/>
                  <a:pt x="86" y="99"/>
                </a:cubicBezTo>
                <a:close/>
                <a:moveTo>
                  <a:pt x="116" y="164"/>
                </a:moveTo>
                <a:cubicBezTo>
                  <a:pt x="116" y="163"/>
                  <a:pt x="117" y="162"/>
                  <a:pt x="118" y="162"/>
                </a:cubicBezTo>
                <a:cubicBezTo>
                  <a:pt x="118" y="163"/>
                  <a:pt x="117" y="163"/>
                  <a:pt x="117" y="164"/>
                </a:cubicBezTo>
                <a:cubicBezTo>
                  <a:pt x="117" y="164"/>
                  <a:pt x="117" y="163"/>
                  <a:pt x="118" y="163"/>
                </a:cubicBezTo>
                <a:cubicBezTo>
                  <a:pt x="118" y="164"/>
                  <a:pt x="117" y="165"/>
                  <a:pt x="116" y="166"/>
                </a:cubicBezTo>
                <a:cubicBezTo>
                  <a:pt x="116" y="166"/>
                  <a:pt x="116" y="166"/>
                  <a:pt x="115" y="166"/>
                </a:cubicBezTo>
                <a:cubicBezTo>
                  <a:pt x="115" y="166"/>
                  <a:pt x="115" y="166"/>
                  <a:pt x="115" y="165"/>
                </a:cubicBezTo>
                <a:cubicBezTo>
                  <a:pt x="115" y="165"/>
                  <a:pt x="114" y="166"/>
                  <a:pt x="114" y="166"/>
                </a:cubicBezTo>
                <a:cubicBezTo>
                  <a:pt x="114" y="165"/>
                  <a:pt x="116" y="164"/>
                  <a:pt x="115" y="163"/>
                </a:cubicBezTo>
                <a:cubicBezTo>
                  <a:pt x="114" y="164"/>
                  <a:pt x="112" y="166"/>
                  <a:pt x="110" y="165"/>
                </a:cubicBezTo>
                <a:cubicBezTo>
                  <a:pt x="111" y="165"/>
                  <a:pt x="112" y="164"/>
                  <a:pt x="113" y="164"/>
                </a:cubicBezTo>
                <a:cubicBezTo>
                  <a:pt x="112" y="163"/>
                  <a:pt x="112" y="163"/>
                  <a:pt x="112" y="163"/>
                </a:cubicBezTo>
                <a:cubicBezTo>
                  <a:pt x="112" y="164"/>
                  <a:pt x="112" y="164"/>
                  <a:pt x="112" y="164"/>
                </a:cubicBezTo>
                <a:cubicBezTo>
                  <a:pt x="111" y="164"/>
                  <a:pt x="111" y="164"/>
                  <a:pt x="111" y="164"/>
                </a:cubicBezTo>
                <a:cubicBezTo>
                  <a:pt x="110" y="164"/>
                  <a:pt x="111" y="164"/>
                  <a:pt x="111" y="163"/>
                </a:cubicBezTo>
                <a:cubicBezTo>
                  <a:pt x="110" y="164"/>
                  <a:pt x="107" y="163"/>
                  <a:pt x="104" y="164"/>
                </a:cubicBezTo>
                <a:cubicBezTo>
                  <a:pt x="104" y="163"/>
                  <a:pt x="104" y="163"/>
                  <a:pt x="104" y="163"/>
                </a:cubicBezTo>
                <a:cubicBezTo>
                  <a:pt x="105" y="162"/>
                  <a:pt x="106" y="162"/>
                  <a:pt x="107" y="161"/>
                </a:cubicBezTo>
                <a:cubicBezTo>
                  <a:pt x="107" y="161"/>
                  <a:pt x="106" y="161"/>
                  <a:pt x="105" y="161"/>
                </a:cubicBezTo>
                <a:cubicBezTo>
                  <a:pt x="105" y="161"/>
                  <a:pt x="106" y="161"/>
                  <a:pt x="106" y="161"/>
                </a:cubicBezTo>
                <a:cubicBezTo>
                  <a:pt x="107" y="161"/>
                  <a:pt x="106" y="161"/>
                  <a:pt x="106" y="161"/>
                </a:cubicBezTo>
                <a:cubicBezTo>
                  <a:pt x="107" y="161"/>
                  <a:pt x="107" y="160"/>
                  <a:pt x="107" y="160"/>
                </a:cubicBezTo>
                <a:cubicBezTo>
                  <a:pt x="108" y="160"/>
                  <a:pt x="108" y="160"/>
                  <a:pt x="108" y="160"/>
                </a:cubicBezTo>
                <a:cubicBezTo>
                  <a:pt x="108" y="158"/>
                  <a:pt x="111" y="157"/>
                  <a:pt x="111" y="156"/>
                </a:cubicBezTo>
                <a:cubicBezTo>
                  <a:pt x="112" y="155"/>
                  <a:pt x="113" y="154"/>
                  <a:pt x="115" y="153"/>
                </a:cubicBezTo>
                <a:cubicBezTo>
                  <a:pt x="115" y="154"/>
                  <a:pt x="115" y="154"/>
                  <a:pt x="115" y="154"/>
                </a:cubicBezTo>
                <a:cubicBezTo>
                  <a:pt x="115" y="154"/>
                  <a:pt x="115" y="153"/>
                  <a:pt x="116" y="153"/>
                </a:cubicBezTo>
                <a:cubicBezTo>
                  <a:pt x="116" y="154"/>
                  <a:pt x="115" y="154"/>
                  <a:pt x="114" y="154"/>
                </a:cubicBezTo>
                <a:cubicBezTo>
                  <a:pt x="115" y="154"/>
                  <a:pt x="115" y="154"/>
                  <a:pt x="115" y="154"/>
                </a:cubicBezTo>
                <a:cubicBezTo>
                  <a:pt x="114" y="156"/>
                  <a:pt x="112" y="157"/>
                  <a:pt x="111" y="158"/>
                </a:cubicBezTo>
                <a:cubicBezTo>
                  <a:pt x="112" y="158"/>
                  <a:pt x="112" y="157"/>
                  <a:pt x="113" y="157"/>
                </a:cubicBezTo>
                <a:cubicBezTo>
                  <a:pt x="113" y="157"/>
                  <a:pt x="114" y="158"/>
                  <a:pt x="114" y="157"/>
                </a:cubicBezTo>
                <a:cubicBezTo>
                  <a:pt x="114" y="158"/>
                  <a:pt x="113" y="158"/>
                  <a:pt x="113" y="158"/>
                </a:cubicBezTo>
                <a:cubicBezTo>
                  <a:pt x="113" y="159"/>
                  <a:pt x="114" y="158"/>
                  <a:pt x="114" y="159"/>
                </a:cubicBezTo>
                <a:cubicBezTo>
                  <a:pt x="114" y="159"/>
                  <a:pt x="114" y="158"/>
                  <a:pt x="114" y="159"/>
                </a:cubicBezTo>
                <a:cubicBezTo>
                  <a:pt x="115" y="159"/>
                  <a:pt x="114" y="159"/>
                  <a:pt x="114" y="159"/>
                </a:cubicBezTo>
                <a:cubicBezTo>
                  <a:pt x="115" y="159"/>
                  <a:pt x="115" y="159"/>
                  <a:pt x="116" y="159"/>
                </a:cubicBezTo>
                <a:cubicBezTo>
                  <a:pt x="115" y="159"/>
                  <a:pt x="115" y="159"/>
                  <a:pt x="115" y="159"/>
                </a:cubicBezTo>
                <a:cubicBezTo>
                  <a:pt x="115" y="158"/>
                  <a:pt x="115" y="159"/>
                  <a:pt x="116" y="158"/>
                </a:cubicBezTo>
                <a:cubicBezTo>
                  <a:pt x="116" y="159"/>
                  <a:pt x="116" y="159"/>
                  <a:pt x="116" y="159"/>
                </a:cubicBezTo>
                <a:cubicBezTo>
                  <a:pt x="116" y="159"/>
                  <a:pt x="117" y="159"/>
                  <a:pt x="118" y="159"/>
                </a:cubicBezTo>
                <a:cubicBezTo>
                  <a:pt x="117" y="160"/>
                  <a:pt x="117" y="160"/>
                  <a:pt x="116" y="160"/>
                </a:cubicBezTo>
                <a:cubicBezTo>
                  <a:pt x="116" y="161"/>
                  <a:pt x="116" y="161"/>
                  <a:pt x="116" y="161"/>
                </a:cubicBezTo>
                <a:cubicBezTo>
                  <a:pt x="117" y="161"/>
                  <a:pt x="117" y="161"/>
                  <a:pt x="116" y="161"/>
                </a:cubicBezTo>
                <a:cubicBezTo>
                  <a:pt x="117" y="161"/>
                  <a:pt x="117" y="161"/>
                  <a:pt x="117" y="161"/>
                </a:cubicBezTo>
                <a:cubicBezTo>
                  <a:pt x="117" y="161"/>
                  <a:pt x="118" y="161"/>
                  <a:pt x="118" y="161"/>
                </a:cubicBezTo>
                <a:cubicBezTo>
                  <a:pt x="117" y="162"/>
                  <a:pt x="116" y="162"/>
                  <a:pt x="116" y="163"/>
                </a:cubicBezTo>
                <a:lnTo>
                  <a:pt x="116" y="164"/>
                </a:lnTo>
                <a:close/>
                <a:moveTo>
                  <a:pt x="122" y="117"/>
                </a:moveTo>
                <a:cubicBezTo>
                  <a:pt x="122" y="118"/>
                  <a:pt x="122" y="118"/>
                  <a:pt x="122" y="118"/>
                </a:cubicBezTo>
                <a:cubicBezTo>
                  <a:pt x="122" y="118"/>
                  <a:pt x="121" y="118"/>
                  <a:pt x="120" y="118"/>
                </a:cubicBezTo>
                <a:cubicBezTo>
                  <a:pt x="120" y="118"/>
                  <a:pt x="121" y="118"/>
                  <a:pt x="120" y="118"/>
                </a:cubicBezTo>
                <a:cubicBezTo>
                  <a:pt x="120" y="118"/>
                  <a:pt x="121" y="118"/>
                  <a:pt x="121" y="118"/>
                </a:cubicBezTo>
                <a:cubicBezTo>
                  <a:pt x="120" y="118"/>
                  <a:pt x="120" y="118"/>
                  <a:pt x="120" y="118"/>
                </a:cubicBezTo>
                <a:cubicBezTo>
                  <a:pt x="120" y="119"/>
                  <a:pt x="120" y="119"/>
                  <a:pt x="120" y="119"/>
                </a:cubicBezTo>
                <a:cubicBezTo>
                  <a:pt x="119" y="119"/>
                  <a:pt x="119" y="119"/>
                  <a:pt x="119" y="119"/>
                </a:cubicBezTo>
                <a:cubicBezTo>
                  <a:pt x="118" y="119"/>
                  <a:pt x="118" y="120"/>
                  <a:pt x="118" y="119"/>
                </a:cubicBezTo>
                <a:cubicBezTo>
                  <a:pt x="117" y="120"/>
                  <a:pt x="117" y="121"/>
                  <a:pt x="116" y="121"/>
                </a:cubicBezTo>
                <a:cubicBezTo>
                  <a:pt x="116" y="121"/>
                  <a:pt x="115" y="120"/>
                  <a:pt x="115" y="121"/>
                </a:cubicBezTo>
                <a:cubicBezTo>
                  <a:pt x="115" y="120"/>
                  <a:pt x="113" y="119"/>
                  <a:pt x="114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4" y="118"/>
                  <a:pt x="113" y="118"/>
                  <a:pt x="113" y="118"/>
                </a:cubicBezTo>
                <a:cubicBezTo>
                  <a:pt x="113" y="118"/>
                  <a:pt x="113" y="118"/>
                  <a:pt x="113" y="118"/>
                </a:cubicBezTo>
                <a:cubicBezTo>
                  <a:pt x="113" y="118"/>
                  <a:pt x="113" y="118"/>
                  <a:pt x="113" y="117"/>
                </a:cubicBezTo>
                <a:cubicBezTo>
                  <a:pt x="112" y="117"/>
                  <a:pt x="112" y="118"/>
                  <a:pt x="112" y="117"/>
                </a:cubicBezTo>
                <a:cubicBezTo>
                  <a:pt x="112" y="118"/>
                  <a:pt x="112" y="118"/>
                  <a:pt x="112" y="118"/>
                </a:cubicBezTo>
                <a:cubicBezTo>
                  <a:pt x="111" y="118"/>
                  <a:pt x="111" y="118"/>
                  <a:pt x="111" y="117"/>
                </a:cubicBezTo>
                <a:cubicBezTo>
                  <a:pt x="111" y="118"/>
                  <a:pt x="111" y="118"/>
                  <a:pt x="111" y="118"/>
                </a:cubicBezTo>
                <a:cubicBezTo>
                  <a:pt x="111" y="119"/>
                  <a:pt x="111" y="119"/>
                  <a:pt x="111" y="119"/>
                </a:cubicBezTo>
                <a:cubicBezTo>
                  <a:pt x="111" y="119"/>
                  <a:pt x="110" y="119"/>
                  <a:pt x="110" y="118"/>
                </a:cubicBezTo>
                <a:cubicBezTo>
                  <a:pt x="110" y="119"/>
                  <a:pt x="110" y="119"/>
                  <a:pt x="110" y="119"/>
                </a:cubicBezTo>
                <a:cubicBezTo>
                  <a:pt x="110" y="119"/>
                  <a:pt x="110" y="119"/>
                  <a:pt x="110" y="119"/>
                </a:cubicBezTo>
                <a:cubicBezTo>
                  <a:pt x="111" y="119"/>
                  <a:pt x="111" y="119"/>
                  <a:pt x="111" y="119"/>
                </a:cubicBezTo>
                <a:cubicBezTo>
                  <a:pt x="111" y="120"/>
                  <a:pt x="110" y="120"/>
                  <a:pt x="111" y="120"/>
                </a:cubicBezTo>
                <a:cubicBezTo>
                  <a:pt x="110" y="121"/>
                  <a:pt x="111" y="120"/>
                  <a:pt x="111" y="121"/>
                </a:cubicBezTo>
                <a:cubicBezTo>
                  <a:pt x="111" y="120"/>
                  <a:pt x="112" y="121"/>
                  <a:pt x="112" y="121"/>
                </a:cubicBezTo>
                <a:cubicBezTo>
                  <a:pt x="113" y="122"/>
                  <a:pt x="112" y="122"/>
                  <a:pt x="112" y="122"/>
                </a:cubicBezTo>
                <a:cubicBezTo>
                  <a:pt x="113" y="122"/>
                  <a:pt x="113" y="122"/>
                  <a:pt x="113" y="122"/>
                </a:cubicBezTo>
                <a:cubicBezTo>
                  <a:pt x="113" y="122"/>
                  <a:pt x="113" y="123"/>
                  <a:pt x="112" y="122"/>
                </a:cubicBezTo>
                <a:cubicBezTo>
                  <a:pt x="112" y="123"/>
                  <a:pt x="113" y="123"/>
                  <a:pt x="113" y="123"/>
                </a:cubicBezTo>
                <a:cubicBezTo>
                  <a:pt x="113" y="123"/>
                  <a:pt x="113" y="123"/>
                  <a:pt x="112" y="123"/>
                </a:cubicBezTo>
                <a:cubicBezTo>
                  <a:pt x="113" y="124"/>
                  <a:pt x="113" y="124"/>
                  <a:pt x="113" y="124"/>
                </a:cubicBezTo>
                <a:cubicBezTo>
                  <a:pt x="113" y="124"/>
                  <a:pt x="113" y="125"/>
                  <a:pt x="112" y="125"/>
                </a:cubicBezTo>
                <a:cubicBezTo>
                  <a:pt x="112" y="125"/>
                  <a:pt x="112" y="124"/>
                  <a:pt x="112" y="124"/>
                </a:cubicBezTo>
                <a:cubicBezTo>
                  <a:pt x="112" y="124"/>
                  <a:pt x="112" y="125"/>
                  <a:pt x="112" y="126"/>
                </a:cubicBezTo>
                <a:cubicBezTo>
                  <a:pt x="111" y="126"/>
                  <a:pt x="111" y="126"/>
                  <a:pt x="111" y="126"/>
                </a:cubicBezTo>
                <a:cubicBezTo>
                  <a:pt x="110" y="126"/>
                  <a:pt x="111" y="126"/>
                  <a:pt x="111" y="127"/>
                </a:cubicBezTo>
                <a:cubicBezTo>
                  <a:pt x="110" y="127"/>
                  <a:pt x="110" y="127"/>
                  <a:pt x="110" y="127"/>
                </a:cubicBezTo>
                <a:cubicBezTo>
                  <a:pt x="110" y="126"/>
                  <a:pt x="110" y="126"/>
                  <a:pt x="110" y="126"/>
                </a:cubicBezTo>
                <a:cubicBezTo>
                  <a:pt x="109" y="125"/>
                  <a:pt x="108" y="126"/>
                  <a:pt x="107" y="124"/>
                </a:cubicBezTo>
                <a:cubicBezTo>
                  <a:pt x="107" y="124"/>
                  <a:pt x="107" y="124"/>
                  <a:pt x="107" y="125"/>
                </a:cubicBezTo>
                <a:cubicBezTo>
                  <a:pt x="106" y="124"/>
                  <a:pt x="106" y="124"/>
                  <a:pt x="105" y="124"/>
                </a:cubicBezTo>
                <a:cubicBezTo>
                  <a:pt x="106" y="125"/>
                  <a:pt x="107" y="126"/>
                  <a:pt x="108" y="127"/>
                </a:cubicBezTo>
                <a:cubicBezTo>
                  <a:pt x="108" y="128"/>
                  <a:pt x="108" y="128"/>
                  <a:pt x="108" y="128"/>
                </a:cubicBezTo>
                <a:cubicBezTo>
                  <a:pt x="106" y="127"/>
                  <a:pt x="103" y="128"/>
                  <a:pt x="102" y="126"/>
                </a:cubicBezTo>
                <a:cubicBezTo>
                  <a:pt x="102" y="126"/>
                  <a:pt x="101" y="126"/>
                  <a:pt x="101" y="126"/>
                </a:cubicBezTo>
                <a:cubicBezTo>
                  <a:pt x="101" y="126"/>
                  <a:pt x="101" y="126"/>
                  <a:pt x="101" y="127"/>
                </a:cubicBezTo>
                <a:cubicBezTo>
                  <a:pt x="101" y="127"/>
                  <a:pt x="100" y="127"/>
                  <a:pt x="100" y="127"/>
                </a:cubicBezTo>
                <a:cubicBezTo>
                  <a:pt x="100" y="126"/>
                  <a:pt x="100" y="126"/>
                  <a:pt x="100" y="126"/>
                </a:cubicBezTo>
                <a:cubicBezTo>
                  <a:pt x="100" y="126"/>
                  <a:pt x="100" y="126"/>
                  <a:pt x="100" y="126"/>
                </a:cubicBezTo>
                <a:cubicBezTo>
                  <a:pt x="100" y="125"/>
                  <a:pt x="100" y="125"/>
                  <a:pt x="99" y="125"/>
                </a:cubicBezTo>
                <a:cubicBezTo>
                  <a:pt x="99" y="125"/>
                  <a:pt x="99" y="125"/>
                  <a:pt x="99" y="125"/>
                </a:cubicBezTo>
                <a:cubicBezTo>
                  <a:pt x="99" y="124"/>
                  <a:pt x="100" y="125"/>
                  <a:pt x="100" y="124"/>
                </a:cubicBezTo>
                <a:cubicBezTo>
                  <a:pt x="100" y="124"/>
                  <a:pt x="100" y="124"/>
                  <a:pt x="100" y="124"/>
                </a:cubicBezTo>
                <a:cubicBezTo>
                  <a:pt x="99" y="124"/>
                  <a:pt x="98" y="123"/>
                  <a:pt x="98" y="122"/>
                </a:cubicBezTo>
                <a:cubicBezTo>
                  <a:pt x="98" y="123"/>
                  <a:pt x="98" y="122"/>
                  <a:pt x="98" y="122"/>
                </a:cubicBezTo>
                <a:cubicBezTo>
                  <a:pt x="98" y="122"/>
                  <a:pt x="97" y="122"/>
                  <a:pt x="97" y="122"/>
                </a:cubicBezTo>
                <a:cubicBezTo>
                  <a:pt x="97" y="122"/>
                  <a:pt x="97" y="122"/>
                  <a:pt x="97" y="122"/>
                </a:cubicBezTo>
                <a:cubicBezTo>
                  <a:pt x="96" y="122"/>
                  <a:pt x="95" y="122"/>
                  <a:pt x="94" y="122"/>
                </a:cubicBezTo>
                <a:cubicBezTo>
                  <a:pt x="94" y="122"/>
                  <a:pt x="94" y="122"/>
                  <a:pt x="94" y="122"/>
                </a:cubicBezTo>
                <a:cubicBezTo>
                  <a:pt x="92" y="122"/>
                  <a:pt x="91" y="123"/>
                  <a:pt x="90" y="122"/>
                </a:cubicBezTo>
                <a:cubicBezTo>
                  <a:pt x="90" y="120"/>
                  <a:pt x="92" y="121"/>
                  <a:pt x="93" y="120"/>
                </a:cubicBezTo>
                <a:cubicBezTo>
                  <a:pt x="95" y="121"/>
                  <a:pt x="97" y="120"/>
                  <a:pt x="99" y="120"/>
                </a:cubicBezTo>
                <a:cubicBezTo>
                  <a:pt x="100" y="119"/>
                  <a:pt x="99" y="119"/>
                  <a:pt x="99" y="118"/>
                </a:cubicBezTo>
                <a:cubicBezTo>
                  <a:pt x="101" y="117"/>
                  <a:pt x="103" y="117"/>
                  <a:pt x="104" y="116"/>
                </a:cubicBezTo>
                <a:cubicBezTo>
                  <a:pt x="105" y="114"/>
                  <a:pt x="105" y="115"/>
                  <a:pt x="105" y="114"/>
                </a:cubicBezTo>
                <a:cubicBezTo>
                  <a:pt x="104" y="113"/>
                  <a:pt x="103" y="113"/>
                  <a:pt x="104" y="113"/>
                </a:cubicBezTo>
                <a:cubicBezTo>
                  <a:pt x="103" y="113"/>
                  <a:pt x="102" y="112"/>
                  <a:pt x="103" y="112"/>
                </a:cubicBezTo>
                <a:cubicBezTo>
                  <a:pt x="103" y="112"/>
                  <a:pt x="102" y="112"/>
                  <a:pt x="102" y="112"/>
                </a:cubicBezTo>
                <a:cubicBezTo>
                  <a:pt x="101" y="112"/>
                  <a:pt x="100" y="112"/>
                  <a:pt x="99" y="112"/>
                </a:cubicBezTo>
                <a:cubicBezTo>
                  <a:pt x="99" y="112"/>
                  <a:pt x="100" y="112"/>
                  <a:pt x="100" y="112"/>
                </a:cubicBezTo>
                <a:cubicBezTo>
                  <a:pt x="101" y="112"/>
                  <a:pt x="101" y="112"/>
                  <a:pt x="102" y="111"/>
                </a:cubicBezTo>
                <a:cubicBezTo>
                  <a:pt x="101" y="111"/>
                  <a:pt x="101" y="111"/>
                  <a:pt x="100" y="110"/>
                </a:cubicBezTo>
                <a:cubicBezTo>
                  <a:pt x="101" y="110"/>
                  <a:pt x="101" y="110"/>
                  <a:pt x="101" y="110"/>
                </a:cubicBezTo>
                <a:cubicBezTo>
                  <a:pt x="100" y="110"/>
                  <a:pt x="100" y="110"/>
                  <a:pt x="99" y="110"/>
                </a:cubicBezTo>
                <a:cubicBezTo>
                  <a:pt x="99" y="110"/>
                  <a:pt x="100" y="109"/>
                  <a:pt x="100" y="109"/>
                </a:cubicBezTo>
                <a:cubicBezTo>
                  <a:pt x="100" y="109"/>
                  <a:pt x="99" y="109"/>
                  <a:pt x="99" y="109"/>
                </a:cubicBezTo>
                <a:cubicBezTo>
                  <a:pt x="99" y="108"/>
                  <a:pt x="98" y="109"/>
                  <a:pt x="98" y="109"/>
                </a:cubicBezTo>
                <a:cubicBezTo>
                  <a:pt x="98" y="109"/>
                  <a:pt x="98" y="109"/>
                  <a:pt x="98" y="109"/>
                </a:cubicBezTo>
                <a:cubicBezTo>
                  <a:pt x="98" y="109"/>
                  <a:pt x="98" y="110"/>
                  <a:pt x="98" y="110"/>
                </a:cubicBezTo>
                <a:cubicBezTo>
                  <a:pt x="97" y="110"/>
                  <a:pt x="96" y="110"/>
                  <a:pt x="95" y="111"/>
                </a:cubicBezTo>
                <a:cubicBezTo>
                  <a:pt x="94" y="110"/>
                  <a:pt x="94" y="110"/>
                  <a:pt x="93" y="110"/>
                </a:cubicBezTo>
                <a:cubicBezTo>
                  <a:pt x="91" y="110"/>
                  <a:pt x="87" y="110"/>
                  <a:pt x="85" y="109"/>
                </a:cubicBezTo>
                <a:cubicBezTo>
                  <a:pt x="85" y="109"/>
                  <a:pt x="84" y="109"/>
                  <a:pt x="83" y="109"/>
                </a:cubicBezTo>
                <a:cubicBezTo>
                  <a:pt x="83" y="108"/>
                  <a:pt x="83" y="109"/>
                  <a:pt x="82" y="109"/>
                </a:cubicBezTo>
                <a:cubicBezTo>
                  <a:pt x="82" y="108"/>
                  <a:pt x="82" y="108"/>
                  <a:pt x="82" y="108"/>
                </a:cubicBezTo>
                <a:cubicBezTo>
                  <a:pt x="82" y="107"/>
                  <a:pt x="82" y="107"/>
                  <a:pt x="82" y="107"/>
                </a:cubicBezTo>
                <a:cubicBezTo>
                  <a:pt x="83" y="107"/>
                  <a:pt x="84" y="108"/>
                  <a:pt x="86" y="107"/>
                </a:cubicBezTo>
                <a:cubicBezTo>
                  <a:pt x="86" y="107"/>
                  <a:pt x="85" y="107"/>
                  <a:pt x="85" y="107"/>
                </a:cubicBezTo>
                <a:cubicBezTo>
                  <a:pt x="84" y="107"/>
                  <a:pt x="83" y="107"/>
                  <a:pt x="82" y="107"/>
                </a:cubicBezTo>
                <a:cubicBezTo>
                  <a:pt x="85" y="103"/>
                  <a:pt x="89" y="101"/>
                  <a:pt x="95" y="101"/>
                </a:cubicBezTo>
                <a:cubicBezTo>
                  <a:pt x="94" y="102"/>
                  <a:pt x="92" y="103"/>
                  <a:pt x="90" y="104"/>
                </a:cubicBezTo>
                <a:cubicBezTo>
                  <a:pt x="90" y="104"/>
                  <a:pt x="90" y="104"/>
                  <a:pt x="90" y="104"/>
                </a:cubicBezTo>
                <a:cubicBezTo>
                  <a:pt x="90" y="104"/>
                  <a:pt x="89" y="105"/>
                  <a:pt x="89" y="105"/>
                </a:cubicBezTo>
                <a:cubicBezTo>
                  <a:pt x="89" y="106"/>
                  <a:pt x="90" y="106"/>
                  <a:pt x="90" y="107"/>
                </a:cubicBezTo>
                <a:cubicBezTo>
                  <a:pt x="91" y="106"/>
                  <a:pt x="91" y="106"/>
                  <a:pt x="91" y="106"/>
                </a:cubicBezTo>
                <a:cubicBezTo>
                  <a:pt x="90" y="106"/>
                  <a:pt x="90" y="106"/>
                  <a:pt x="90" y="106"/>
                </a:cubicBezTo>
                <a:cubicBezTo>
                  <a:pt x="90" y="105"/>
                  <a:pt x="90" y="105"/>
                  <a:pt x="90" y="105"/>
                </a:cubicBezTo>
                <a:cubicBezTo>
                  <a:pt x="90" y="105"/>
                  <a:pt x="91" y="104"/>
                  <a:pt x="92" y="105"/>
                </a:cubicBezTo>
                <a:cubicBezTo>
                  <a:pt x="92" y="105"/>
                  <a:pt x="92" y="105"/>
                  <a:pt x="92" y="105"/>
                </a:cubicBezTo>
                <a:cubicBezTo>
                  <a:pt x="91" y="104"/>
                  <a:pt x="91" y="104"/>
                  <a:pt x="91" y="104"/>
                </a:cubicBezTo>
                <a:cubicBezTo>
                  <a:pt x="92" y="103"/>
                  <a:pt x="93" y="103"/>
                  <a:pt x="94" y="103"/>
                </a:cubicBezTo>
                <a:cubicBezTo>
                  <a:pt x="94" y="102"/>
                  <a:pt x="98" y="101"/>
                  <a:pt x="101" y="101"/>
                </a:cubicBezTo>
                <a:cubicBezTo>
                  <a:pt x="101" y="102"/>
                  <a:pt x="101" y="102"/>
                  <a:pt x="100" y="102"/>
                </a:cubicBezTo>
                <a:cubicBezTo>
                  <a:pt x="101" y="103"/>
                  <a:pt x="101" y="103"/>
                  <a:pt x="101" y="103"/>
                </a:cubicBezTo>
                <a:cubicBezTo>
                  <a:pt x="101" y="103"/>
                  <a:pt x="100" y="103"/>
                  <a:pt x="101" y="104"/>
                </a:cubicBezTo>
                <a:cubicBezTo>
                  <a:pt x="100" y="104"/>
                  <a:pt x="100" y="105"/>
                  <a:pt x="99" y="105"/>
                </a:cubicBezTo>
                <a:cubicBezTo>
                  <a:pt x="99" y="105"/>
                  <a:pt x="99" y="105"/>
                  <a:pt x="99" y="105"/>
                </a:cubicBezTo>
                <a:cubicBezTo>
                  <a:pt x="100" y="105"/>
                  <a:pt x="100" y="104"/>
                  <a:pt x="101" y="104"/>
                </a:cubicBezTo>
                <a:cubicBezTo>
                  <a:pt x="101" y="105"/>
                  <a:pt x="101" y="105"/>
                  <a:pt x="101" y="105"/>
                </a:cubicBezTo>
                <a:cubicBezTo>
                  <a:pt x="101" y="105"/>
                  <a:pt x="101" y="104"/>
                  <a:pt x="102" y="104"/>
                </a:cubicBezTo>
                <a:cubicBezTo>
                  <a:pt x="102" y="105"/>
                  <a:pt x="102" y="105"/>
                  <a:pt x="102" y="105"/>
                </a:cubicBezTo>
                <a:cubicBezTo>
                  <a:pt x="102" y="105"/>
                  <a:pt x="102" y="104"/>
                  <a:pt x="103" y="105"/>
                </a:cubicBezTo>
                <a:cubicBezTo>
                  <a:pt x="103" y="104"/>
                  <a:pt x="103" y="104"/>
                  <a:pt x="103" y="104"/>
                </a:cubicBezTo>
                <a:cubicBezTo>
                  <a:pt x="104" y="104"/>
                  <a:pt x="105" y="103"/>
                  <a:pt x="106" y="104"/>
                </a:cubicBezTo>
                <a:cubicBezTo>
                  <a:pt x="104" y="103"/>
                  <a:pt x="103" y="104"/>
                  <a:pt x="101" y="104"/>
                </a:cubicBezTo>
                <a:cubicBezTo>
                  <a:pt x="101" y="103"/>
                  <a:pt x="101" y="103"/>
                  <a:pt x="101" y="102"/>
                </a:cubicBezTo>
                <a:cubicBezTo>
                  <a:pt x="101" y="102"/>
                  <a:pt x="101" y="102"/>
                  <a:pt x="102" y="101"/>
                </a:cubicBezTo>
                <a:cubicBezTo>
                  <a:pt x="104" y="102"/>
                  <a:pt x="108" y="101"/>
                  <a:pt x="108" y="103"/>
                </a:cubicBezTo>
                <a:cubicBezTo>
                  <a:pt x="107" y="104"/>
                  <a:pt x="107" y="104"/>
                  <a:pt x="106" y="104"/>
                </a:cubicBezTo>
                <a:cubicBezTo>
                  <a:pt x="107" y="104"/>
                  <a:pt x="107" y="104"/>
                  <a:pt x="108" y="104"/>
                </a:cubicBezTo>
                <a:cubicBezTo>
                  <a:pt x="108" y="105"/>
                  <a:pt x="108" y="105"/>
                  <a:pt x="108" y="105"/>
                </a:cubicBezTo>
                <a:cubicBezTo>
                  <a:pt x="109" y="105"/>
                  <a:pt x="109" y="105"/>
                  <a:pt x="109" y="105"/>
                </a:cubicBezTo>
                <a:cubicBezTo>
                  <a:pt x="109" y="105"/>
                  <a:pt x="109" y="105"/>
                  <a:pt x="109" y="106"/>
                </a:cubicBezTo>
                <a:cubicBezTo>
                  <a:pt x="110" y="106"/>
                  <a:pt x="110" y="106"/>
                  <a:pt x="110" y="106"/>
                </a:cubicBezTo>
                <a:cubicBezTo>
                  <a:pt x="109" y="106"/>
                  <a:pt x="109" y="106"/>
                  <a:pt x="109" y="106"/>
                </a:cubicBezTo>
                <a:cubicBezTo>
                  <a:pt x="110" y="107"/>
                  <a:pt x="110" y="107"/>
                  <a:pt x="110" y="107"/>
                </a:cubicBezTo>
                <a:cubicBezTo>
                  <a:pt x="110" y="106"/>
                  <a:pt x="112" y="105"/>
                  <a:pt x="113" y="107"/>
                </a:cubicBezTo>
                <a:cubicBezTo>
                  <a:pt x="112" y="107"/>
                  <a:pt x="111" y="107"/>
                  <a:pt x="110" y="108"/>
                </a:cubicBezTo>
                <a:cubicBezTo>
                  <a:pt x="111" y="108"/>
                  <a:pt x="112" y="107"/>
                  <a:pt x="113" y="107"/>
                </a:cubicBezTo>
                <a:cubicBezTo>
                  <a:pt x="113" y="108"/>
                  <a:pt x="113" y="108"/>
                  <a:pt x="113" y="108"/>
                </a:cubicBezTo>
                <a:cubicBezTo>
                  <a:pt x="113" y="108"/>
                  <a:pt x="114" y="108"/>
                  <a:pt x="114" y="108"/>
                </a:cubicBezTo>
                <a:cubicBezTo>
                  <a:pt x="114" y="108"/>
                  <a:pt x="114" y="108"/>
                  <a:pt x="114" y="108"/>
                </a:cubicBezTo>
                <a:cubicBezTo>
                  <a:pt x="115" y="108"/>
                  <a:pt x="116" y="108"/>
                  <a:pt x="116" y="109"/>
                </a:cubicBezTo>
                <a:cubicBezTo>
                  <a:pt x="116" y="109"/>
                  <a:pt x="116" y="109"/>
                  <a:pt x="115" y="109"/>
                </a:cubicBezTo>
                <a:cubicBezTo>
                  <a:pt x="115" y="109"/>
                  <a:pt x="115" y="109"/>
                  <a:pt x="115" y="109"/>
                </a:cubicBezTo>
                <a:cubicBezTo>
                  <a:pt x="115" y="109"/>
                  <a:pt x="117" y="108"/>
                  <a:pt x="117" y="110"/>
                </a:cubicBezTo>
                <a:cubicBezTo>
                  <a:pt x="117" y="110"/>
                  <a:pt x="115" y="110"/>
                  <a:pt x="115" y="110"/>
                </a:cubicBezTo>
                <a:cubicBezTo>
                  <a:pt x="115" y="111"/>
                  <a:pt x="117" y="110"/>
                  <a:pt x="117" y="111"/>
                </a:cubicBezTo>
                <a:cubicBezTo>
                  <a:pt x="116" y="112"/>
                  <a:pt x="115" y="111"/>
                  <a:pt x="114" y="111"/>
                </a:cubicBezTo>
                <a:cubicBezTo>
                  <a:pt x="115" y="112"/>
                  <a:pt x="115" y="112"/>
                  <a:pt x="115" y="112"/>
                </a:cubicBezTo>
                <a:cubicBezTo>
                  <a:pt x="115" y="112"/>
                  <a:pt x="114" y="112"/>
                  <a:pt x="114" y="112"/>
                </a:cubicBezTo>
                <a:cubicBezTo>
                  <a:pt x="114" y="113"/>
                  <a:pt x="114" y="112"/>
                  <a:pt x="113" y="112"/>
                </a:cubicBezTo>
                <a:cubicBezTo>
                  <a:pt x="113" y="112"/>
                  <a:pt x="114" y="112"/>
                  <a:pt x="114" y="113"/>
                </a:cubicBezTo>
                <a:cubicBezTo>
                  <a:pt x="114" y="113"/>
                  <a:pt x="115" y="113"/>
                  <a:pt x="116" y="113"/>
                </a:cubicBezTo>
                <a:cubicBezTo>
                  <a:pt x="116" y="113"/>
                  <a:pt x="115" y="113"/>
                  <a:pt x="115" y="113"/>
                </a:cubicBezTo>
                <a:cubicBezTo>
                  <a:pt x="115" y="113"/>
                  <a:pt x="116" y="113"/>
                  <a:pt x="115" y="114"/>
                </a:cubicBezTo>
                <a:cubicBezTo>
                  <a:pt x="116" y="113"/>
                  <a:pt x="116" y="114"/>
                  <a:pt x="117" y="114"/>
                </a:cubicBezTo>
                <a:cubicBezTo>
                  <a:pt x="117" y="114"/>
                  <a:pt x="116" y="114"/>
                  <a:pt x="116" y="114"/>
                </a:cubicBezTo>
                <a:cubicBezTo>
                  <a:pt x="117" y="114"/>
                  <a:pt x="118" y="114"/>
                  <a:pt x="119" y="114"/>
                </a:cubicBezTo>
                <a:cubicBezTo>
                  <a:pt x="119" y="114"/>
                  <a:pt x="118" y="114"/>
                  <a:pt x="118" y="114"/>
                </a:cubicBezTo>
                <a:cubicBezTo>
                  <a:pt x="118" y="115"/>
                  <a:pt x="118" y="114"/>
                  <a:pt x="119" y="114"/>
                </a:cubicBezTo>
                <a:cubicBezTo>
                  <a:pt x="119" y="115"/>
                  <a:pt x="119" y="115"/>
                  <a:pt x="119" y="115"/>
                </a:cubicBezTo>
                <a:cubicBezTo>
                  <a:pt x="119" y="115"/>
                  <a:pt x="119" y="115"/>
                  <a:pt x="119" y="116"/>
                </a:cubicBezTo>
                <a:cubicBezTo>
                  <a:pt x="119" y="116"/>
                  <a:pt x="120" y="116"/>
                  <a:pt x="121" y="115"/>
                </a:cubicBezTo>
                <a:cubicBezTo>
                  <a:pt x="121" y="116"/>
                  <a:pt x="120" y="116"/>
                  <a:pt x="120" y="116"/>
                </a:cubicBezTo>
                <a:cubicBezTo>
                  <a:pt x="120" y="117"/>
                  <a:pt x="121" y="116"/>
                  <a:pt x="121" y="117"/>
                </a:cubicBezTo>
                <a:cubicBezTo>
                  <a:pt x="121" y="116"/>
                  <a:pt x="121" y="116"/>
                  <a:pt x="122" y="116"/>
                </a:cubicBezTo>
                <a:cubicBezTo>
                  <a:pt x="122" y="116"/>
                  <a:pt x="123" y="117"/>
                  <a:pt x="123" y="117"/>
                </a:cubicBezTo>
                <a:cubicBezTo>
                  <a:pt x="122" y="117"/>
                  <a:pt x="122" y="117"/>
                  <a:pt x="122" y="117"/>
                </a:cubicBezTo>
                <a:close/>
                <a:moveTo>
                  <a:pt x="174" y="113"/>
                </a:moveTo>
                <a:cubicBezTo>
                  <a:pt x="174" y="113"/>
                  <a:pt x="175" y="113"/>
                  <a:pt x="175" y="114"/>
                </a:cubicBezTo>
                <a:cubicBezTo>
                  <a:pt x="170" y="116"/>
                  <a:pt x="167" y="119"/>
                  <a:pt x="162" y="119"/>
                </a:cubicBezTo>
                <a:cubicBezTo>
                  <a:pt x="162" y="119"/>
                  <a:pt x="164" y="118"/>
                  <a:pt x="163" y="118"/>
                </a:cubicBezTo>
                <a:cubicBezTo>
                  <a:pt x="163" y="118"/>
                  <a:pt x="162" y="119"/>
                  <a:pt x="162" y="119"/>
                </a:cubicBezTo>
                <a:cubicBezTo>
                  <a:pt x="160" y="120"/>
                  <a:pt x="160" y="119"/>
                  <a:pt x="158" y="120"/>
                </a:cubicBezTo>
                <a:cubicBezTo>
                  <a:pt x="158" y="120"/>
                  <a:pt x="159" y="120"/>
                  <a:pt x="158" y="120"/>
                </a:cubicBezTo>
                <a:cubicBezTo>
                  <a:pt x="158" y="121"/>
                  <a:pt x="156" y="120"/>
                  <a:pt x="156" y="121"/>
                </a:cubicBezTo>
                <a:cubicBezTo>
                  <a:pt x="157" y="121"/>
                  <a:pt x="157" y="121"/>
                  <a:pt x="157" y="122"/>
                </a:cubicBezTo>
                <a:cubicBezTo>
                  <a:pt x="155" y="123"/>
                  <a:pt x="155" y="126"/>
                  <a:pt x="151" y="126"/>
                </a:cubicBezTo>
                <a:cubicBezTo>
                  <a:pt x="151" y="126"/>
                  <a:pt x="152" y="126"/>
                  <a:pt x="152" y="127"/>
                </a:cubicBezTo>
                <a:cubicBezTo>
                  <a:pt x="151" y="129"/>
                  <a:pt x="149" y="130"/>
                  <a:pt x="148" y="133"/>
                </a:cubicBezTo>
                <a:cubicBezTo>
                  <a:pt x="147" y="132"/>
                  <a:pt x="147" y="133"/>
                  <a:pt x="146" y="133"/>
                </a:cubicBezTo>
                <a:cubicBezTo>
                  <a:pt x="145" y="133"/>
                  <a:pt x="144" y="132"/>
                  <a:pt x="144" y="132"/>
                </a:cubicBezTo>
                <a:cubicBezTo>
                  <a:pt x="144" y="131"/>
                  <a:pt x="145" y="132"/>
                  <a:pt x="145" y="132"/>
                </a:cubicBezTo>
                <a:cubicBezTo>
                  <a:pt x="143" y="131"/>
                  <a:pt x="143" y="131"/>
                  <a:pt x="143" y="131"/>
                </a:cubicBezTo>
                <a:cubicBezTo>
                  <a:pt x="143" y="131"/>
                  <a:pt x="143" y="131"/>
                  <a:pt x="143" y="131"/>
                </a:cubicBezTo>
                <a:cubicBezTo>
                  <a:pt x="142" y="131"/>
                  <a:pt x="141" y="130"/>
                  <a:pt x="139" y="131"/>
                </a:cubicBezTo>
                <a:cubicBezTo>
                  <a:pt x="139" y="130"/>
                  <a:pt x="139" y="130"/>
                  <a:pt x="140" y="130"/>
                </a:cubicBezTo>
                <a:cubicBezTo>
                  <a:pt x="139" y="130"/>
                  <a:pt x="139" y="129"/>
                  <a:pt x="138" y="129"/>
                </a:cubicBezTo>
                <a:cubicBezTo>
                  <a:pt x="138" y="128"/>
                  <a:pt x="138" y="128"/>
                  <a:pt x="137" y="127"/>
                </a:cubicBezTo>
                <a:cubicBezTo>
                  <a:pt x="138" y="126"/>
                  <a:pt x="137" y="126"/>
                  <a:pt x="137" y="125"/>
                </a:cubicBezTo>
                <a:cubicBezTo>
                  <a:pt x="136" y="125"/>
                  <a:pt x="136" y="123"/>
                  <a:pt x="137" y="123"/>
                </a:cubicBezTo>
                <a:cubicBezTo>
                  <a:pt x="136" y="123"/>
                  <a:pt x="136" y="123"/>
                  <a:pt x="136" y="123"/>
                </a:cubicBezTo>
                <a:cubicBezTo>
                  <a:pt x="136" y="121"/>
                  <a:pt x="136" y="121"/>
                  <a:pt x="137" y="120"/>
                </a:cubicBezTo>
                <a:cubicBezTo>
                  <a:pt x="136" y="120"/>
                  <a:pt x="137" y="119"/>
                  <a:pt x="135" y="120"/>
                </a:cubicBezTo>
                <a:cubicBezTo>
                  <a:pt x="136" y="119"/>
                  <a:pt x="135" y="119"/>
                  <a:pt x="135" y="118"/>
                </a:cubicBezTo>
                <a:cubicBezTo>
                  <a:pt x="136" y="117"/>
                  <a:pt x="137" y="117"/>
                  <a:pt x="137" y="116"/>
                </a:cubicBezTo>
                <a:cubicBezTo>
                  <a:pt x="137" y="116"/>
                  <a:pt x="136" y="117"/>
                  <a:pt x="136" y="116"/>
                </a:cubicBezTo>
                <a:cubicBezTo>
                  <a:pt x="136" y="115"/>
                  <a:pt x="139" y="114"/>
                  <a:pt x="138" y="113"/>
                </a:cubicBezTo>
                <a:cubicBezTo>
                  <a:pt x="140" y="113"/>
                  <a:pt x="141" y="113"/>
                  <a:pt x="143" y="113"/>
                </a:cubicBezTo>
                <a:cubicBezTo>
                  <a:pt x="142" y="112"/>
                  <a:pt x="144" y="111"/>
                  <a:pt x="144" y="110"/>
                </a:cubicBezTo>
                <a:cubicBezTo>
                  <a:pt x="144" y="111"/>
                  <a:pt x="144" y="111"/>
                  <a:pt x="143" y="111"/>
                </a:cubicBezTo>
                <a:cubicBezTo>
                  <a:pt x="143" y="110"/>
                  <a:pt x="144" y="110"/>
                  <a:pt x="144" y="109"/>
                </a:cubicBezTo>
                <a:cubicBezTo>
                  <a:pt x="143" y="110"/>
                  <a:pt x="140" y="109"/>
                  <a:pt x="139" y="108"/>
                </a:cubicBezTo>
                <a:cubicBezTo>
                  <a:pt x="141" y="107"/>
                  <a:pt x="143" y="108"/>
                  <a:pt x="145" y="109"/>
                </a:cubicBezTo>
                <a:cubicBezTo>
                  <a:pt x="144" y="108"/>
                  <a:pt x="145" y="108"/>
                  <a:pt x="145" y="108"/>
                </a:cubicBezTo>
                <a:cubicBezTo>
                  <a:pt x="144" y="107"/>
                  <a:pt x="143" y="107"/>
                  <a:pt x="142" y="107"/>
                </a:cubicBezTo>
                <a:cubicBezTo>
                  <a:pt x="143" y="106"/>
                  <a:pt x="144" y="106"/>
                  <a:pt x="144" y="106"/>
                </a:cubicBezTo>
                <a:cubicBezTo>
                  <a:pt x="143" y="106"/>
                  <a:pt x="142" y="106"/>
                  <a:pt x="143" y="106"/>
                </a:cubicBezTo>
                <a:cubicBezTo>
                  <a:pt x="142" y="106"/>
                  <a:pt x="139" y="108"/>
                  <a:pt x="138" y="106"/>
                </a:cubicBezTo>
                <a:cubicBezTo>
                  <a:pt x="140" y="106"/>
                  <a:pt x="139" y="105"/>
                  <a:pt x="141" y="104"/>
                </a:cubicBezTo>
                <a:cubicBezTo>
                  <a:pt x="140" y="104"/>
                  <a:pt x="140" y="104"/>
                  <a:pt x="140" y="104"/>
                </a:cubicBezTo>
                <a:cubicBezTo>
                  <a:pt x="141" y="104"/>
                  <a:pt x="142" y="104"/>
                  <a:pt x="142" y="103"/>
                </a:cubicBezTo>
                <a:cubicBezTo>
                  <a:pt x="141" y="103"/>
                  <a:pt x="141" y="103"/>
                  <a:pt x="141" y="103"/>
                </a:cubicBezTo>
                <a:cubicBezTo>
                  <a:pt x="141" y="103"/>
                  <a:pt x="141" y="102"/>
                  <a:pt x="142" y="102"/>
                </a:cubicBezTo>
                <a:cubicBezTo>
                  <a:pt x="141" y="102"/>
                  <a:pt x="142" y="101"/>
                  <a:pt x="141" y="101"/>
                </a:cubicBezTo>
                <a:cubicBezTo>
                  <a:pt x="142" y="100"/>
                  <a:pt x="140" y="101"/>
                  <a:pt x="140" y="101"/>
                </a:cubicBezTo>
                <a:cubicBezTo>
                  <a:pt x="141" y="101"/>
                  <a:pt x="141" y="100"/>
                  <a:pt x="142" y="100"/>
                </a:cubicBezTo>
                <a:cubicBezTo>
                  <a:pt x="141" y="100"/>
                  <a:pt x="140" y="100"/>
                  <a:pt x="141" y="99"/>
                </a:cubicBezTo>
                <a:cubicBezTo>
                  <a:pt x="140" y="99"/>
                  <a:pt x="140" y="99"/>
                  <a:pt x="139" y="98"/>
                </a:cubicBezTo>
                <a:cubicBezTo>
                  <a:pt x="140" y="98"/>
                  <a:pt x="140" y="98"/>
                  <a:pt x="140" y="98"/>
                </a:cubicBezTo>
                <a:cubicBezTo>
                  <a:pt x="137" y="96"/>
                  <a:pt x="134" y="96"/>
                  <a:pt x="129" y="97"/>
                </a:cubicBezTo>
                <a:cubicBezTo>
                  <a:pt x="130" y="96"/>
                  <a:pt x="130" y="96"/>
                  <a:pt x="130" y="96"/>
                </a:cubicBezTo>
                <a:cubicBezTo>
                  <a:pt x="129" y="97"/>
                  <a:pt x="129" y="97"/>
                  <a:pt x="128" y="96"/>
                </a:cubicBezTo>
                <a:cubicBezTo>
                  <a:pt x="128" y="97"/>
                  <a:pt x="128" y="97"/>
                  <a:pt x="128" y="97"/>
                </a:cubicBezTo>
                <a:cubicBezTo>
                  <a:pt x="127" y="97"/>
                  <a:pt x="125" y="97"/>
                  <a:pt x="124" y="96"/>
                </a:cubicBezTo>
                <a:cubicBezTo>
                  <a:pt x="125" y="96"/>
                  <a:pt x="126" y="96"/>
                  <a:pt x="126" y="96"/>
                </a:cubicBezTo>
                <a:cubicBezTo>
                  <a:pt x="125" y="95"/>
                  <a:pt x="124" y="95"/>
                  <a:pt x="123" y="95"/>
                </a:cubicBezTo>
                <a:cubicBezTo>
                  <a:pt x="125" y="94"/>
                  <a:pt x="130" y="95"/>
                  <a:pt x="132" y="94"/>
                </a:cubicBezTo>
                <a:cubicBezTo>
                  <a:pt x="128" y="94"/>
                  <a:pt x="126" y="94"/>
                  <a:pt x="123" y="93"/>
                </a:cubicBezTo>
                <a:cubicBezTo>
                  <a:pt x="127" y="90"/>
                  <a:pt x="134" y="92"/>
                  <a:pt x="138" y="89"/>
                </a:cubicBezTo>
                <a:cubicBezTo>
                  <a:pt x="137" y="89"/>
                  <a:pt x="135" y="89"/>
                  <a:pt x="135" y="89"/>
                </a:cubicBezTo>
                <a:cubicBezTo>
                  <a:pt x="138" y="88"/>
                  <a:pt x="142" y="87"/>
                  <a:pt x="146" y="87"/>
                </a:cubicBezTo>
                <a:cubicBezTo>
                  <a:pt x="146" y="86"/>
                  <a:pt x="146" y="86"/>
                  <a:pt x="146" y="86"/>
                </a:cubicBezTo>
                <a:cubicBezTo>
                  <a:pt x="150" y="86"/>
                  <a:pt x="154" y="85"/>
                  <a:pt x="157" y="85"/>
                </a:cubicBezTo>
                <a:cubicBezTo>
                  <a:pt x="158" y="86"/>
                  <a:pt x="157" y="86"/>
                  <a:pt x="158" y="86"/>
                </a:cubicBezTo>
                <a:cubicBezTo>
                  <a:pt x="159" y="86"/>
                  <a:pt x="158" y="85"/>
                  <a:pt x="158" y="85"/>
                </a:cubicBezTo>
                <a:cubicBezTo>
                  <a:pt x="160" y="85"/>
                  <a:pt x="161" y="86"/>
                  <a:pt x="163" y="86"/>
                </a:cubicBezTo>
                <a:cubicBezTo>
                  <a:pt x="162" y="86"/>
                  <a:pt x="162" y="85"/>
                  <a:pt x="162" y="85"/>
                </a:cubicBezTo>
                <a:cubicBezTo>
                  <a:pt x="165" y="85"/>
                  <a:pt x="167" y="86"/>
                  <a:pt x="170" y="86"/>
                </a:cubicBezTo>
                <a:cubicBezTo>
                  <a:pt x="169" y="85"/>
                  <a:pt x="167" y="86"/>
                  <a:pt x="167" y="85"/>
                </a:cubicBezTo>
                <a:cubicBezTo>
                  <a:pt x="168" y="84"/>
                  <a:pt x="169" y="85"/>
                  <a:pt x="170" y="85"/>
                </a:cubicBezTo>
                <a:cubicBezTo>
                  <a:pt x="170" y="84"/>
                  <a:pt x="169" y="85"/>
                  <a:pt x="168" y="84"/>
                </a:cubicBezTo>
                <a:cubicBezTo>
                  <a:pt x="173" y="83"/>
                  <a:pt x="179" y="85"/>
                  <a:pt x="183" y="83"/>
                </a:cubicBezTo>
                <a:cubicBezTo>
                  <a:pt x="186" y="83"/>
                  <a:pt x="189" y="83"/>
                  <a:pt x="193" y="83"/>
                </a:cubicBezTo>
                <a:cubicBezTo>
                  <a:pt x="194" y="84"/>
                  <a:pt x="198" y="83"/>
                  <a:pt x="197" y="84"/>
                </a:cubicBezTo>
                <a:cubicBezTo>
                  <a:pt x="199" y="84"/>
                  <a:pt x="201" y="84"/>
                  <a:pt x="203" y="85"/>
                </a:cubicBezTo>
                <a:cubicBezTo>
                  <a:pt x="199" y="86"/>
                  <a:pt x="194" y="85"/>
                  <a:pt x="190" y="86"/>
                </a:cubicBezTo>
                <a:cubicBezTo>
                  <a:pt x="192" y="86"/>
                  <a:pt x="195" y="86"/>
                  <a:pt x="197" y="86"/>
                </a:cubicBezTo>
                <a:cubicBezTo>
                  <a:pt x="197" y="86"/>
                  <a:pt x="197" y="86"/>
                  <a:pt x="197" y="86"/>
                </a:cubicBezTo>
                <a:cubicBezTo>
                  <a:pt x="198" y="86"/>
                  <a:pt x="200" y="85"/>
                  <a:pt x="202" y="86"/>
                </a:cubicBezTo>
                <a:cubicBezTo>
                  <a:pt x="201" y="87"/>
                  <a:pt x="200" y="87"/>
                  <a:pt x="199" y="88"/>
                </a:cubicBezTo>
                <a:cubicBezTo>
                  <a:pt x="201" y="87"/>
                  <a:pt x="202" y="86"/>
                  <a:pt x="204" y="86"/>
                </a:cubicBezTo>
                <a:cubicBezTo>
                  <a:pt x="204" y="86"/>
                  <a:pt x="204" y="86"/>
                  <a:pt x="204" y="86"/>
                </a:cubicBezTo>
                <a:cubicBezTo>
                  <a:pt x="207" y="87"/>
                  <a:pt x="212" y="85"/>
                  <a:pt x="215" y="86"/>
                </a:cubicBezTo>
                <a:cubicBezTo>
                  <a:pt x="213" y="87"/>
                  <a:pt x="210" y="88"/>
                  <a:pt x="207" y="88"/>
                </a:cubicBezTo>
                <a:cubicBezTo>
                  <a:pt x="208" y="88"/>
                  <a:pt x="209" y="88"/>
                  <a:pt x="209" y="88"/>
                </a:cubicBezTo>
                <a:cubicBezTo>
                  <a:pt x="207" y="89"/>
                  <a:pt x="205" y="90"/>
                  <a:pt x="203" y="90"/>
                </a:cubicBezTo>
                <a:cubicBezTo>
                  <a:pt x="203" y="91"/>
                  <a:pt x="204" y="90"/>
                  <a:pt x="204" y="91"/>
                </a:cubicBezTo>
                <a:cubicBezTo>
                  <a:pt x="202" y="91"/>
                  <a:pt x="200" y="92"/>
                  <a:pt x="198" y="93"/>
                </a:cubicBezTo>
                <a:cubicBezTo>
                  <a:pt x="200" y="93"/>
                  <a:pt x="202" y="92"/>
                  <a:pt x="203" y="94"/>
                </a:cubicBezTo>
                <a:cubicBezTo>
                  <a:pt x="202" y="94"/>
                  <a:pt x="201" y="93"/>
                  <a:pt x="200" y="94"/>
                </a:cubicBezTo>
                <a:cubicBezTo>
                  <a:pt x="201" y="94"/>
                  <a:pt x="203" y="94"/>
                  <a:pt x="204" y="94"/>
                </a:cubicBezTo>
                <a:cubicBezTo>
                  <a:pt x="202" y="96"/>
                  <a:pt x="198" y="95"/>
                  <a:pt x="197" y="95"/>
                </a:cubicBezTo>
                <a:cubicBezTo>
                  <a:pt x="198" y="96"/>
                  <a:pt x="199" y="96"/>
                  <a:pt x="201" y="97"/>
                </a:cubicBezTo>
                <a:cubicBezTo>
                  <a:pt x="200" y="97"/>
                  <a:pt x="200" y="97"/>
                  <a:pt x="200" y="97"/>
                </a:cubicBezTo>
                <a:cubicBezTo>
                  <a:pt x="200" y="97"/>
                  <a:pt x="201" y="98"/>
                  <a:pt x="200" y="98"/>
                </a:cubicBezTo>
                <a:cubicBezTo>
                  <a:pt x="200" y="99"/>
                  <a:pt x="199" y="98"/>
                  <a:pt x="198" y="99"/>
                </a:cubicBezTo>
                <a:cubicBezTo>
                  <a:pt x="198" y="99"/>
                  <a:pt x="200" y="99"/>
                  <a:pt x="200" y="99"/>
                </a:cubicBezTo>
                <a:cubicBezTo>
                  <a:pt x="199" y="100"/>
                  <a:pt x="199" y="100"/>
                  <a:pt x="199" y="100"/>
                </a:cubicBezTo>
                <a:cubicBezTo>
                  <a:pt x="200" y="100"/>
                  <a:pt x="200" y="99"/>
                  <a:pt x="201" y="100"/>
                </a:cubicBezTo>
                <a:cubicBezTo>
                  <a:pt x="200" y="101"/>
                  <a:pt x="199" y="101"/>
                  <a:pt x="198" y="100"/>
                </a:cubicBezTo>
                <a:cubicBezTo>
                  <a:pt x="198" y="101"/>
                  <a:pt x="199" y="100"/>
                  <a:pt x="199" y="101"/>
                </a:cubicBezTo>
                <a:cubicBezTo>
                  <a:pt x="197" y="101"/>
                  <a:pt x="196" y="100"/>
                  <a:pt x="195" y="101"/>
                </a:cubicBezTo>
                <a:cubicBezTo>
                  <a:pt x="196" y="101"/>
                  <a:pt x="198" y="101"/>
                  <a:pt x="198" y="101"/>
                </a:cubicBezTo>
                <a:cubicBezTo>
                  <a:pt x="198" y="102"/>
                  <a:pt x="198" y="102"/>
                  <a:pt x="198" y="102"/>
                </a:cubicBezTo>
                <a:cubicBezTo>
                  <a:pt x="196" y="102"/>
                  <a:pt x="193" y="103"/>
                  <a:pt x="192" y="101"/>
                </a:cubicBezTo>
                <a:cubicBezTo>
                  <a:pt x="191" y="102"/>
                  <a:pt x="191" y="102"/>
                  <a:pt x="191" y="102"/>
                </a:cubicBezTo>
                <a:cubicBezTo>
                  <a:pt x="191" y="102"/>
                  <a:pt x="193" y="102"/>
                  <a:pt x="193" y="103"/>
                </a:cubicBezTo>
                <a:cubicBezTo>
                  <a:pt x="191" y="103"/>
                  <a:pt x="190" y="102"/>
                  <a:pt x="189" y="103"/>
                </a:cubicBezTo>
                <a:cubicBezTo>
                  <a:pt x="189" y="103"/>
                  <a:pt x="190" y="102"/>
                  <a:pt x="190" y="103"/>
                </a:cubicBezTo>
                <a:cubicBezTo>
                  <a:pt x="190" y="103"/>
                  <a:pt x="189" y="103"/>
                  <a:pt x="189" y="104"/>
                </a:cubicBezTo>
                <a:cubicBezTo>
                  <a:pt x="190" y="104"/>
                  <a:pt x="192" y="105"/>
                  <a:pt x="193" y="106"/>
                </a:cubicBezTo>
                <a:cubicBezTo>
                  <a:pt x="193" y="106"/>
                  <a:pt x="193" y="106"/>
                  <a:pt x="193" y="106"/>
                </a:cubicBezTo>
                <a:cubicBezTo>
                  <a:pt x="193" y="106"/>
                  <a:pt x="193" y="106"/>
                  <a:pt x="193" y="106"/>
                </a:cubicBezTo>
                <a:cubicBezTo>
                  <a:pt x="194" y="106"/>
                  <a:pt x="194" y="106"/>
                  <a:pt x="194" y="106"/>
                </a:cubicBezTo>
                <a:cubicBezTo>
                  <a:pt x="194" y="106"/>
                  <a:pt x="193" y="106"/>
                  <a:pt x="193" y="107"/>
                </a:cubicBezTo>
                <a:cubicBezTo>
                  <a:pt x="193" y="106"/>
                  <a:pt x="194" y="106"/>
                  <a:pt x="194" y="106"/>
                </a:cubicBezTo>
                <a:cubicBezTo>
                  <a:pt x="194" y="107"/>
                  <a:pt x="194" y="108"/>
                  <a:pt x="194" y="109"/>
                </a:cubicBezTo>
                <a:cubicBezTo>
                  <a:pt x="192" y="108"/>
                  <a:pt x="192" y="108"/>
                  <a:pt x="192" y="108"/>
                </a:cubicBezTo>
                <a:cubicBezTo>
                  <a:pt x="192" y="108"/>
                  <a:pt x="193" y="108"/>
                  <a:pt x="192" y="108"/>
                </a:cubicBezTo>
                <a:cubicBezTo>
                  <a:pt x="192" y="109"/>
                  <a:pt x="192" y="109"/>
                  <a:pt x="192" y="109"/>
                </a:cubicBezTo>
                <a:cubicBezTo>
                  <a:pt x="189" y="109"/>
                  <a:pt x="190" y="106"/>
                  <a:pt x="188" y="106"/>
                </a:cubicBezTo>
                <a:cubicBezTo>
                  <a:pt x="188" y="107"/>
                  <a:pt x="187" y="107"/>
                  <a:pt x="188" y="108"/>
                </a:cubicBezTo>
                <a:cubicBezTo>
                  <a:pt x="187" y="108"/>
                  <a:pt x="186" y="108"/>
                  <a:pt x="186" y="109"/>
                </a:cubicBezTo>
                <a:cubicBezTo>
                  <a:pt x="187" y="108"/>
                  <a:pt x="190" y="109"/>
                  <a:pt x="193" y="109"/>
                </a:cubicBezTo>
                <a:cubicBezTo>
                  <a:pt x="188" y="111"/>
                  <a:pt x="182" y="114"/>
                  <a:pt x="175" y="114"/>
                </a:cubicBezTo>
                <a:cubicBezTo>
                  <a:pt x="175" y="113"/>
                  <a:pt x="175" y="113"/>
                  <a:pt x="174" y="113"/>
                </a:cubicBezTo>
                <a:close/>
                <a:moveTo>
                  <a:pt x="339" y="331"/>
                </a:moveTo>
                <a:cubicBezTo>
                  <a:pt x="338" y="330"/>
                  <a:pt x="338" y="330"/>
                  <a:pt x="338" y="329"/>
                </a:cubicBezTo>
                <a:cubicBezTo>
                  <a:pt x="337" y="330"/>
                  <a:pt x="338" y="332"/>
                  <a:pt x="338" y="333"/>
                </a:cubicBezTo>
                <a:cubicBezTo>
                  <a:pt x="337" y="333"/>
                  <a:pt x="337" y="334"/>
                  <a:pt x="337" y="334"/>
                </a:cubicBezTo>
                <a:cubicBezTo>
                  <a:pt x="336" y="341"/>
                  <a:pt x="332" y="348"/>
                  <a:pt x="330" y="354"/>
                </a:cubicBezTo>
                <a:cubicBezTo>
                  <a:pt x="329" y="355"/>
                  <a:pt x="327" y="355"/>
                  <a:pt x="326" y="356"/>
                </a:cubicBezTo>
                <a:cubicBezTo>
                  <a:pt x="324" y="355"/>
                  <a:pt x="322" y="353"/>
                  <a:pt x="323" y="350"/>
                </a:cubicBezTo>
                <a:cubicBezTo>
                  <a:pt x="322" y="349"/>
                  <a:pt x="322" y="347"/>
                  <a:pt x="323" y="345"/>
                </a:cubicBezTo>
                <a:cubicBezTo>
                  <a:pt x="323" y="344"/>
                  <a:pt x="323" y="344"/>
                  <a:pt x="323" y="344"/>
                </a:cubicBezTo>
                <a:cubicBezTo>
                  <a:pt x="325" y="342"/>
                  <a:pt x="325" y="338"/>
                  <a:pt x="324" y="335"/>
                </a:cubicBezTo>
                <a:cubicBezTo>
                  <a:pt x="324" y="334"/>
                  <a:pt x="326" y="333"/>
                  <a:pt x="325" y="331"/>
                </a:cubicBezTo>
                <a:cubicBezTo>
                  <a:pt x="326" y="331"/>
                  <a:pt x="327" y="331"/>
                  <a:pt x="327" y="330"/>
                </a:cubicBezTo>
                <a:cubicBezTo>
                  <a:pt x="327" y="331"/>
                  <a:pt x="327" y="331"/>
                  <a:pt x="327" y="331"/>
                </a:cubicBezTo>
                <a:cubicBezTo>
                  <a:pt x="328" y="331"/>
                  <a:pt x="329" y="330"/>
                  <a:pt x="329" y="330"/>
                </a:cubicBezTo>
                <a:cubicBezTo>
                  <a:pt x="329" y="330"/>
                  <a:pt x="329" y="330"/>
                  <a:pt x="329" y="330"/>
                </a:cubicBezTo>
                <a:cubicBezTo>
                  <a:pt x="330" y="330"/>
                  <a:pt x="329" y="331"/>
                  <a:pt x="330" y="331"/>
                </a:cubicBezTo>
                <a:cubicBezTo>
                  <a:pt x="329" y="330"/>
                  <a:pt x="330" y="329"/>
                  <a:pt x="331" y="329"/>
                </a:cubicBezTo>
                <a:cubicBezTo>
                  <a:pt x="332" y="329"/>
                  <a:pt x="332" y="329"/>
                  <a:pt x="332" y="329"/>
                </a:cubicBezTo>
                <a:cubicBezTo>
                  <a:pt x="332" y="328"/>
                  <a:pt x="332" y="328"/>
                  <a:pt x="332" y="327"/>
                </a:cubicBezTo>
                <a:cubicBezTo>
                  <a:pt x="333" y="327"/>
                  <a:pt x="332" y="328"/>
                  <a:pt x="332" y="328"/>
                </a:cubicBezTo>
                <a:cubicBezTo>
                  <a:pt x="333" y="328"/>
                  <a:pt x="333" y="327"/>
                  <a:pt x="333" y="326"/>
                </a:cubicBezTo>
                <a:cubicBezTo>
                  <a:pt x="333" y="326"/>
                  <a:pt x="333" y="326"/>
                  <a:pt x="334" y="326"/>
                </a:cubicBezTo>
                <a:cubicBezTo>
                  <a:pt x="334" y="325"/>
                  <a:pt x="333" y="324"/>
                  <a:pt x="334" y="324"/>
                </a:cubicBezTo>
                <a:cubicBezTo>
                  <a:pt x="334" y="324"/>
                  <a:pt x="334" y="325"/>
                  <a:pt x="334" y="325"/>
                </a:cubicBezTo>
                <a:cubicBezTo>
                  <a:pt x="335" y="324"/>
                  <a:pt x="335" y="324"/>
                  <a:pt x="336" y="324"/>
                </a:cubicBezTo>
                <a:cubicBezTo>
                  <a:pt x="336" y="323"/>
                  <a:pt x="336" y="322"/>
                  <a:pt x="336" y="321"/>
                </a:cubicBezTo>
                <a:cubicBezTo>
                  <a:pt x="336" y="321"/>
                  <a:pt x="337" y="321"/>
                  <a:pt x="337" y="320"/>
                </a:cubicBezTo>
                <a:cubicBezTo>
                  <a:pt x="337" y="320"/>
                  <a:pt x="337" y="321"/>
                  <a:pt x="337" y="321"/>
                </a:cubicBezTo>
                <a:cubicBezTo>
                  <a:pt x="339" y="322"/>
                  <a:pt x="340" y="328"/>
                  <a:pt x="339" y="331"/>
                </a:cubicBezTo>
                <a:close/>
                <a:moveTo>
                  <a:pt x="409" y="273"/>
                </a:moveTo>
                <a:cubicBezTo>
                  <a:pt x="408" y="271"/>
                  <a:pt x="408" y="269"/>
                  <a:pt x="408" y="267"/>
                </a:cubicBezTo>
                <a:cubicBezTo>
                  <a:pt x="408" y="266"/>
                  <a:pt x="409" y="263"/>
                  <a:pt x="408" y="263"/>
                </a:cubicBezTo>
                <a:cubicBezTo>
                  <a:pt x="409" y="262"/>
                  <a:pt x="411" y="265"/>
                  <a:pt x="411" y="266"/>
                </a:cubicBezTo>
                <a:cubicBezTo>
                  <a:pt x="412" y="266"/>
                  <a:pt x="412" y="266"/>
                  <a:pt x="412" y="266"/>
                </a:cubicBezTo>
                <a:cubicBezTo>
                  <a:pt x="414" y="269"/>
                  <a:pt x="413" y="273"/>
                  <a:pt x="409" y="273"/>
                </a:cubicBezTo>
                <a:close/>
              </a:path>
            </a:pathLst>
          </a:custGeom>
          <a:solidFill>
            <a:srgbClr val="808080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61" name="Freeform 36"/>
          <p:cNvSpPr>
            <a:spLocks/>
          </p:cNvSpPr>
          <p:nvPr/>
        </p:nvSpPr>
        <p:spPr bwMode="auto">
          <a:xfrm>
            <a:off x="3938588" y="4962525"/>
            <a:ext cx="55562" cy="31750"/>
          </a:xfrm>
          <a:custGeom>
            <a:avLst/>
            <a:gdLst>
              <a:gd name="T0" fmla="*/ 15 w 20"/>
              <a:gd name="T1" fmla="*/ 1 h 12"/>
              <a:gd name="T2" fmla="*/ 15 w 20"/>
              <a:gd name="T3" fmla="*/ 1 h 12"/>
              <a:gd name="T4" fmla="*/ 17 w 20"/>
              <a:gd name="T5" fmla="*/ 1 h 12"/>
              <a:gd name="T6" fmla="*/ 17 w 20"/>
              <a:gd name="T7" fmla="*/ 1 h 12"/>
              <a:gd name="T8" fmla="*/ 17 w 20"/>
              <a:gd name="T9" fmla="*/ 2 h 12"/>
              <a:gd name="T10" fmla="*/ 7 w 20"/>
              <a:gd name="T11" fmla="*/ 2 h 12"/>
              <a:gd name="T12" fmla="*/ 7 w 20"/>
              <a:gd name="T13" fmla="*/ 1 h 12"/>
              <a:gd name="T14" fmla="*/ 6 w 20"/>
              <a:gd name="T15" fmla="*/ 1 h 12"/>
              <a:gd name="T16" fmla="*/ 3 w 20"/>
              <a:gd name="T17" fmla="*/ 4 h 12"/>
              <a:gd name="T18" fmla="*/ 6 w 20"/>
              <a:gd name="T19" fmla="*/ 3 h 12"/>
              <a:gd name="T20" fmla="*/ 0 w 20"/>
              <a:gd name="T21" fmla="*/ 12 h 12"/>
              <a:gd name="T22" fmla="*/ 8 w 20"/>
              <a:gd name="T23" fmla="*/ 3 h 12"/>
              <a:gd name="T24" fmla="*/ 8 w 20"/>
              <a:gd name="T25" fmla="*/ 4 h 12"/>
              <a:gd name="T26" fmla="*/ 10 w 20"/>
              <a:gd name="T27" fmla="*/ 1 h 12"/>
              <a:gd name="T28" fmla="*/ 13 w 20"/>
              <a:gd name="T29" fmla="*/ 3 h 12"/>
              <a:gd name="T30" fmla="*/ 10 w 20"/>
              <a:gd name="T31" fmla="*/ 7 h 12"/>
              <a:gd name="T32" fmla="*/ 13 w 20"/>
              <a:gd name="T33" fmla="*/ 6 h 12"/>
              <a:gd name="T34" fmla="*/ 13 w 20"/>
              <a:gd name="T35" fmla="*/ 8 h 12"/>
              <a:gd name="T36" fmla="*/ 17 w 20"/>
              <a:gd name="T37" fmla="*/ 3 h 12"/>
              <a:gd name="T38" fmla="*/ 17 w 20"/>
              <a:gd name="T39" fmla="*/ 3 h 12"/>
              <a:gd name="T40" fmla="*/ 18 w 20"/>
              <a:gd name="T41" fmla="*/ 4 h 12"/>
              <a:gd name="T42" fmla="*/ 18 w 20"/>
              <a:gd name="T43" fmla="*/ 4 h 12"/>
              <a:gd name="T44" fmla="*/ 19 w 20"/>
              <a:gd name="T45" fmla="*/ 5 h 12"/>
              <a:gd name="T46" fmla="*/ 20 w 20"/>
              <a:gd name="T47" fmla="*/ 4 h 12"/>
              <a:gd name="T48" fmla="*/ 20 w 20"/>
              <a:gd name="T49" fmla="*/ 2 h 12"/>
              <a:gd name="T50" fmla="*/ 19 w 20"/>
              <a:gd name="T51" fmla="*/ 1 h 12"/>
              <a:gd name="T52" fmla="*/ 14 w 20"/>
              <a:gd name="T53" fmla="*/ 0 h 12"/>
              <a:gd name="T54" fmla="*/ 13 w 20"/>
              <a:gd name="T55" fmla="*/ 1 h 12"/>
              <a:gd name="T56" fmla="*/ 15 w 20"/>
              <a:gd name="T57" fmla="*/ 1 h 1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20"/>
              <a:gd name="T88" fmla="*/ 0 h 12"/>
              <a:gd name="T89" fmla="*/ 20 w 20"/>
              <a:gd name="T90" fmla="*/ 12 h 12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20" h="12">
                <a:moveTo>
                  <a:pt x="15" y="1"/>
                </a:moveTo>
                <a:cubicBezTo>
                  <a:pt x="15" y="1"/>
                  <a:pt x="15" y="1"/>
                  <a:pt x="15" y="1"/>
                </a:cubicBezTo>
                <a:cubicBezTo>
                  <a:pt x="16" y="1"/>
                  <a:pt x="16" y="1"/>
                  <a:pt x="17" y="1"/>
                </a:cubicBezTo>
                <a:cubicBezTo>
                  <a:pt x="17" y="2"/>
                  <a:pt x="17" y="1"/>
                  <a:pt x="17" y="1"/>
                </a:cubicBezTo>
                <a:cubicBezTo>
                  <a:pt x="17" y="2"/>
                  <a:pt x="17" y="2"/>
                  <a:pt x="17" y="2"/>
                </a:cubicBezTo>
                <a:cubicBezTo>
                  <a:pt x="14" y="1"/>
                  <a:pt x="9" y="0"/>
                  <a:pt x="7" y="2"/>
                </a:cubicBezTo>
                <a:cubicBezTo>
                  <a:pt x="7" y="1"/>
                  <a:pt x="7" y="1"/>
                  <a:pt x="7" y="1"/>
                </a:cubicBezTo>
                <a:cubicBezTo>
                  <a:pt x="6" y="1"/>
                  <a:pt x="6" y="2"/>
                  <a:pt x="6" y="1"/>
                </a:cubicBezTo>
                <a:cubicBezTo>
                  <a:pt x="5" y="2"/>
                  <a:pt x="4" y="3"/>
                  <a:pt x="3" y="4"/>
                </a:cubicBezTo>
                <a:cubicBezTo>
                  <a:pt x="4" y="4"/>
                  <a:pt x="5" y="3"/>
                  <a:pt x="6" y="3"/>
                </a:cubicBezTo>
                <a:cubicBezTo>
                  <a:pt x="3" y="5"/>
                  <a:pt x="0" y="8"/>
                  <a:pt x="0" y="12"/>
                </a:cubicBezTo>
                <a:cubicBezTo>
                  <a:pt x="5" y="11"/>
                  <a:pt x="4" y="4"/>
                  <a:pt x="8" y="3"/>
                </a:cubicBezTo>
                <a:cubicBezTo>
                  <a:pt x="8" y="3"/>
                  <a:pt x="8" y="4"/>
                  <a:pt x="8" y="4"/>
                </a:cubicBezTo>
                <a:cubicBezTo>
                  <a:pt x="8" y="3"/>
                  <a:pt x="10" y="2"/>
                  <a:pt x="10" y="1"/>
                </a:cubicBezTo>
                <a:cubicBezTo>
                  <a:pt x="12" y="2"/>
                  <a:pt x="13" y="2"/>
                  <a:pt x="13" y="3"/>
                </a:cubicBezTo>
                <a:cubicBezTo>
                  <a:pt x="13" y="5"/>
                  <a:pt x="11" y="5"/>
                  <a:pt x="10" y="7"/>
                </a:cubicBezTo>
                <a:cubicBezTo>
                  <a:pt x="11" y="7"/>
                  <a:pt x="12" y="5"/>
                  <a:pt x="13" y="6"/>
                </a:cubicBezTo>
                <a:cubicBezTo>
                  <a:pt x="13" y="7"/>
                  <a:pt x="12" y="8"/>
                  <a:pt x="13" y="8"/>
                </a:cubicBezTo>
                <a:cubicBezTo>
                  <a:pt x="14" y="7"/>
                  <a:pt x="17" y="5"/>
                  <a:pt x="17" y="3"/>
                </a:cubicBezTo>
                <a:cubicBezTo>
                  <a:pt x="17" y="3"/>
                  <a:pt x="17" y="2"/>
                  <a:pt x="17" y="3"/>
                </a:cubicBezTo>
                <a:cubicBezTo>
                  <a:pt x="17" y="3"/>
                  <a:pt x="18" y="4"/>
                  <a:pt x="18" y="4"/>
                </a:cubicBezTo>
                <a:cubicBezTo>
                  <a:pt x="18" y="4"/>
                  <a:pt x="18" y="4"/>
                  <a:pt x="18" y="4"/>
                </a:cubicBezTo>
                <a:cubicBezTo>
                  <a:pt x="18" y="4"/>
                  <a:pt x="19" y="5"/>
                  <a:pt x="19" y="5"/>
                </a:cubicBezTo>
                <a:cubicBezTo>
                  <a:pt x="19" y="4"/>
                  <a:pt x="20" y="3"/>
                  <a:pt x="20" y="4"/>
                </a:cubicBezTo>
                <a:cubicBezTo>
                  <a:pt x="20" y="3"/>
                  <a:pt x="20" y="3"/>
                  <a:pt x="20" y="2"/>
                </a:cubicBezTo>
                <a:cubicBezTo>
                  <a:pt x="20" y="2"/>
                  <a:pt x="19" y="1"/>
                  <a:pt x="19" y="1"/>
                </a:cubicBezTo>
                <a:cubicBezTo>
                  <a:pt x="17" y="1"/>
                  <a:pt x="16" y="0"/>
                  <a:pt x="14" y="0"/>
                </a:cubicBezTo>
                <a:cubicBezTo>
                  <a:pt x="13" y="1"/>
                  <a:pt x="13" y="1"/>
                  <a:pt x="13" y="1"/>
                </a:cubicBezTo>
                <a:cubicBezTo>
                  <a:pt x="14" y="0"/>
                  <a:pt x="14" y="1"/>
                  <a:pt x="15" y="1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62" name="Freeform 37"/>
          <p:cNvSpPr>
            <a:spLocks/>
          </p:cNvSpPr>
          <p:nvPr/>
        </p:nvSpPr>
        <p:spPr bwMode="auto">
          <a:xfrm>
            <a:off x="4740275" y="5407025"/>
            <a:ext cx="1588" cy="1588"/>
          </a:xfrm>
          <a:custGeom>
            <a:avLst/>
            <a:gdLst>
              <a:gd name="T0" fmla="*/ 1 w 1"/>
              <a:gd name="T1" fmla="*/ 0 h 1628"/>
              <a:gd name="T2" fmla="*/ 0 w 1"/>
              <a:gd name="T3" fmla="*/ 0 h 1628"/>
              <a:gd name="T4" fmla="*/ 1 w 1"/>
              <a:gd name="T5" fmla="*/ 0 h 1628"/>
              <a:gd name="T6" fmla="*/ 0 60000 65536"/>
              <a:gd name="T7" fmla="*/ 0 60000 65536"/>
              <a:gd name="T8" fmla="*/ 0 60000 65536"/>
              <a:gd name="T9" fmla="*/ 0 w 1"/>
              <a:gd name="T10" fmla="*/ 0 h 1628"/>
              <a:gd name="T11" fmla="*/ 1 w 1"/>
              <a:gd name="T12" fmla="*/ 1628 h 162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" h="1628">
                <a:moveTo>
                  <a:pt x="1" y="0"/>
                </a:move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63" name="Freeform 38"/>
          <p:cNvSpPr>
            <a:spLocks/>
          </p:cNvSpPr>
          <p:nvPr/>
        </p:nvSpPr>
        <p:spPr bwMode="auto">
          <a:xfrm>
            <a:off x="3962400" y="4986338"/>
            <a:ext cx="31750" cy="11112"/>
          </a:xfrm>
          <a:custGeom>
            <a:avLst/>
            <a:gdLst>
              <a:gd name="T0" fmla="*/ 8 w 11"/>
              <a:gd name="T1" fmla="*/ 1 h 4"/>
              <a:gd name="T2" fmla="*/ 1 w 11"/>
              <a:gd name="T3" fmla="*/ 2 h 4"/>
              <a:gd name="T4" fmla="*/ 0 w 11"/>
              <a:gd name="T5" fmla="*/ 3 h 4"/>
              <a:gd name="T6" fmla="*/ 11 w 11"/>
              <a:gd name="T7" fmla="*/ 0 h 4"/>
              <a:gd name="T8" fmla="*/ 7 w 11"/>
              <a:gd name="T9" fmla="*/ 1 h 4"/>
              <a:gd name="T10" fmla="*/ 8 w 11"/>
              <a:gd name="T11" fmla="*/ 1 h 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"/>
              <a:gd name="T19" fmla="*/ 0 h 4"/>
              <a:gd name="T20" fmla="*/ 11 w 11"/>
              <a:gd name="T21" fmla="*/ 4 h 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" h="4">
                <a:moveTo>
                  <a:pt x="8" y="1"/>
                </a:moveTo>
                <a:cubicBezTo>
                  <a:pt x="5" y="0"/>
                  <a:pt x="3" y="3"/>
                  <a:pt x="1" y="2"/>
                </a:cubicBezTo>
                <a:cubicBezTo>
                  <a:pt x="1" y="2"/>
                  <a:pt x="0" y="2"/>
                  <a:pt x="0" y="3"/>
                </a:cubicBezTo>
                <a:cubicBezTo>
                  <a:pt x="3" y="4"/>
                  <a:pt x="9" y="1"/>
                  <a:pt x="11" y="0"/>
                </a:cubicBezTo>
                <a:cubicBezTo>
                  <a:pt x="10" y="0"/>
                  <a:pt x="8" y="0"/>
                  <a:pt x="7" y="1"/>
                </a:cubicBezTo>
                <a:lnTo>
                  <a:pt x="8" y="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64" name="Line 39"/>
          <p:cNvSpPr>
            <a:spLocks noChangeShapeType="1"/>
          </p:cNvSpPr>
          <p:nvPr/>
        </p:nvSpPr>
        <p:spPr bwMode="auto">
          <a:xfrm>
            <a:off x="3954463" y="5130800"/>
            <a:ext cx="1587" cy="3175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65" name="Line 40"/>
          <p:cNvSpPr>
            <a:spLocks noChangeShapeType="1"/>
          </p:cNvSpPr>
          <p:nvPr/>
        </p:nvSpPr>
        <p:spPr bwMode="auto">
          <a:xfrm>
            <a:off x="3954463" y="5130800"/>
            <a:ext cx="1587" cy="3175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66" name="Freeform 41"/>
          <p:cNvSpPr>
            <a:spLocks/>
          </p:cNvSpPr>
          <p:nvPr/>
        </p:nvSpPr>
        <p:spPr bwMode="auto">
          <a:xfrm>
            <a:off x="3954463" y="5130800"/>
            <a:ext cx="1587" cy="3175"/>
          </a:xfrm>
          <a:custGeom>
            <a:avLst/>
            <a:gdLst>
              <a:gd name="T0" fmla="*/ 0 w 1628"/>
              <a:gd name="T1" fmla="*/ 0 h 1628"/>
              <a:gd name="T2" fmla="*/ 0 w 1628"/>
              <a:gd name="T3" fmla="*/ 0 h 1628"/>
              <a:gd name="T4" fmla="*/ 0 w 1628"/>
              <a:gd name="T5" fmla="*/ 0 h 1628"/>
              <a:gd name="T6" fmla="*/ 0 60000 65536"/>
              <a:gd name="T7" fmla="*/ 0 60000 65536"/>
              <a:gd name="T8" fmla="*/ 0 60000 65536"/>
              <a:gd name="T9" fmla="*/ 0 w 1628"/>
              <a:gd name="T10" fmla="*/ 0 h 1628"/>
              <a:gd name="T11" fmla="*/ 1628 w 1628"/>
              <a:gd name="T12" fmla="*/ 1628 h 162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628" h="1628">
                <a:moveTo>
                  <a:pt x="0" y="0"/>
                </a:move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67" name="Freeform 42"/>
          <p:cNvSpPr>
            <a:spLocks/>
          </p:cNvSpPr>
          <p:nvPr/>
        </p:nvSpPr>
        <p:spPr bwMode="auto">
          <a:xfrm>
            <a:off x="3954463" y="5130800"/>
            <a:ext cx="1587" cy="3175"/>
          </a:xfrm>
          <a:custGeom>
            <a:avLst/>
            <a:gdLst>
              <a:gd name="T0" fmla="*/ 0 w 1628"/>
              <a:gd name="T1" fmla="*/ 0 h 1628"/>
              <a:gd name="T2" fmla="*/ 0 w 1628"/>
              <a:gd name="T3" fmla="*/ 0 h 1628"/>
              <a:gd name="T4" fmla="*/ 0 w 1628"/>
              <a:gd name="T5" fmla="*/ 0 h 1628"/>
              <a:gd name="T6" fmla="*/ 0 60000 65536"/>
              <a:gd name="T7" fmla="*/ 0 60000 65536"/>
              <a:gd name="T8" fmla="*/ 0 60000 65536"/>
              <a:gd name="T9" fmla="*/ 0 w 1628"/>
              <a:gd name="T10" fmla="*/ 0 h 1628"/>
              <a:gd name="T11" fmla="*/ 1628 w 1628"/>
              <a:gd name="T12" fmla="*/ 1628 h 162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628" h="1628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68" name="Freeform 43"/>
          <p:cNvSpPr>
            <a:spLocks/>
          </p:cNvSpPr>
          <p:nvPr/>
        </p:nvSpPr>
        <p:spPr bwMode="auto">
          <a:xfrm>
            <a:off x="3946525" y="4759325"/>
            <a:ext cx="42863" cy="11113"/>
          </a:xfrm>
          <a:custGeom>
            <a:avLst/>
            <a:gdLst>
              <a:gd name="T0" fmla="*/ 6 w 15"/>
              <a:gd name="T1" fmla="*/ 4 h 4"/>
              <a:gd name="T2" fmla="*/ 9 w 15"/>
              <a:gd name="T3" fmla="*/ 2 h 4"/>
              <a:gd name="T4" fmla="*/ 8 w 15"/>
              <a:gd name="T5" fmla="*/ 3 h 4"/>
              <a:gd name="T6" fmla="*/ 12 w 15"/>
              <a:gd name="T7" fmla="*/ 3 h 4"/>
              <a:gd name="T8" fmla="*/ 13 w 15"/>
              <a:gd name="T9" fmla="*/ 2 h 4"/>
              <a:gd name="T10" fmla="*/ 13 w 15"/>
              <a:gd name="T11" fmla="*/ 2 h 4"/>
              <a:gd name="T12" fmla="*/ 15 w 15"/>
              <a:gd name="T13" fmla="*/ 1 h 4"/>
              <a:gd name="T14" fmla="*/ 0 w 15"/>
              <a:gd name="T15" fmla="*/ 4 h 4"/>
              <a:gd name="T16" fmla="*/ 0 w 15"/>
              <a:gd name="T17" fmla="*/ 4 h 4"/>
              <a:gd name="T18" fmla="*/ 3 w 15"/>
              <a:gd name="T19" fmla="*/ 4 h 4"/>
              <a:gd name="T20" fmla="*/ 3 w 15"/>
              <a:gd name="T21" fmla="*/ 4 h 4"/>
              <a:gd name="T22" fmla="*/ 5 w 15"/>
              <a:gd name="T23" fmla="*/ 3 h 4"/>
              <a:gd name="T24" fmla="*/ 6 w 15"/>
              <a:gd name="T25" fmla="*/ 4 h 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5"/>
              <a:gd name="T40" fmla="*/ 0 h 4"/>
              <a:gd name="T41" fmla="*/ 15 w 15"/>
              <a:gd name="T42" fmla="*/ 4 h 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5" h="4">
                <a:moveTo>
                  <a:pt x="6" y="4"/>
                </a:moveTo>
                <a:cubicBezTo>
                  <a:pt x="7" y="3"/>
                  <a:pt x="8" y="2"/>
                  <a:pt x="9" y="2"/>
                </a:cubicBezTo>
                <a:cubicBezTo>
                  <a:pt x="9" y="3"/>
                  <a:pt x="8" y="3"/>
                  <a:pt x="8" y="3"/>
                </a:cubicBezTo>
                <a:cubicBezTo>
                  <a:pt x="10" y="4"/>
                  <a:pt x="11" y="2"/>
                  <a:pt x="12" y="3"/>
                </a:cubicBezTo>
                <a:cubicBezTo>
                  <a:pt x="12" y="2"/>
                  <a:pt x="13" y="2"/>
                  <a:pt x="13" y="2"/>
                </a:cubicBezTo>
                <a:cubicBezTo>
                  <a:pt x="13" y="2"/>
                  <a:pt x="13" y="2"/>
                  <a:pt x="13" y="2"/>
                </a:cubicBezTo>
                <a:cubicBezTo>
                  <a:pt x="14" y="1"/>
                  <a:pt x="14" y="1"/>
                  <a:pt x="15" y="1"/>
                </a:cubicBezTo>
                <a:cubicBezTo>
                  <a:pt x="10" y="0"/>
                  <a:pt x="4" y="3"/>
                  <a:pt x="0" y="4"/>
                </a:cubicBezTo>
                <a:cubicBezTo>
                  <a:pt x="1" y="4"/>
                  <a:pt x="0" y="4"/>
                  <a:pt x="0" y="4"/>
                </a:cubicBezTo>
                <a:cubicBezTo>
                  <a:pt x="1" y="4"/>
                  <a:pt x="2" y="4"/>
                  <a:pt x="3" y="4"/>
                </a:cubicBezTo>
                <a:cubicBezTo>
                  <a:pt x="3" y="4"/>
                  <a:pt x="2" y="4"/>
                  <a:pt x="3" y="4"/>
                </a:cubicBezTo>
                <a:cubicBezTo>
                  <a:pt x="4" y="4"/>
                  <a:pt x="5" y="4"/>
                  <a:pt x="5" y="3"/>
                </a:cubicBezTo>
                <a:cubicBezTo>
                  <a:pt x="5" y="4"/>
                  <a:pt x="5" y="4"/>
                  <a:pt x="6" y="4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69" name="Freeform 44"/>
          <p:cNvSpPr>
            <a:spLocks/>
          </p:cNvSpPr>
          <p:nvPr/>
        </p:nvSpPr>
        <p:spPr bwMode="auto">
          <a:xfrm>
            <a:off x="3960813" y="4764088"/>
            <a:ext cx="57150" cy="15875"/>
          </a:xfrm>
          <a:custGeom>
            <a:avLst/>
            <a:gdLst>
              <a:gd name="T0" fmla="*/ 18 w 21"/>
              <a:gd name="T1" fmla="*/ 2 h 6"/>
              <a:gd name="T2" fmla="*/ 17 w 21"/>
              <a:gd name="T3" fmla="*/ 1 h 6"/>
              <a:gd name="T4" fmla="*/ 19 w 21"/>
              <a:gd name="T5" fmla="*/ 0 h 6"/>
              <a:gd name="T6" fmla="*/ 15 w 21"/>
              <a:gd name="T7" fmla="*/ 1 h 6"/>
              <a:gd name="T8" fmla="*/ 15 w 21"/>
              <a:gd name="T9" fmla="*/ 2 h 6"/>
              <a:gd name="T10" fmla="*/ 14 w 21"/>
              <a:gd name="T11" fmla="*/ 2 h 6"/>
              <a:gd name="T12" fmla="*/ 15 w 21"/>
              <a:gd name="T13" fmla="*/ 3 h 6"/>
              <a:gd name="T14" fmla="*/ 11 w 21"/>
              <a:gd name="T15" fmla="*/ 3 h 6"/>
              <a:gd name="T16" fmla="*/ 12 w 21"/>
              <a:gd name="T17" fmla="*/ 2 h 6"/>
              <a:gd name="T18" fmla="*/ 11 w 21"/>
              <a:gd name="T19" fmla="*/ 1 h 6"/>
              <a:gd name="T20" fmla="*/ 9 w 21"/>
              <a:gd name="T21" fmla="*/ 1 h 6"/>
              <a:gd name="T22" fmla="*/ 9 w 21"/>
              <a:gd name="T23" fmla="*/ 1 h 6"/>
              <a:gd name="T24" fmla="*/ 2 w 21"/>
              <a:gd name="T25" fmla="*/ 3 h 6"/>
              <a:gd name="T26" fmla="*/ 3 w 21"/>
              <a:gd name="T27" fmla="*/ 3 h 6"/>
              <a:gd name="T28" fmla="*/ 0 w 21"/>
              <a:gd name="T29" fmla="*/ 3 h 6"/>
              <a:gd name="T30" fmla="*/ 2 w 21"/>
              <a:gd name="T31" fmla="*/ 3 h 6"/>
              <a:gd name="T32" fmla="*/ 2 w 21"/>
              <a:gd name="T33" fmla="*/ 4 h 6"/>
              <a:gd name="T34" fmla="*/ 3 w 21"/>
              <a:gd name="T35" fmla="*/ 4 h 6"/>
              <a:gd name="T36" fmla="*/ 6 w 21"/>
              <a:gd name="T37" fmla="*/ 3 h 6"/>
              <a:gd name="T38" fmla="*/ 10 w 21"/>
              <a:gd name="T39" fmla="*/ 4 h 6"/>
              <a:gd name="T40" fmla="*/ 4 w 21"/>
              <a:gd name="T41" fmla="*/ 4 h 6"/>
              <a:gd name="T42" fmla="*/ 14 w 21"/>
              <a:gd name="T43" fmla="*/ 4 h 6"/>
              <a:gd name="T44" fmla="*/ 21 w 21"/>
              <a:gd name="T45" fmla="*/ 2 h 6"/>
              <a:gd name="T46" fmla="*/ 18 w 21"/>
              <a:gd name="T47" fmla="*/ 2 h 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1"/>
              <a:gd name="T73" fmla="*/ 0 h 6"/>
              <a:gd name="T74" fmla="*/ 21 w 21"/>
              <a:gd name="T75" fmla="*/ 6 h 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1" h="6">
                <a:moveTo>
                  <a:pt x="18" y="2"/>
                </a:moveTo>
                <a:cubicBezTo>
                  <a:pt x="18" y="2"/>
                  <a:pt x="18" y="2"/>
                  <a:pt x="17" y="1"/>
                </a:cubicBezTo>
                <a:cubicBezTo>
                  <a:pt x="18" y="1"/>
                  <a:pt x="18" y="1"/>
                  <a:pt x="19" y="0"/>
                </a:cubicBezTo>
                <a:cubicBezTo>
                  <a:pt x="17" y="0"/>
                  <a:pt x="16" y="1"/>
                  <a:pt x="15" y="1"/>
                </a:cubicBezTo>
                <a:cubicBezTo>
                  <a:pt x="15" y="2"/>
                  <a:pt x="15" y="1"/>
                  <a:pt x="15" y="2"/>
                </a:cubicBezTo>
                <a:cubicBezTo>
                  <a:pt x="15" y="2"/>
                  <a:pt x="14" y="2"/>
                  <a:pt x="14" y="2"/>
                </a:cubicBezTo>
                <a:cubicBezTo>
                  <a:pt x="14" y="2"/>
                  <a:pt x="15" y="2"/>
                  <a:pt x="15" y="3"/>
                </a:cubicBezTo>
                <a:cubicBezTo>
                  <a:pt x="14" y="3"/>
                  <a:pt x="12" y="3"/>
                  <a:pt x="11" y="3"/>
                </a:cubicBezTo>
                <a:cubicBezTo>
                  <a:pt x="12" y="2"/>
                  <a:pt x="12" y="2"/>
                  <a:pt x="12" y="2"/>
                </a:cubicBezTo>
                <a:cubicBezTo>
                  <a:pt x="11" y="2"/>
                  <a:pt x="11" y="2"/>
                  <a:pt x="11" y="1"/>
                </a:cubicBezTo>
                <a:cubicBezTo>
                  <a:pt x="10" y="1"/>
                  <a:pt x="9" y="1"/>
                  <a:pt x="9" y="1"/>
                </a:cubicBezTo>
                <a:cubicBezTo>
                  <a:pt x="9" y="1"/>
                  <a:pt x="10" y="1"/>
                  <a:pt x="9" y="1"/>
                </a:cubicBezTo>
                <a:cubicBezTo>
                  <a:pt x="6" y="1"/>
                  <a:pt x="4" y="2"/>
                  <a:pt x="2" y="3"/>
                </a:cubicBezTo>
                <a:cubicBezTo>
                  <a:pt x="2" y="3"/>
                  <a:pt x="3" y="3"/>
                  <a:pt x="3" y="3"/>
                </a:cubicBezTo>
                <a:cubicBezTo>
                  <a:pt x="2" y="3"/>
                  <a:pt x="1" y="3"/>
                  <a:pt x="0" y="3"/>
                </a:cubicBezTo>
                <a:cubicBezTo>
                  <a:pt x="1" y="4"/>
                  <a:pt x="2" y="4"/>
                  <a:pt x="2" y="3"/>
                </a:cubicBezTo>
                <a:cubicBezTo>
                  <a:pt x="2" y="4"/>
                  <a:pt x="2" y="4"/>
                  <a:pt x="2" y="4"/>
                </a:cubicBezTo>
                <a:cubicBezTo>
                  <a:pt x="3" y="4"/>
                  <a:pt x="3" y="4"/>
                  <a:pt x="3" y="4"/>
                </a:cubicBezTo>
                <a:cubicBezTo>
                  <a:pt x="4" y="5"/>
                  <a:pt x="5" y="3"/>
                  <a:pt x="6" y="3"/>
                </a:cubicBezTo>
                <a:cubicBezTo>
                  <a:pt x="6" y="4"/>
                  <a:pt x="8" y="3"/>
                  <a:pt x="10" y="4"/>
                </a:cubicBezTo>
                <a:cubicBezTo>
                  <a:pt x="7" y="4"/>
                  <a:pt x="5" y="4"/>
                  <a:pt x="4" y="4"/>
                </a:cubicBezTo>
                <a:cubicBezTo>
                  <a:pt x="6" y="6"/>
                  <a:pt x="11" y="4"/>
                  <a:pt x="14" y="4"/>
                </a:cubicBezTo>
                <a:cubicBezTo>
                  <a:pt x="16" y="5"/>
                  <a:pt x="20" y="4"/>
                  <a:pt x="21" y="2"/>
                </a:cubicBezTo>
                <a:cubicBezTo>
                  <a:pt x="20" y="1"/>
                  <a:pt x="19" y="2"/>
                  <a:pt x="18" y="2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70" name="Freeform 45"/>
          <p:cNvSpPr>
            <a:spLocks/>
          </p:cNvSpPr>
          <p:nvPr/>
        </p:nvSpPr>
        <p:spPr bwMode="auto">
          <a:xfrm>
            <a:off x="4006850" y="4779963"/>
            <a:ext cx="34925" cy="17462"/>
          </a:xfrm>
          <a:custGeom>
            <a:avLst/>
            <a:gdLst>
              <a:gd name="T0" fmla="*/ 11 w 12"/>
              <a:gd name="T1" fmla="*/ 0 h 6"/>
              <a:gd name="T2" fmla="*/ 12 w 12"/>
              <a:gd name="T3" fmla="*/ 0 h 6"/>
              <a:gd name="T4" fmla="*/ 8 w 12"/>
              <a:gd name="T5" fmla="*/ 0 h 6"/>
              <a:gd name="T6" fmla="*/ 5 w 12"/>
              <a:gd name="T7" fmla="*/ 1 h 6"/>
              <a:gd name="T8" fmla="*/ 5 w 12"/>
              <a:gd name="T9" fmla="*/ 1 h 6"/>
              <a:gd name="T10" fmla="*/ 4 w 12"/>
              <a:gd name="T11" fmla="*/ 1 h 6"/>
              <a:gd name="T12" fmla="*/ 5 w 12"/>
              <a:gd name="T13" fmla="*/ 2 h 6"/>
              <a:gd name="T14" fmla="*/ 4 w 12"/>
              <a:gd name="T15" fmla="*/ 3 h 6"/>
              <a:gd name="T16" fmla="*/ 3 w 12"/>
              <a:gd name="T17" fmla="*/ 3 h 6"/>
              <a:gd name="T18" fmla="*/ 2 w 12"/>
              <a:gd name="T19" fmla="*/ 2 h 6"/>
              <a:gd name="T20" fmla="*/ 0 w 12"/>
              <a:gd name="T21" fmla="*/ 3 h 6"/>
              <a:gd name="T22" fmla="*/ 1 w 12"/>
              <a:gd name="T23" fmla="*/ 4 h 6"/>
              <a:gd name="T24" fmla="*/ 2 w 12"/>
              <a:gd name="T25" fmla="*/ 4 h 6"/>
              <a:gd name="T26" fmla="*/ 3 w 12"/>
              <a:gd name="T27" fmla="*/ 6 h 6"/>
              <a:gd name="T28" fmla="*/ 5 w 12"/>
              <a:gd name="T29" fmla="*/ 5 h 6"/>
              <a:gd name="T30" fmla="*/ 5 w 12"/>
              <a:gd name="T31" fmla="*/ 5 h 6"/>
              <a:gd name="T32" fmla="*/ 10 w 12"/>
              <a:gd name="T33" fmla="*/ 3 h 6"/>
              <a:gd name="T34" fmla="*/ 10 w 12"/>
              <a:gd name="T35" fmla="*/ 2 h 6"/>
              <a:gd name="T36" fmla="*/ 8 w 12"/>
              <a:gd name="T37" fmla="*/ 2 h 6"/>
              <a:gd name="T38" fmla="*/ 11 w 12"/>
              <a:gd name="T39" fmla="*/ 1 h 6"/>
              <a:gd name="T40" fmla="*/ 12 w 12"/>
              <a:gd name="T41" fmla="*/ 0 h 6"/>
              <a:gd name="T42" fmla="*/ 11 w 12"/>
              <a:gd name="T43" fmla="*/ 0 h 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2"/>
              <a:gd name="T67" fmla="*/ 0 h 6"/>
              <a:gd name="T68" fmla="*/ 12 w 12"/>
              <a:gd name="T69" fmla="*/ 6 h 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2" h="6">
                <a:moveTo>
                  <a:pt x="11" y="0"/>
                </a:moveTo>
                <a:cubicBezTo>
                  <a:pt x="11" y="0"/>
                  <a:pt x="12" y="0"/>
                  <a:pt x="12" y="0"/>
                </a:cubicBezTo>
                <a:cubicBezTo>
                  <a:pt x="10" y="0"/>
                  <a:pt x="8" y="0"/>
                  <a:pt x="8" y="0"/>
                </a:cubicBezTo>
                <a:cubicBezTo>
                  <a:pt x="8" y="0"/>
                  <a:pt x="6" y="0"/>
                  <a:pt x="5" y="1"/>
                </a:cubicBezTo>
                <a:cubicBezTo>
                  <a:pt x="5" y="1"/>
                  <a:pt x="5" y="1"/>
                  <a:pt x="5" y="1"/>
                </a:cubicBezTo>
                <a:cubicBezTo>
                  <a:pt x="5" y="1"/>
                  <a:pt x="4" y="1"/>
                  <a:pt x="4" y="1"/>
                </a:cubicBezTo>
                <a:cubicBezTo>
                  <a:pt x="4" y="2"/>
                  <a:pt x="5" y="1"/>
                  <a:pt x="5" y="2"/>
                </a:cubicBezTo>
                <a:cubicBezTo>
                  <a:pt x="4" y="2"/>
                  <a:pt x="4" y="2"/>
                  <a:pt x="4" y="3"/>
                </a:cubicBezTo>
                <a:cubicBezTo>
                  <a:pt x="4" y="2"/>
                  <a:pt x="3" y="3"/>
                  <a:pt x="3" y="3"/>
                </a:cubicBezTo>
                <a:cubicBezTo>
                  <a:pt x="2" y="2"/>
                  <a:pt x="2" y="2"/>
                  <a:pt x="2" y="2"/>
                </a:cubicBezTo>
                <a:cubicBezTo>
                  <a:pt x="1" y="2"/>
                  <a:pt x="1" y="2"/>
                  <a:pt x="0" y="3"/>
                </a:cubicBezTo>
                <a:cubicBezTo>
                  <a:pt x="1" y="3"/>
                  <a:pt x="1" y="3"/>
                  <a:pt x="1" y="4"/>
                </a:cubicBezTo>
                <a:cubicBezTo>
                  <a:pt x="1" y="4"/>
                  <a:pt x="1" y="4"/>
                  <a:pt x="2" y="4"/>
                </a:cubicBezTo>
                <a:cubicBezTo>
                  <a:pt x="2" y="4"/>
                  <a:pt x="3" y="5"/>
                  <a:pt x="3" y="6"/>
                </a:cubicBezTo>
                <a:cubicBezTo>
                  <a:pt x="3" y="6"/>
                  <a:pt x="4" y="6"/>
                  <a:pt x="5" y="5"/>
                </a:cubicBezTo>
                <a:cubicBezTo>
                  <a:pt x="5" y="5"/>
                  <a:pt x="5" y="5"/>
                  <a:pt x="5" y="5"/>
                </a:cubicBezTo>
                <a:cubicBezTo>
                  <a:pt x="7" y="6"/>
                  <a:pt x="10" y="4"/>
                  <a:pt x="10" y="3"/>
                </a:cubicBezTo>
                <a:cubicBezTo>
                  <a:pt x="10" y="3"/>
                  <a:pt x="9" y="2"/>
                  <a:pt x="10" y="2"/>
                </a:cubicBezTo>
                <a:cubicBezTo>
                  <a:pt x="8" y="2"/>
                  <a:pt x="8" y="2"/>
                  <a:pt x="8" y="2"/>
                </a:cubicBezTo>
                <a:cubicBezTo>
                  <a:pt x="9" y="2"/>
                  <a:pt x="10" y="1"/>
                  <a:pt x="11" y="1"/>
                </a:cubicBezTo>
                <a:cubicBezTo>
                  <a:pt x="10" y="1"/>
                  <a:pt x="12" y="1"/>
                  <a:pt x="12" y="0"/>
                </a:cubicBezTo>
                <a:cubicBezTo>
                  <a:pt x="12" y="0"/>
                  <a:pt x="11" y="0"/>
                  <a:pt x="11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71" name="Freeform 46"/>
          <p:cNvSpPr>
            <a:spLocks/>
          </p:cNvSpPr>
          <p:nvPr/>
        </p:nvSpPr>
        <p:spPr bwMode="auto">
          <a:xfrm>
            <a:off x="4086225" y="4733925"/>
            <a:ext cx="152400" cy="36513"/>
          </a:xfrm>
          <a:custGeom>
            <a:avLst/>
            <a:gdLst>
              <a:gd name="T0" fmla="*/ 15 w 55"/>
              <a:gd name="T1" fmla="*/ 6 h 13"/>
              <a:gd name="T2" fmla="*/ 14 w 55"/>
              <a:gd name="T3" fmla="*/ 7 h 13"/>
              <a:gd name="T4" fmla="*/ 17 w 55"/>
              <a:gd name="T5" fmla="*/ 7 h 13"/>
              <a:gd name="T6" fmla="*/ 8 w 55"/>
              <a:gd name="T7" fmla="*/ 9 h 13"/>
              <a:gd name="T8" fmla="*/ 11 w 55"/>
              <a:gd name="T9" fmla="*/ 9 h 13"/>
              <a:gd name="T10" fmla="*/ 10 w 55"/>
              <a:gd name="T11" fmla="*/ 9 h 13"/>
              <a:gd name="T12" fmla="*/ 10 w 55"/>
              <a:gd name="T13" fmla="*/ 9 h 13"/>
              <a:gd name="T14" fmla="*/ 12 w 55"/>
              <a:gd name="T15" fmla="*/ 10 h 13"/>
              <a:gd name="T16" fmla="*/ 9 w 55"/>
              <a:gd name="T17" fmla="*/ 10 h 13"/>
              <a:gd name="T18" fmla="*/ 9 w 55"/>
              <a:gd name="T19" fmla="*/ 9 h 13"/>
              <a:gd name="T20" fmla="*/ 6 w 55"/>
              <a:gd name="T21" fmla="*/ 10 h 13"/>
              <a:gd name="T22" fmla="*/ 6 w 55"/>
              <a:gd name="T23" fmla="*/ 10 h 13"/>
              <a:gd name="T24" fmla="*/ 6 w 55"/>
              <a:gd name="T25" fmla="*/ 10 h 13"/>
              <a:gd name="T26" fmla="*/ 1 w 55"/>
              <a:gd name="T27" fmla="*/ 12 h 13"/>
              <a:gd name="T28" fmla="*/ 1 w 55"/>
              <a:gd name="T29" fmla="*/ 11 h 13"/>
              <a:gd name="T30" fmla="*/ 0 w 55"/>
              <a:gd name="T31" fmla="*/ 12 h 13"/>
              <a:gd name="T32" fmla="*/ 10 w 55"/>
              <a:gd name="T33" fmla="*/ 12 h 13"/>
              <a:gd name="T34" fmla="*/ 14 w 55"/>
              <a:gd name="T35" fmla="*/ 12 h 13"/>
              <a:gd name="T36" fmla="*/ 13 w 55"/>
              <a:gd name="T37" fmla="*/ 13 h 13"/>
              <a:gd name="T38" fmla="*/ 20 w 55"/>
              <a:gd name="T39" fmla="*/ 11 h 13"/>
              <a:gd name="T40" fmla="*/ 18 w 55"/>
              <a:gd name="T41" fmla="*/ 11 h 13"/>
              <a:gd name="T42" fmla="*/ 18 w 55"/>
              <a:gd name="T43" fmla="*/ 10 h 13"/>
              <a:gd name="T44" fmla="*/ 21 w 55"/>
              <a:gd name="T45" fmla="*/ 10 h 13"/>
              <a:gd name="T46" fmla="*/ 21 w 55"/>
              <a:gd name="T47" fmla="*/ 9 h 13"/>
              <a:gd name="T48" fmla="*/ 28 w 55"/>
              <a:gd name="T49" fmla="*/ 7 h 13"/>
              <a:gd name="T50" fmla="*/ 27 w 55"/>
              <a:gd name="T51" fmla="*/ 7 h 13"/>
              <a:gd name="T52" fmla="*/ 30 w 55"/>
              <a:gd name="T53" fmla="*/ 7 h 13"/>
              <a:gd name="T54" fmla="*/ 27 w 55"/>
              <a:gd name="T55" fmla="*/ 6 h 13"/>
              <a:gd name="T56" fmla="*/ 28 w 55"/>
              <a:gd name="T57" fmla="*/ 6 h 13"/>
              <a:gd name="T58" fmla="*/ 32 w 55"/>
              <a:gd name="T59" fmla="*/ 6 h 13"/>
              <a:gd name="T60" fmla="*/ 33 w 55"/>
              <a:gd name="T61" fmla="*/ 6 h 13"/>
              <a:gd name="T62" fmla="*/ 48 w 55"/>
              <a:gd name="T63" fmla="*/ 2 h 13"/>
              <a:gd name="T64" fmla="*/ 47 w 55"/>
              <a:gd name="T65" fmla="*/ 2 h 13"/>
              <a:gd name="T66" fmla="*/ 55 w 55"/>
              <a:gd name="T67" fmla="*/ 1 h 13"/>
              <a:gd name="T68" fmla="*/ 52 w 55"/>
              <a:gd name="T69" fmla="*/ 0 h 13"/>
              <a:gd name="T70" fmla="*/ 41 w 55"/>
              <a:gd name="T71" fmla="*/ 0 h 13"/>
              <a:gd name="T72" fmla="*/ 33 w 55"/>
              <a:gd name="T73" fmla="*/ 0 h 13"/>
              <a:gd name="T74" fmla="*/ 34 w 55"/>
              <a:gd name="T75" fmla="*/ 1 h 13"/>
              <a:gd name="T76" fmla="*/ 29 w 55"/>
              <a:gd name="T77" fmla="*/ 1 h 13"/>
              <a:gd name="T78" fmla="*/ 27 w 55"/>
              <a:gd name="T79" fmla="*/ 1 h 13"/>
              <a:gd name="T80" fmla="*/ 28 w 55"/>
              <a:gd name="T81" fmla="*/ 1 h 13"/>
              <a:gd name="T82" fmla="*/ 24 w 55"/>
              <a:gd name="T83" fmla="*/ 2 h 13"/>
              <a:gd name="T84" fmla="*/ 10 w 55"/>
              <a:gd name="T85" fmla="*/ 2 h 13"/>
              <a:gd name="T86" fmla="*/ 12 w 55"/>
              <a:gd name="T87" fmla="*/ 3 h 13"/>
              <a:gd name="T88" fmla="*/ 11 w 55"/>
              <a:gd name="T89" fmla="*/ 3 h 13"/>
              <a:gd name="T90" fmla="*/ 15 w 55"/>
              <a:gd name="T91" fmla="*/ 4 h 13"/>
              <a:gd name="T92" fmla="*/ 15 w 55"/>
              <a:gd name="T93" fmla="*/ 4 h 13"/>
              <a:gd name="T94" fmla="*/ 20 w 55"/>
              <a:gd name="T95" fmla="*/ 4 h 13"/>
              <a:gd name="T96" fmla="*/ 25 w 55"/>
              <a:gd name="T97" fmla="*/ 4 h 13"/>
              <a:gd name="T98" fmla="*/ 19 w 55"/>
              <a:gd name="T99" fmla="*/ 5 h 13"/>
              <a:gd name="T100" fmla="*/ 21 w 55"/>
              <a:gd name="T101" fmla="*/ 5 h 13"/>
              <a:gd name="T102" fmla="*/ 20 w 55"/>
              <a:gd name="T103" fmla="*/ 6 h 13"/>
              <a:gd name="T104" fmla="*/ 13 w 55"/>
              <a:gd name="T105" fmla="*/ 6 h 13"/>
              <a:gd name="T106" fmla="*/ 15 w 55"/>
              <a:gd name="T107" fmla="*/ 6 h 13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55"/>
              <a:gd name="T163" fmla="*/ 0 h 13"/>
              <a:gd name="T164" fmla="*/ 55 w 55"/>
              <a:gd name="T165" fmla="*/ 13 h 13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55" h="13">
                <a:moveTo>
                  <a:pt x="15" y="6"/>
                </a:moveTo>
                <a:cubicBezTo>
                  <a:pt x="15" y="7"/>
                  <a:pt x="14" y="6"/>
                  <a:pt x="14" y="7"/>
                </a:cubicBezTo>
                <a:cubicBezTo>
                  <a:pt x="15" y="7"/>
                  <a:pt x="16" y="7"/>
                  <a:pt x="17" y="7"/>
                </a:cubicBezTo>
                <a:cubicBezTo>
                  <a:pt x="14" y="7"/>
                  <a:pt x="10" y="7"/>
                  <a:pt x="8" y="9"/>
                </a:cubicBezTo>
                <a:cubicBezTo>
                  <a:pt x="9" y="9"/>
                  <a:pt x="10" y="9"/>
                  <a:pt x="11" y="9"/>
                </a:cubicBezTo>
                <a:cubicBezTo>
                  <a:pt x="11" y="9"/>
                  <a:pt x="10" y="9"/>
                  <a:pt x="10" y="9"/>
                </a:cubicBezTo>
                <a:cubicBezTo>
                  <a:pt x="10" y="9"/>
                  <a:pt x="10" y="9"/>
                  <a:pt x="10" y="9"/>
                </a:cubicBezTo>
                <a:cubicBezTo>
                  <a:pt x="10" y="10"/>
                  <a:pt x="12" y="10"/>
                  <a:pt x="12" y="10"/>
                </a:cubicBezTo>
                <a:cubicBezTo>
                  <a:pt x="11" y="10"/>
                  <a:pt x="10" y="10"/>
                  <a:pt x="9" y="10"/>
                </a:cubicBezTo>
                <a:cubicBezTo>
                  <a:pt x="9" y="9"/>
                  <a:pt x="9" y="9"/>
                  <a:pt x="9" y="9"/>
                </a:cubicBezTo>
                <a:cubicBezTo>
                  <a:pt x="8" y="9"/>
                  <a:pt x="6" y="9"/>
                  <a:pt x="6" y="10"/>
                </a:cubicBezTo>
                <a:cubicBezTo>
                  <a:pt x="6" y="10"/>
                  <a:pt x="6" y="10"/>
                  <a:pt x="6" y="10"/>
                </a:cubicBezTo>
                <a:cubicBezTo>
                  <a:pt x="6" y="10"/>
                  <a:pt x="7" y="10"/>
                  <a:pt x="6" y="10"/>
                </a:cubicBezTo>
                <a:cubicBezTo>
                  <a:pt x="4" y="11"/>
                  <a:pt x="2" y="11"/>
                  <a:pt x="1" y="12"/>
                </a:cubicBezTo>
                <a:cubicBezTo>
                  <a:pt x="1" y="11"/>
                  <a:pt x="1" y="11"/>
                  <a:pt x="1" y="11"/>
                </a:cubicBezTo>
                <a:cubicBezTo>
                  <a:pt x="1" y="11"/>
                  <a:pt x="0" y="11"/>
                  <a:pt x="0" y="12"/>
                </a:cubicBezTo>
                <a:cubicBezTo>
                  <a:pt x="3" y="12"/>
                  <a:pt x="6" y="13"/>
                  <a:pt x="10" y="12"/>
                </a:cubicBezTo>
                <a:cubicBezTo>
                  <a:pt x="11" y="13"/>
                  <a:pt x="12" y="11"/>
                  <a:pt x="14" y="12"/>
                </a:cubicBezTo>
                <a:cubicBezTo>
                  <a:pt x="14" y="12"/>
                  <a:pt x="13" y="12"/>
                  <a:pt x="13" y="13"/>
                </a:cubicBezTo>
                <a:cubicBezTo>
                  <a:pt x="16" y="12"/>
                  <a:pt x="19" y="13"/>
                  <a:pt x="20" y="11"/>
                </a:cubicBezTo>
                <a:cubicBezTo>
                  <a:pt x="19" y="11"/>
                  <a:pt x="18" y="11"/>
                  <a:pt x="18" y="11"/>
                </a:cubicBezTo>
                <a:cubicBezTo>
                  <a:pt x="18" y="11"/>
                  <a:pt x="19" y="11"/>
                  <a:pt x="18" y="10"/>
                </a:cubicBezTo>
                <a:cubicBezTo>
                  <a:pt x="19" y="10"/>
                  <a:pt x="20" y="10"/>
                  <a:pt x="21" y="10"/>
                </a:cubicBezTo>
                <a:cubicBezTo>
                  <a:pt x="21" y="9"/>
                  <a:pt x="22" y="9"/>
                  <a:pt x="21" y="9"/>
                </a:cubicBezTo>
                <a:cubicBezTo>
                  <a:pt x="25" y="9"/>
                  <a:pt x="26" y="9"/>
                  <a:pt x="28" y="7"/>
                </a:cubicBezTo>
                <a:cubicBezTo>
                  <a:pt x="28" y="7"/>
                  <a:pt x="27" y="7"/>
                  <a:pt x="27" y="7"/>
                </a:cubicBezTo>
                <a:cubicBezTo>
                  <a:pt x="27" y="7"/>
                  <a:pt x="29" y="8"/>
                  <a:pt x="30" y="7"/>
                </a:cubicBezTo>
                <a:cubicBezTo>
                  <a:pt x="29" y="6"/>
                  <a:pt x="28" y="7"/>
                  <a:pt x="27" y="6"/>
                </a:cubicBezTo>
                <a:cubicBezTo>
                  <a:pt x="28" y="7"/>
                  <a:pt x="28" y="6"/>
                  <a:pt x="28" y="6"/>
                </a:cubicBezTo>
                <a:cubicBezTo>
                  <a:pt x="29" y="7"/>
                  <a:pt x="31" y="6"/>
                  <a:pt x="32" y="6"/>
                </a:cubicBezTo>
                <a:cubicBezTo>
                  <a:pt x="33" y="6"/>
                  <a:pt x="33" y="6"/>
                  <a:pt x="33" y="6"/>
                </a:cubicBezTo>
                <a:cubicBezTo>
                  <a:pt x="38" y="6"/>
                  <a:pt x="43" y="3"/>
                  <a:pt x="48" y="2"/>
                </a:cubicBezTo>
                <a:cubicBezTo>
                  <a:pt x="47" y="2"/>
                  <a:pt x="47" y="2"/>
                  <a:pt x="47" y="2"/>
                </a:cubicBezTo>
                <a:cubicBezTo>
                  <a:pt x="50" y="2"/>
                  <a:pt x="53" y="2"/>
                  <a:pt x="55" y="1"/>
                </a:cubicBezTo>
                <a:cubicBezTo>
                  <a:pt x="54" y="1"/>
                  <a:pt x="52" y="1"/>
                  <a:pt x="52" y="0"/>
                </a:cubicBezTo>
                <a:cubicBezTo>
                  <a:pt x="48" y="1"/>
                  <a:pt x="45" y="0"/>
                  <a:pt x="41" y="0"/>
                </a:cubicBezTo>
                <a:cubicBezTo>
                  <a:pt x="39" y="0"/>
                  <a:pt x="36" y="0"/>
                  <a:pt x="33" y="0"/>
                </a:cubicBezTo>
                <a:cubicBezTo>
                  <a:pt x="33" y="0"/>
                  <a:pt x="34" y="0"/>
                  <a:pt x="34" y="1"/>
                </a:cubicBezTo>
                <a:cubicBezTo>
                  <a:pt x="33" y="0"/>
                  <a:pt x="30" y="0"/>
                  <a:pt x="29" y="1"/>
                </a:cubicBezTo>
                <a:cubicBezTo>
                  <a:pt x="29" y="0"/>
                  <a:pt x="28" y="0"/>
                  <a:pt x="27" y="1"/>
                </a:cubicBezTo>
                <a:cubicBezTo>
                  <a:pt x="28" y="1"/>
                  <a:pt x="28" y="1"/>
                  <a:pt x="28" y="1"/>
                </a:cubicBezTo>
                <a:cubicBezTo>
                  <a:pt x="26" y="0"/>
                  <a:pt x="24" y="1"/>
                  <a:pt x="24" y="2"/>
                </a:cubicBezTo>
                <a:cubicBezTo>
                  <a:pt x="20" y="1"/>
                  <a:pt x="15" y="2"/>
                  <a:pt x="10" y="2"/>
                </a:cubicBezTo>
                <a:cubicBezTo>
                  <a:pt x="11" y="3"/>
                  <a:pt x="12" y="3"/>
                  <a:pt x="12" y="3"/>
                </a:cubicBezTo>
                <a:cubicBezTo>
                  <a:pt x="12" y="3"/>
                  <a:pt x="11" y="3"/>
                  <a:pt x="11" y="3"/>
                </a:cubicBezTo>
                <a:cubicBezTo>
                  <a:pt x="12" y="4"/>
                  <a:pt x="14" y="5"/>
                  <a:pt x="15" y="4"/>
                </a:cubicBezTo>
                <a:cubicBezTo>
                  <a:pt x="15" y="4"/>
                  <a:pt x="15" y="4"/>
                  <a:pt x="15" y="4"/>
                </a:cubicBezTo>
                <a:cubicBezTo>
                  <a:pt x="16" y="4"/>
                  <a:pt x="19" y="5"/>
                  <a:pt x="20" y="4"/>
                </a:cubicBezTo>
                <a:cubicBezTo>
                  <a:pt x="21" y="5"/>
                  <a:pt x="24" y="4"/>
                  <a:pt x="25" y="4"/>
                </a:cubicBezTo>
                <a:cubicBezTo>
                  <a:pt x="24" y="4"/>
                  <a:pt x="21" y="4"/>
                  <a:pt x="19" y="5"/>
                </a:cubicBezTo>
                <a:cubicBezTo>
                  <a:pt x="21" y="5"/>
                  <a:pt x="21" y="5"/>
                  <a:pt x="21" y="5"/>
                </a:cubicBezTo>
                <a:cubicBezTo>
                  <a:pt x="20" y="6"/>
                  <a:pt x="20" y="6"/>
                  <a:pt x="20" y="6"/>
                </a:cubicBezTo>
                <a:cubicBezTo>
                  <a:pt x="19" y="4"/>
                  <a:pt x="14" y="4"/>
                  <a:pt x="13" y="6"/>
                </a:cubicBezTo>
                <a:cubicBezTo>
                  <a:pt x="14" y="6"/>
                  <a:pt x="15" y="6"/>
                  <a:pt x="15" y="6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72" name="Freeform 47"/>
          <p:cNvSpPr>
            <a:spLocks/>
          </p:cNvSpPr>
          <p:nvPr/>
        </p:nvSpPr>
        <p:spPr bwMode="auto">
          <a:xfrm>
            <a:off x="4418013" y="4876800"/>
            <a:ext cx="44450" cy="61913"/>
          </a:xfrm>
          <a:custGeom>
            <a:avLst/>
            <a:gdLst>
              <a:gd name="T0" fmla="*/ 0 w 16"/>
              <a:gd name="T1" fmla="*/ 3 h 22"/>
              <a:gd name="T2" fmla="*/ 2 w 16"/>
              <a:gd name="T3" fmla="*/ 4 h 22"/>
              <a:gd name="T4" fmla="*/ 1 w 16"/>
              <a:gd name="T5" fmla="*/ 5 h 22"/>
              <a:gd name="T6" fmla="*/ 1 w 16"/>
              <a:gd name="T7" fmla="*/ 5 h 22"/>
              <a:gd name="T8" fmla="*/ 1 w 16"/>
              <a:gd name="T9" fmla="*/ 6 h 22"/>
              <a:gd name="T10" fmla="*/ 3 w 16"/>
              <a:gd name="T11" fmla="*/ 5 h 22"/>
              <a:gd name="T12" fmla="*/ 2 w 16"/>
              <a:gd name="T13" fmla="*/ 6 h 22"/>
              <a:gd name="T14" fmla="*/ 0 w 16"/>
              <a:gd name="T15" fmla="*/ 7 h 22"/>
              <a:gd name="T16" fmla="*/ 1 w 16"/>
              <a:gd name="T17" fmla="*/ 7 h 22"/>
              <a:gd name="T18" fmla="*/ 2 w 16"/>
              <a:gd name="T19" fmla="*/ 6 h 22"/>
              <a:gd name="T20" fmla="*/ 2 w 16"/>
              <a:gd name="T21" fmla="*/ 8 h 22"/>
              <a:gd name="T22" fmla="*/ 3 w 16"/>
              <a:gd name="T23" fmla="*/ 7 h 22"/>
              <a:gd name="T24" fmla="*/ 4 w 16"/>
              <a:gd name="T25" fmla="*/ 8 h 22"/>
              <a:gd name="T26" fmla="*/ 3 w 16"/>
              <a:gd name="T27" fmla="*/ 9 h 22"/>
              <a:gd name="T28" fmla="*/ 3 w 16"/>
              <a:gd name="T29" fmla="*/ 10 h 22"/>
              <a:gd name="T30" fmla="*/ 4 w 16"/>
              <a:gd name="T31" fmla="*/ 10 h 22"/>
              <a:gd name="T32" fmla="*/ 6 w 16"/>
              <a:gd name="T33" fmla="*/ 9 h 22"/>
              <a:gd name="T34" fmla="*/ 6 w 16"/>
              <a:gd name="T35" fmla="*/ 10 h 22"/>
              <a:gd name="T36" fmla="*/ 7 w 16"/>
              <a:gd name="T37" fmla="*/ 11 h 22"/>
              <a:gd name="T38" fmla="*/ 7 w 16"/>
              <a:gd name="T39" fmla="*/ 11 h 22"/>
              <a:gd name="T40" fmla="*/ 4 w 16"/>
              <a:gd name="T41" fmla="*/ 13 h 22"/>
              <a:gd name="T42" fmla="*/ 4 w 16"/>
              <a:gd name="T43" fmla="*/ 14 h 22"/>
              <a:gd name="T44" fmla="*/ 3 w 16"/>
              <a:gd name="T45" fmla="*/ 14 h 22"/>
              <a:gd name="T46" fmla="*/ 4 w 16"/>
              <a:gd name="T47" fmla="*/ 14 h 22"/>
              <a:gd name="T48" fmla="*/ 2 w 16"/>
              <a:gd name="T49" fmla="*/ 17 h 22"/>
              <a:gd name="T50" fmla="*/ 2 w 16"/>
              <a:gd name="T51" fmla="*/ 17 h 22"/>
              <a:gd name="T52" fmla="*/ 4 w 16"/>
              <a:gd name="T53" fmla="*/ 17 h 22"/>
              <a:gd name="T54" fmla="*/ 4 w 16"/>
              <a:gd name="T55" fmla="*/ 18 h 22"/>
              <a:gd name="T56" fmla="*/ 5 w 16"/>
              <a:gd name="T57" fmla="*/ 17 h 22"/>
              <a:gd name="T58" fmla="*/ 7 w 16"/>
              <a:gd name="T59" fmla="*/ 18 h 22"/>
              <a:gd name="T60" fmla="*/ 6 w 16"/>
              <a:gd name="T61" fmla="*/ 18 h 22"/>
              <a:gd name="T62" fmla="*/ 3 w 16"/>
              <a:gd name="T63" fmla="*/ 19 h 22"/>
              <a:gd name="T64" fmla="*/ 1 w 16"/>
              <a:gd name="T65" fmla="*/ 21 h 22"/>
              <a:gd name="T66" fmla="*/ 2 w 16"/>
              <a:gd name="T67" fmla="*/ 21 h 22"/>
              <a:gd name="T68" fmla="*/ 5 w 16"/>
              <a:gd name="T69" fmla="*/ 21 h 22"/>
              <a:gd name="T70" fmla="*/ 7 w 16"/>
              <a:gd name="T71" fmla="*/ 20 h 22"/>
              <a:gd name="T72" fmla="*/ 10 w 16"/>
              <a:gd name="T73" fmla="*/ 20 h 22"/>
              <a:gd name="T74" fmla="*/ 10 w 16"/>
              <a:gd name="T75" fmla="*/ 19 h 22"/>
              <a:gd name="T76" fmla="*/ 15 w 16"/>
              <a:gd name="T77" fmla="*/ 19 h 22"/>
              <a:gd name="T78" fmla="*/ 15 w 16"/>
              <a:gd name="T79" fmla="*/ 18 h 22"/>
              <a:gd name="T80" fmla="*/ 14 w 16"/>
              <a:gd name="T81" fmla="*/ 18 h 22"/>
              <a:gd name="T82" fmla="*/ 14 w 16"/>
              <a:gd name="T83" fmla="*/ 17 h 22"/>
              <a:gd name="T84" fmla="*/ 16 w 16"/>
              <a:gd name="T85" fmla="*/ 15 h 22"/>
              <a:gd name="T86" fmla="*/ 13 w 16"/>
              <a:gd name="T87" fmla="*/ 14 h 22"/>
              <a:gd name="T88" fmla="*/ 13 w 16"/>
              <a:gd name="T89" fmla="*/ 14 h 22"/>
              <a:gd name="T90" fmla="*/ 13 w 16"/>
              <a:gd name="T91" fmla="*/ 13 h 22"/>
              <a:gd name="T92" fmla="*/ 12 w 16"/>
              <a:gd name="T93" fmla="*/ 11 h 22"/>
              <a:gd name="T94" fmla="*/ 7 w 16"/>
              <a:gd name="T95" fmla="*/ 6 h 22"/>
              <a:gd name="T96" fmla="*/ 8 w 16"/>
              <a:gd name="T97" fmla="*/ 6 h 22"/>
              <a:gd name="T98" fmla="*/ 8 w 16"/>
              <a:gd name="T99" fmla="*/ 5 h 22"/>
              <a:gd name="T100" fmla="*/ 10 w 16"/>
              <a:gd name="T101" fmla="*/ 3 h 22"/>
              <a:gd name="T102" fmla="*/ 6 w 16"/>
              <a:gd name="T103" fmla="*/ 2 h 22"/>
              <a:gd name="T104" fmla="*/ 6 w 16"/>
              <a:gd name="T105" fmla="*/ 2 h 22"/>
              <a:gd name="T106" fmla="*/ 8 w 16"/>
              <a:gd name="T107" fmla="*/ 0 h 22"/>
              <a:gd name="T108" fmla="*/ 4 w 16"/>
              <a:gd name="T109" fmla="*/ 0 h 22"/>
              <a:gd name="T110" fmla="*/ 3 w 16"/>
              <a:gd name="T111" fmla="*/ 1 h 22"/>
              <a:gd name="T112" fmla="*/ 3 w 16"/>
              <a:gd name="T113" fmla="*/ 2 h 22"/>
              <a:gd name="T114" fmla="*/ 2 w 16"/>
              <a:gd name="T115" fmla="*/ 2 h 22"/>
              <a:gd name="T116" fmla="*/ 2 w 16"/>
              <a:gd name="T117" fmla="*/ 3 h 22"/>
              <a:gd name="T118" fmla="*/ 2 w 16"/>
              <a:gd name="T119" fmla="*/ 3 h 22"/>
              <a:gd name="T120" fmla="*/ 1 w 16"/>
              <a:gd name="T121" fmla="*/ 2 h 22"/>
              <a:gd name="T122" fmla="*/ 0 w 16"/>
              <a:gd name="T123" fmla="*/ 3 h 2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6"/>
              <a:gd name="T187" fmla="*/ 0 h 22"/>
              <a:gd name="T188" fmla="*/ 16 w 16"/>
              <a:gd name="T189" fmla="*/ 22 h 22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6" h="22">
                <a:moveTo>
                  <a:pt x="0" y="3"/>
                </a:moveTo>
                <a:cubicBezTo>
                  <a:pt x="1" y="3"/>
                  <a:pt x="2" y="4"/>
                  <a:pt x="2" y="4"/>
                </a:cubicBezTo>
                <a:cubicBezTo>
                  <a:pt x="2" y="5"/>
                  <a:pt x="1" y="4"/>
                  <a:pt x="1" y="5"/>
                </a:cubicBezTo>
                <a:cubicBezTo>
                  <a:pt x="1" y="5"/>
                  <a:pt x="1" y="5"/>
                  <a:pt x="1" y="5"/>
                </a:cubicBezTo>
                <a:cubicBezTo>
                  <a:pt x="1" y="6"/>
                  <a:pt x="1" y="5"/>
                  <a:pt x="1" y="6"/>
                </a:cubicBezTo>
                <a:cubicBezTo>
                  <a:pt x="2" y="6"/>
                  <a:pt x="2" y="5"/>
                  <a:pt x="3" y="5"/>
                </a:cubicBezTo>
                <a:cubicBezTo>
                  <a:pt x="3" y="6"/>
                  <a:pt x="2" y="6"/>
                  <a:pt x="2" y="6"/>
                </a:cubicBezTo>
                <a:cubicBezTo>
                  <a:pt x="2" y="6"/>
                  <a:pt x="1" y="7"/>
                  <a:pt x="0" y="7"/>
                </a:cubicBezTo>
                <a:cubicBezTo>
                  <a:pt x="1" y="7"/>
                  <a:pt x="1" y="7"/>
                  <a:pt x="1" y="7"/>
                </a:cubicBezTo>
                <a:cubicBezTo>
                  <a:pt x="1" y="7"/>
                  <a:pt x="1" y="7"/>
                  <a:pt x="2" y="6"/>
                </a:cubicBezTo>
                <a:cubicBezTo>
                  <a:pt x="2" y="7"/>
                  <a:pt x="2" y="7"/>
                  <a:pt x="2" y="8"/>
                </a:cubicBezTo>
                <a:cubicBezTo>
                  <a:pt x="3" y="8"/>
                  <a:pt x="2" y="7"/>
                  <a:pt x="3" y="7"/>
                </a:cubicBezTo>
                <a:cubicBezTo>
                  <a:pt x="4" y="7"/>
                  <a:pt x="4" y="7"/>
                  <a:pt x="4" y="8"/>
                </a:cubicBezTo>
                <a:cubicBezTo>
                  <a:pt x="3" y="8"/>
                  <a:pt x="3" y="9"/>
                  <a:pt x="3" y="9"/>
                </a:cubicBezTo>
                <a:cubicBezTo>
                  <a:pt x="3" y="10"/>
                  <a:pt x="3" y="10"/>
                  <a:pt x="3" y="10"/>
                </a:cubicBezTo>
                <a:cubicBezTo>
                  <a:pt x="3" y="9"/>
                  <a:pt x="4" y="10"/>
                  <a:pt x="4" y="10"/>
                </a:cubicBezTo>
                <a:cubicBezTo>
                  <a:pt x="5" y="9"/>
                  <a:pt x="6" y="9"/>
                  <a:pt x="6" y="9"/>
                </a:cubicBezTo>
                <a:cubicBezTo>
                  <a:pt x="6" y="9"/>
                  <a:pt x="6" y="10"/>
                  <a:pt x="6" y="10"/>
                </a:cubicBezTo>
                <a:cubicBezTo>
                  <a:pt x="6" y="10"/>
                  <a:pt x="6" y="11"/>
                  <a:pt x="7" y="11"/>
                </a:cubicBezTo>
                <a:cubicBezTo>
                  <a:pt x="7" y="11"/>
                  <a:pt x="7" y="11"/>
                  <a:pt x="7" y="11"/>
                </a:cubicBezTo>
                <a:cubicBezTo>
                  <a:pt x="7" y="13"/>
                  <a:pt x="5" y="14"/>
                  <a:pt x="4" y="13"/>
                </a:cubicBezTo>
                <a:cubicBezTo>
                  <a:pt x="3" y="13"/>
                  <a:pt x="4" y="13"/>
                  <a:pt x="4" y="14"/>
                </a:cubicBezTo>
                <a:cubicBezTo>
                  <a:pt x="3" y="14"/>
                  <a:pt x="3" y="14"/>
                  <a:pt x="3" y="14"/>
                </a:cubicBezTo>
                <a:cubicBezTo>
                  <a:pt x="4" y="14"/>
                  <a:pt x="4" y="14"/>
                  <a:pt x="4" y="14"/>
                </a:cubicBezTo>
                <a:cubicBezTo>
                  <a:pt x="5" y="16"/>
                  <a:pt x="3" y="16"/>
                  <a:pt x="2" y="17"/>
                </a:cubicBezTo>
                <a:cubicBezTo>
                  <a:pt x="2" y="17"/>
                  <a:pt x="2" y="17"/>
                  <a:pt x="2" y="17"/>
                </a:cubicBezTo>
                <a:cubicBezTo>
                  <a:pt x="3" y="18"/>
                  <a:pt x="3" y="17"/>
                  <a:pt x="4" y="17"/>
                </a:cubicBezTo>
                <a:cubicBezTo>
                  <a:pt x="4" y="18"/>
                  <a:pt x="4" y="18"/>
                  <a:pt x="4" y="18"/>
                </a:cubicBezTo>
                <a:cubicBezTo>
                  <a:pt x="4" y="18"/>
                  <a:pt x="4" y="17"/>
                  <a:pt x="5" y="17"/>
                </a:cubicBezTo>
                <a:cubicBezTo>
                  <a:pt x="5" y="19"/>
                  <a:pt x="7" y="17"/>
                  <a:pt x="7" y="18"/>
                </a:cubicBezTo>
                <a:cubicBezTo>
                  <a:pt x="6" y="18"/>
                  <a:pt x="6" y="18"/>
                  <a:pt x="6" y="18"/>
                </a:cubicBezTo>
                <a:cubicBezTo>
                  <a:pt x="5" y="18"/>
                  <a:pt x="4" y="18"/>
                  <a:pt x="3" y="19"/>
                </a:cubicBezTo>
                <a:cubicBezTo>
                  <a:pt x="3" y="20"/>
                  <a:pt x="1" y="20"/>
                  <a:pt x="1" y="21"/>
                </a:cubicBezTo>
                <a:cubicBezTo>
                  <a:pt x="1" y="21"/>
                  <a:pt x="1" y="22"/>
                  <a:pt x="2" y="21"/>
                </a:cubicBezTo>
                <a:cubicBezTo>
                  <a:pt x="2" y="21"/>
                  <a:pt x="4" y="20"/>
                  <a:pt x="5" y="21"/>
                </a:cubicBezTo>
                <a:cubicBezTo>
                  <a:pt x="5" y="20"/>
                  <a:pt x="6" y="19"/>
                  <a:pt x="7" y="20"/>
                </a:cubicBezTo>
                <a:cubicBezTo>
                  <a:pt x="8" y="20"/>
                  <a:pt x="9" y="20"/>
                  <a:pt x="10" y="20"/>
                </a:cubicBezTo>
                <a:cubicBezTo>
                  <a:pt x="10" y="19"/>
                  <a:pt x="10" y="19"/>
                  <a:pt x="10" y="19"/>
                </a:cubicBezTo>
                <a:cubicBezTo>
                  <a:pt x="12" y="20"/>
                  <a:pt x="14" y="19"/>
                  <a:pt x="15" y="19"/>
                </a:cubicBezTo>
                <a:cubicBezTo>
                  <a:pt x="15" y="18"/>
                  <a:pt x="15" y="18"/>
                  <a:pt x="15" y="18"/>
                </a:cubicBezTo>
                <a:cubicBezTo>
                  <a:pt x="15" y="18"/>
                  <a:pt x="14" y="18"/>
                  <a:pt x="14" y="18"/>
                </a:cubicBezTo>
                <a:cubicBezTo>
                  <a:pt x="14" y="18"/>
                  <a:pt x="14" y="17"/>
                  <a:pt x="14" y="17"/>
                </a:cubicBezTo>
                <a:cubicBezTo>
                  <a:pt x="15" y="17"/>
                  <a:pt x="16" y="16"/>
                  <a:pt x="16" y="15"/>
                </a:cubicBezTo>
                <a:cubicBezTo>
                  <a:pt x="15" y="14"/>
                  <a:pt x="14" y="14"/>
                  <a:pt x="13" y="14"/>
                </a:cubicBezTo>
                <a:cubicBezTo>
                  <a:pt x="13" y="14"/>
                  <a:pt x="13" y="14"/>
                  <a:pt x="13" y="14"/>
                </a:cubicBezTo>
                <a:cubicBezTo>
                  <a:pt x="13" y="14"/>
                  <a:pt x="13" y="14"/>
                  <a:pt x="13" y="13"/>
                </a:cubicBezTo>
                <a:cubicBezTo>
                  <a:pt x="13" y="12"/>
                  <a:pt x="13" y="12"/>
                  <a:pt x="12" y="11"/>
                </a:cubicBezTo>
                <a:cubicBezTo>
                  <a:pt x="10" y="10"/>
                  <a:pt x="10" y="5"/>
                  <a:pt x="7" y="6"/>
                </a:cubicBezTo>
                <a:cubicBezTo>
                  <a:pt x="7" y="6"/>
                  <a:pt x="8" y="6"/>
                  <a:pt x="8" y="6"/>
                </a:cubicBezTo>
                <a:cubicBezTo>
                  <a:pt x="8" y="5"/>
                  <a:pt x="8" y="5"/>
                  <a:pt x="8" y="5"/>
                </a:cubicBezTo>
                <a:cubicBezTo>
                  <a:pt x="9" y="5"/>
                  <a:pt x="9" y="4"/>
                  <a:pt x="10" y="3"/>
                </a:cubicBezTo>
                <a:cubicBezTo>
                  <a:pt x="9" y="2"/>
                  <a:pt x="7" y="2"/>
                  <a:pt x="6" y="2"/>
                </a:cubicBezTo>
                <a:cubicBezTo>
                  <a:pt x="6" y="2"/>
                  <a:pt x="6" y="2"/>
                  <a:pt x="6" y="2"/>
                </a:cubicBezTo>
                <a:cubicBezTo>
                  <a:pt x="7" y="1"/>
                  <a:pt x="8" y="1"/>
                  <a:pt x="8" y="0"/>
                </a:cubicBezTo>
                <a:cubicBezTo>
                  <a:pt x="6" y="0"/>
                  <a:pt x="5" y="0"/>
                  <a:pt x="4" y="0"/>
                </a:cubicBezTo>
                <a:cubicBezTo>
                  <a:pt x="4" y="0"/>
                  <a:pt x="4" y="1"/>
                  <a:pt x="3" y="1"/>
                </a:cubicBezTo>
                <a:cubicBezTo>
                  <a:pt x="4" y="1"/>
                  <a:pt x="3" y="1"/>
                  <a:pt x="3" y="2"/>
                </a:cubicBezTo>
                <a:cubicBezTo>
                  <a:pt x="3" y="2"/>
                  <a:pt x="3" y="2"/>
                  <a:pt x="2" y="2"/>
                </a:cubicBezTo>
                <a:cubicBezTo>
                  <a:pt x="2" y="2"/>
                  <a:pt x="2" y="3"/>
                  <a:pt x="2" y="3"/>
                </a:cubicBezTo>
                <a:cubicBezTo>
                  <a:pt x="2" y="3"/>
                  <a:pt x="2" y="3"/>
                  <a:pt x="2" y="3"/>
                </a:cubicBezTo>
                <a:cubicBezTo>
                  <a:pt x="2" y="3"/>
                  <a:pt x="2" y="2"/>
                  <a:pt x="1" y="2"/>
                </a:cubicBezTo>
                <a:cubicBezTo>
                  <a:pt x="1" y="3"/>
                  <a:pt x="1" y="2"/>
                  <a:pt x="0" y="3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73" name="Freeform 48"/>
          <p:cNvSpPr>
            <a:spLocks/>
          </p:cNvSpPr>
          <p:nvPr/>
        </p:nvSpPr>
        <p:spPr bwMode="auto">
          <a:xfrm>
            <a:off x="4394200" y="4899025"/>
            <a:ext cx="31750" cy="26988"/>
          </a:xfrm>
          <a:custGeom>
            <a:avLst/>
            <a:gdLst>
              <a:gd name="T0" fmla="*/ 9 w 11"/>
              <a:gd name="T1" fmla="*/ 3 h 10"/>
              <a:gd name="T2" fmla="*/ 11 w 11"/>
              <a:gd name="T3" fmla="*/ 2 h 10"/>
              <a:gd name="T4" fmla="*/ 10 w 11"/>
              <a:gd name="T5" fmla="*/ 0 h 10"/>
              <a:gd name="T6" fmla="*/ 8 w 11"/>
              <a:gd name="T7" fmla="*/ 0 h 10"/>
              <a:gd name="T8" fmla="*/ 5 w 11"/>
              <a:gd name="T9" fmla="*/ 2 h 10"/>
              <a:gd name="T10" fmla="*/ 6 w 11"/>
              <a:gd name="T11" fmla="*/ 2 h 10"/>
              <a:gd name="T12" fmla="*/ 4 w 11"/>
              <a:gd name="T13" fmla="*/ 3 h 10"/>
              <a:gd name="T14" fmla="*/ 2 w 11"/>
              <a:gd name="T15" fmla="*/ 3 h 10"/>
              <a:gd name="T16" fmla="*/ 2 w 11"/>
              <a:gd name="T17" fmla="*/ 4 h 10"/>
              <a:gd name="T18" fmla="*/ 3 w 11"/>
              <a:gd name="T19" fmla="*/ 4 h 10"/>
              <a:gd name="T20" fmla="*/ 2 w 11"/>
              <a:gd name="T21" fmla="*/ 5 h 10"/>
              <a:gd name="T22" fmla="*/ 2 w 11"/>
              <a:gd name="T23" fmla="*/ 5 h 10"/>
              <a:gd name="T24" fmla="*/ 4 w 11"/>
              <a:gd name="T25" fmla="*/ 5 h 10"/>
              <a:gd name="T26" fmla="*/ 2 w 11"/>
              <a:gd name="T27" fmla="*/ 7 h 10"/>
              <a:gd name="T28" fmla="*/ 2 w 11"/>
              <a:gd name="T29" fmla="*/ 7 h 10"/>
              <a:gd name="T30" fmla="*/ 2 w 11"/>
              <a:gd name="T31" fmla="*/ 8 h 10"/>
              <a:gd name="T32" fmla="*/ 1 w 11"/>
              <a:gd name="T33" fmla="*/ 8 h 10"/>
              <a:gd name="T34" fmla="*/ 2 w 11"/>
              <a:gd name="T35" fmla="*/ 8 h 10"/>
              <a:gd name="T36" fmla="*/ 1 w 11"/>
              <a:gd name="T37" fmla="*/ 9 h 10"/>
              <a:gd name="T38" fmla="*/ 2 w 11"/>
              <a:gd name="T39" fmla="*/ 9 h 10"/>
              <a:gd name="T40" fmla="*/ 1 w 11"/>
              <a:gd name="T41" fmla="*/ 9 h 10"/>
              <a:gd name="T42" fmla="*/ 2 w 11"/>
              <a:gd name="T43" fmla="*/ 9 h 10"/>
              <a:gd name="T44" fmla="*/ 2 w 11"/>
              <a:gd name="T45" fmla="*/ 10 h 10"/>
              <a:gd name="T46" fmla="*/ 9 w 11"/>
              <a:gd name="T47" fmla="*/ 8 h 10"/>
              <a:gd name="T48" fmla="*/ 9 w 11"/>
              <a:gd name="T49" fmla="*/ 3 h 1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1"/>
              <a:gd name="T76" fmla="*/ 0 h 10"/>
              <a:gd name="T77" fmla="*/ 11 w 11"/>
              <a:gd name="T78" fmla="*/ 10 h 10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1" h="10">
                <a:moveTo>
                  <a:pt x="9" y="3"/>
                </a:moveTo>
                <a:cubicBezTo>
                  <a:pt x="10" y="4"/>
                  <a:pt x="11" y="3"/>
                  <a:pt x="11" y="2"/>
                </a:cubicBezTo>
                <a:cubicBezTo>
                  <a:pt x="11" y="1"/>
                  <a:pt x="10" y="1"/>
                  <a:pt x="10" y="0"/>
                </a:cubicBezTo>
                <a:cubicBezTo>
                  <a:pt x="9" y="0"/>
                  <a:pt x="8" y="1"/>
                  <a:pt x="8" y="0"/>
                </a:cubicBezTo>
                <a:cubicBezTo>
                  <a:pt x="6" y="0"/>
                  <a:pt x="6" y="1"/>
                  <a:pt x="5" y="2"/>
                </a:cubicBezTo>
                <a:cubicBezTo>
                  <a:pt x="6" y="2"/>
                  <a:pt x="6" y="2"/>
                  <a:pt x="6" y="2"/>
                </a:cubicBezTo>
                <a:cubicBezTo>
                  <a:pt x="5" y="2"/>
                  <a:pt x="4" y="3"/>
                  <a:pt x="4" y="3"/>
                </a:cubicBezTo>
                <a:cubicBezTo>
                  <a:pt x="4" y="2"/>
                  <a:pt x="3" y="3"/>
                  <a:pt x="2" y="3"/>
                </a:cubicBezTo>
                <a:cubicBezTo>
                  <a:pt x="2" y="4"/>
                  <a:pt x="2" y="4"/>
                  <a:pt x="2" y="4"/>
                </a:cubicBezTo>
                <a:cubicBezTo>
                  <a:pt x="2" y="4"/>
                  <a:pt x="3" y="4"/>
                  <a:pt x="3" y="4"/>
                </a:cubicBezTo>
                <a:cubicBezTo>
                  <a:pt x="2" y="4"/>
                  <a:pt x="2" y="4"/>
                  <a:pt x="2" y="5"/>
                </a:cubicBezTo>
                <a:cubicBezTo>
                  <a:pt x="2" y="5"/>
                  <a:pt x="2" y="5"/>
                  <a:pt x="2" y="5"/>
                </a:cubicBezTo>
                <a:cubicBezTo>
                  <a:pt x="3" y="5"/>
                  <a:pt x="3" y="5"/>
                  <a:pt x="4" y="5"/>
                </a:cubicBezTo>
                <a:cubicBezTo>
                  <a:pt x="3" y="6"/>
                  <a:pt x="3" y="7"/>
                  <a:pt x="2" y="7"/>
                </a:cubicBezTo>
                <a:cubicBezTo>
                  <a:pt x="2" y="7"/>
                  <a:pt x="2" y="7"/>
                  <a:pt x="2" y="7"/>
                </a:cubicBezTo>
                <a:cubicBezTo>
                  <a:pt x="2" y="7"/>
                  <a:pt x="2" y="8"/>
                  <a:pt x="2" y="8"/>
                </a:cubicBezTo>
                <a:cubicBezTo>
                  <a:pt x="2" y="7"/>
                  <a:pt x="0" y="8"/>
                  <a:pt x="1" y="8"/>
                </a:cubicBezTo>
                <a:cubicBezTo>
                  <a:pt x="2" y="8"/>
                  <a:pt x="2" y="8"/>
                  <a:pt x="2" y="8"/>
                </a:cubicBezTo>
                <a:cubicBezTo>
                  <a:pt x="1" y="8"/>
                  <a:pt x="1" y="9"/>
                  <a:pt x="1" y="9"/>
                </a:cubicBezTo>
                <a:cubicBezTo>
                  <a:pt x="1" y="9"/>
                  <a:pt x="1" y="9"/>
                  <a:pt x="2" y="9"/>
                </a:cubicBezTo>
                <a:cubicBezTo>
                  <a:pt x="1" y="9"/>
                  <a:pt x="1" y="9"/>
                  <a:pt x="1" y="9"/>
                </a:cubicBezTo>
                <a:cubicBezTo>
                  <a:pt x="2" y="10"/>
                  <a:pt x="2" y="9"/>
                  <a:pt x="2" y="9"/>
                </a:cubicBezTo>
                <a:cubicBezTo>
                  <a:pt x="2" y="9"/>
                  <a:pt x="2" y="10"/>
                  <a:pt x="2" y="10"/>
                </a:cubicBezTo>
                <a:cubicBezTo>
                  <a:pt x="5" y="10"/>
                  <a:pt x="6" y="8"/>
                  <a:pt x="9" y="8"/>
                </a:cubicBezTo>
                <a:cubicBezTo>
                  <a:pt x="9" y="7"/>
                  <a:pt x="10" y="5"/>
                  <a:pt x="9" y="3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74" name="Freeform 49"/>
          <p:cNvSpPr>
            <a:spLocks/>
          </p:cNvSpPr>
          <p:nvPr/>
        </p:nvSpPr>
        <p:spPr bwMode="auto">
          <a:xfrm>
            <a:off x="4025900" y="4764088"/>
            <a:ext cx="31750" cy="11112"/>
          </a:xfrm>
          <a:custGeom>
            <a:avLst/>
            <a:gdLst>
              <a:gd name="T0" fmla="*/ 10 w 11"/>
              <a:gd name="T1" fmla="*/ 0 h 4"/>
              <a:gd name="T2" fmla="*/ 8 w 11"/>
              <a:gd name="T3" fmla="*/ 1 h 4"/>
              <a:gd name="T4" fmla="*/ 5 w 11"/>
              <a:gd name="T5" fmla="*/ 1 h 4"/>
              <a:gd name="T6" fmla="*/ 6 w 11"/>
              <a:gd name="T7" fmla="*/ 1 h 4"/>
              <a:gd name="T8" fmla="*/ 6 w 11"/>
              <a:gd name="T9" fmla="*/ 2 h 4"/>
              <a:gd name="T10" fmla="*/ 5 w 11"/>
              <a:gd name="T11" fmla="*/ 1 h 4"/>
              <a:gd name="T12" fmla="*/ 3 w 11"/>
              <a:gd name="T13" fmla="*/ 2 h 4"/>
              <a:gd name="T14" fmla="*/ 0 w 11"/>
              <a:gd name="T15" fmla="*/ 2 h 4"/>
              <a:gd name="T16" fmla="*/ 0 w 11"/>
              <a:gd name="T17" fmla="*/ 3 h 4"/>
              <a:gd name="T18" fmla="*/ 5 w 11"/>
              <a:gd name="T19" fmla="*/ 3 h 4"/>
              <a:gd name="T20" fmla="*/ 3 w 11"/>
              <a:gd name="T21" fmla="*/ 4 h 4"/>
              <a:gd name="T22" fmla="*/ 7 w 11"/>
              <a:gd name="T23" fmla="*/ 4 h 4"/>
              <a:gd name="T24" fmla="*/ 7 w 11"/>
              <a:gd name="T25" fmla="*/ 4 h 4"/>
              <a:gd name="T26" fmla="*/ 9 w 11"/>
              <a:gd name="T27" fmla="*/ 2 h 4"/>
              <a:gd name="T28" fmla="*/ 11 w 11"/>
              <a:gd name="T29" fmla="*/ 1 h 4"/>
              <a:gd name="T30" fmla="*/ 10 w 11"/>
              <a:gd name="T31" fmla="*/ 0 h 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1"/>
              <a:gd name="T49" fmla="*/ 0 h 4"/>
              <a:gd name="T50" fmla="*/ 11 w 11"/>
              <a:gd name="T51" fmla="*/ 4 h 4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1" h="4">
                <a:moveTo>
                  <a:pt x="10" y="0"/>
                </a:moveTo>
                <a:cubicBezTo>
                  <a:pt x="9" y="1"/>
                  <a:pt x="9" y="1"/>
                  <a:pt x="8" y="1"/>
                </a:cubicBezTo>
                <a:cubicBezTo>
                  <a:pt x="8" y="0"/>
                  <a:pt x="5" y="0"/>
                  <a:pt x="5" y="1"/>
                </a:cubicBezTo>
                <a:cubicBezTo>
                  <a:pt x="6" y="1"/>
                  <a:pt x="6" y="1"/>
                  <a:pt x="6" y="1"/>
                </a:cubicBezTo>
                <a:cubicBezTo>
                  <a:pt x="6" y="1"/>
                  <a:pt x="6" y="2"/>
                  <a:pt x="6" y="2"/>
                </a:cubicBezTo>
                <a:cubicBezTo>
                  <a:pt x="5" y="2"/>
                  <a:pt x="5" y="2"/>
                  <a:pt x="5" y="1"/>
                </a:cubicBezTo>
                <a:cubicBezTo>
                  <a:pt x="3" y="0"/>
                  <a:pt x="3" y="2"/>
                  <a:pt x="3" y="2"/>
                </a:cubicBezTo>
                <a:cubicBezTo>
                  <a:pt x="2" y="1"/>
                  <a:pt x="1" y="2"/>
                  <a:pt x="0" y="2"/>
                </a:cubicBezTo>
                <a:cubicBezTo>
                  <a:pt x="0" y="3"/>
                  <a:pt x="1" y="2"/>
                  <a:pt x="0" y="3"/>
                </a:cubicBezTo>
                <a:cubicBezTo>
                  <a:pt x="2" y="3"/>
                  <a:pt x="3" y="2"/>
                  <a:pt x="5" y="3"/>
                </a:cubicBezTo>
                <a:cubicBezTo>
                  <a:pt x="4" y="3"/>
                  <a:pt x="3" y="3"/>
                  <a:pt x="3" y="4"/>
                </a:cubicBezTo>
                <a:cubicBezTo>
                  <a:pt x="4" y="4"/>
                  <a:pt x="5" y="4"/>
                  <a:pt x="7" y="4"/>
                </a:cubicBezTo>
                <a:cubicBezTo>
                  <a:pt x="6" y="3"/>
                  <a:pt x="7" y="4"/>
                  <a:pt x="7" y="4"/>
                </a:cubicBezTo>
                <a:cubicBezTo>
                  <a:pt x="7" y="2"/>
                  <a:pt x="9" y="3"/>
                  <a:pt x="9" y="2"/>
                </a:cubicBezTo>
                <a:cubicBezTo>
                  <a:pt x="10" y="2"/>
                  <a:pt x="10" y="1"/>
                  <a:pt x="11" y="1"/>
                </a:cubicBezTo>
                <a:cubicBezTo>
                  <a:pt x="10" y="1"/>
                  <a:pt x="10" y="1"/>
                  <a:pt x="10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75" name="Freeform 50"/>
          <p:cNvSpPr>
            <a:spLocks/>
          </p:cNvSpPr>
          <p:nvPr/>
        </p:nvSpPr>
        <p:spPr bwMode="auto">
          <a:xfrm>
            <a:off x="4084638" y="4738688"/>
            <a:ext cx="44450" cy="20637"/>
          </a:xfrm>
          <a:custGeom>
            <a:avLst/>
            <a:gdLst>
              <a:gd name="T0" fmla="*/ 0 w 16"/>
              <a:gd name="T1" fmla="*/ 4 h 7"/>
              <a:gd name="T2" fmla="*/ 0 w 16"/>
              <a:gd name="T3" fmla="*/ 5 h 7"/>
              <a:gd name="T4" fmla="*/ 2 w 16"/>
              <a:gd name="T5" fmla="*/ 4 h 7"/>
              <a:gd name="T6" fmla="*/ 2 w 16"/>
              <a:gd name="T7" fmla="*/ 5 h 7"/>
              <a:gd name="T8" fmla="*/ 5 w 16"/>
              <a:gd name="T9" fmla="*/ 4 h 7"/>
              <a:gd name="T10" fmla="*/ 4 w 16"/>
              <a:gd name="T11" fmla="*/ 5 h 7"/>
              <a:gd name="T12" fmla="*/ 5 w 16"/>
              <a:gd name="T13" fmla="*/ 5 h 7"/>
              <a:gd name="T14" fmla="*/ 1 w 16"/>
              <a:gd name="T15" fmla="*/ 5 h 7"/>
              <a:gd name="T16" fmla="*/ 2 w 16"/>
              <a:gd name="T17" fmla="*/ 6 h 7"/>
              <a:gd name="T18" fmla="*/ 6 w 16"/>
              <a:gd name="T19" fmla="*/ 7 h 7"/>
              <a:gd name="T20" fmla="*/ 6 w 16"/>
              <a:gd name="T21" fmla="*/ 6 h 7"/>
              <a:gd name="T22" fmla="*/ 7 w 16"/>
              <a:gd name="T23" fmla="*/ 7 h 7"/>
              <a:gd name="T24" fmla="*/ 8 w 16"/>
              <a:gd name="T25" fmla="*/ 6 h 7"/>
              <a:gd name="T26" fmla="*/ 9 w 16"/>
              <a:gd name="T27" fmla="*/ 6 h 7"/>
              <a:gd name="T28" fmla="*/ 10 w 16"/>
              <a:gd name="T29" fmla="*/ 5 h 7"/>
              <a:gd name="T30" fmla="*/ 10 w 16"/>
              <a:gd name="T31" fmla="*/ 6 h 7"/>
              <a:gd name="T32" fmla="*/ 16 w 16"/>
              <a:gd name="T33" fmla="*/ 5 h 7"/>
              <a:gd name="T34" fmla="*/ 15 w 16"/>
              <a:gd name="T35" fmla="*/ 4 h 7"/>
              <a:gd name="T36" fmla="*/ 14 w 16"/>
              <a:gd name="T37" fmla="*/ 4 h 7"/>
              <a:gd name="T38" fmla="*/ 13 w 16"/>
              <a:gd name="T39" fmla="*/ 4 h 7"/>
              <a:gd name="T40" fmla="*/ 14 w 16"/>
              <a:gd name="T41" fmla="*/ 3 h 7"/>
              <a:gd name="T42" fmla="*/ 14 w 16"/>
              <a:gd name="T43" fmla="*/ 2 h 7"/>
              <a:gd name="T44" fmla="*/ 12 w 16"/>
              <a:gd name="T45" fmla="*/ 3 h 7"/>
              <a:gd name="T46" fmla="*/ 12 w 16"/>
              <a:gd name="T47" fmla="*/ 2 h 7"/>
              <a:gd name="T48" fmla="*/ 10 w 16"/>
              <a:gd name="T49" fmla="*/ 1 h 7"/>
              <a:gd name="T50" fmla="*/ 7 w 16"/>
              <a:gd name="T51" fmla="*/ 1 h 7"/>
              <a:gd name="T52" fmla="*/ 7 w 16"/>
              <a:gd name="T53" fmla="*/ 1 h 7"/>
              <a:gd name="T54" fmla="*/ 4 w 16"/>
              <a:gd name="T55" fmla="*/ 2 h 7"/>
              <a:gd name="T56" fmla="*/ 5 w 16"/>
              <a:gd name="T57" fmla="*/ 2 h 7"/>
              <a:gd name="T58" fmla="*/ 1 w 16"/>
              <a:gd name="T59" fmla="*/ 2 h 7"/>
              <a:gd name="T60" fmla="*/ 2 w 16"/>
              <a:gd name="T61" fmla="*/ 3 h 7"/>
              <a:gd name="T62" fmla="*/ 0 w 16"/>
              <a:gd name="T63" fmla="*/ 3 h 7"/>
              <a:gd name="T64" fmla="*/ 0 w 16"/>
              <a:gd name="T65" fmla="*/ 4 h 7"/>
              <a:gd name="T66" fmla="*/ 1 w 16"/>
              <a:gd name="T67" fmla="*/ 4 h 7"/>
              <a:gd name="T68" fmla="*/ 0 w 16"/>
              <a:gd name="T69" fmla="*/ 4 h 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6"/>
              <a:gd name="T106" fmla="*/ 0 h 7"/>
              <a:gd name="T107" fmla="*/ 16 w 16"/>
              <a:gd name="T108" fmla="*/ 7 h 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6" h="7">
                <a:moveTo>
                  <a:pt x="0" y="4"/>
                </a:moveTo>
                <a:cubicBezTo>
                  <a:pt x="0" y="5"/>
                  <a:pt x="0" y="5"/>
                  <a:pt x="0" y="5"/>
                </a:cubicBezTo>
                <a:cubicBezTo>
                  <a:pt x="1" y="5"/>
                  <a:pt x="2" y="4"/>
                  <a:pt x="2" y="4"/>
                </a:cubicBezTo>
                <a:cubicBezTo>
                  <a:pt x="2" y="5"/>
                  <a:pt x="2" y="5"/>
                  <a:pt x="2" y="5"/>
                </a:cubicBezTo>
                <a:cubicBezTo>
                  <a:pt x="3" y="5"/>
                  <a:pt x="4" y="4"/>
                  <a:pt x="5" y="4"/>
                </a:cubicBezTo>
                <a:cubicBezTo>
                  <a:pt x="4" y="5"/>
                  <a:pt x="4" y="5"/>
                  <a:pt x="4" y="5"/>
                </a:cubicBezTo>
                <a:cubicBezTo>
                  <a:pt x="5" y="5"/>
                  <a:pt x="5" y="5"/>
                  <a:pt x="5" y="5"/>
                </a:cubicBezTo>
                <a:cubicBezTo>
                  <a:pt x="3" y="5"/>
                  <a:pt x="2" y="5"/>
                  <a:pt x="1" y="5"/>
                </a:cubicBezTo>
                <a:cubicBezTo>
                  <a:pt x="1" y="6"/>
                  <a:pt x="2" y="6"/>
                  <a:pt x="2" y="6"/>
                </a:cubicBezTo>
                <a:cubicBezTo>
                  <a:pt x="3" y="7"/>
                  <a:pt x="5" y="6"/>
                  <a:pt x="6" y="7"/>
                </a:cubicBezTo>
                <a:cubicBezTo>
                  <a:pt x="6" y="6"/>
                  <a:pt x="6" y="6"/>
                  <a:pt x="6" y="6"/>
                </a:cubicBezTo>
                <a:cubicBezTo>
                  <a:pt x="7" y="6"/>
                  <a:pt x="7" y="7"/>
                  <a:pt x="7" y="7"/>
                </a:cubicBezTo>
                <a:cubicBezTo>
                  <a:pt x="8" y="6"/>
                  <a:pt x="8" y="6"/>
                  <a:pt x="8" y="6"/>
                </a:cubicBezTo>
                <a:cubicBezTo>
                  <a:pt x="9" y="6"/>
                  <a:pt x="9" y="6"/>
                  <a:pt x="9" y="6"/>
                </a:cubicBezTo>
                <a:cubicBezTo>
                  <a:pt x="10" y="6"/>
                  <a:pt x="10" y="5"/>
                  <a:pt x="10" y="5"/>
                </a:cubicBezTo>
                <a:cubicBezTo>
                  <a:pt x="10" y="6"/>
                  <a:pt x="10" y="6"/>
                  <a:pt x="10" y="6"/>
                </a:cubicBezTo>
                <a:cubicBezTo>
                  <a:pt x="12" y="5"/>
                  <a:pt x="13" y="5"/>
                  <a:pt x="16" y="5"/>
                </a:cubicBezTo>
                <a:cubicBezTo>
                  <a:pt x="16" y="4"/>
                  <a:pt x="15" y="4"/>
                  <a:pt x="15" y="4"/>
                </a:cubicBezTo>
                <a:cubicBezTo>
                  <a:pt x="14" y="4"/>
                  <a:pt x="15" y="4"/>
                  <a:pt x="14" y="4"/>
                </a:cubicBezTo>
                <a:cubicBezTo>
                  <a:pt x="14" y="4"/>
                  <a:pt x="14" y="4"/>
                  <a:pt x="13" y="4"/>
                </a:cubicBezTo>
                <a:cubicBezTo>
                  <a:pt x="14" y="4"/>
                  <a:pt x="14" y="3"/>
                  <a:pt x="14" y="3"/>
                </a:cubicBezTo>
                <a:cubicBezTo>
                  <a:pt x="13" y="3"/>
                  <a:pt x="14" y="3"/>
                  <a:pt x="14" y="2"/>
                </a:cubicBezTo>
                <a:cubicBezTo>
                  <a:pt x="13" y="2"/>
                  <a:pt x="13" y="3"/>
                  <a:pt x="12" y="3"/>
                </a:cubicBezTo>
                <a:cubicBezTo>
                  <a:pt x="12" y="2"/>
                  <a:pt x="12" y="2"/>
                  <a:pt x="12" y="2"/>
                </a:cubicBezTo>
                <a:cubicBezTo>
                  <a:pt x="11" y="2"/>
                  <a:pt x="10" y="2"/>
                  <a:pt x="10" y="1"/>
                </a:cubicBezTo>
                <a:cubicBezTo>
                  <a:pt x="9" y="1"/>
                  <a:pt x="8" y="0"/>
                  <a:pt x="7" y="1"/>
                </a:cubicBezTo>
                <a:cubicBezTo>
                  <a:pt x="7" y="1"/>
                  <a:pt x="7" y="1"/>
                  <a:pt x="7" y="1"/>
                </a:cubicBezTo>
                <a:cubicBezTo>
                  <a:pt x="6" y="1"/>
                  <a:pt x="5" y="1"/>
                  <a:pt x="4" y="2"/>
                </a:cubicBezTo>
                <a:cubicBezTo>
                  <a:pt x="4" y="2"/>
                  <a:pt x="5" y="2"/>
                  <a:pt x="5" y="2"/>
                </a:cubicBezTo>
                <a:cubicBezTo>
                  <a:pt x="3" y="2"/>
                  <a:pt x="2" y="3"/>
                  <a:pt x="1" y="2"/>
                </a:cubicBezTo>
                <a:cubicBezTo>
                  <a:pt x="1" y="3"/>
                  <a:pt x="2" y="3"/>
                  <a:pt x="2" y="3"/>
                </a:cubicBezTo>
                <a:cubicBezTo>
                  <a:pt x="1" y="3"/>
                  <a:pt x="1" y="3"/>
                  <a:pt x="0" y="3"/>
                </a:cubicBezTo>
                <a:cubicBezTo>
                  <a:pt x="0" y="3"/>
                  <a:pt x="0" y="3"/>
                  <a:pt x="0" y="4"/>
                </a:cubicBezTo>
                <a:cubicBezTo>
                  <a:pt x="1" y="4"/>
                  <a:pt x="1" y="4"/>
                  <a:pt x="1" y="4"/>
                </a:cubicBezTo>
                <a:lnTo>
                  <a:pt x="0" y="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76" name="Freeform 51"/>
          <p:cNvSpPr>
            <a:spLocks/>
          </p:cNvSpPr>
          <p:nvPr/>
        </p:nvSpPr>
        <p:spPr bwMode="auto">
          <a:xfrm>
            <a:off x="4057650" y="4779963"/>
            <a:ext cx="112713" cy="74612"/>
          </a:xfrm>
          <a:custGeom>
            <a:avLst/>
            <a:gdLst>
              <a:gd name="T0" fmla="*/ 38 w 41"/>
              <a:gd name="T1" fmla="*/ 15 h 27"/>
              <a:gd name="T2" fmla="*/ 37 w 41"/>
              <a:gd name="T3" fmla="*/ 14 h 27"/>
              <a:gd name="T4" fmla="*/ 37 w 41"/>
              <a:gd name="T5" fmla="*/ 13 h 27"/>
              <a:gd name="T6" fmla="*/ 33 w 41"/>
              <a:gd name="T7" fmla="*/ 13 h 27"/>
              <a:gd name="T8" fmla="*/ 32 w 41"/>
              <a:gd name="T9" fmla="*/ 12 h 27"/>
              <a:gd name="T10" fmla="*/ 33 w 41"/>
              <a:gd name="T11" fmla="*/ 11 h 27"/>
              <a:gd name="T12" fmla="*/ 33 w 41"/>
              <a:gd name="T13" fmla="*/ 9 h 27"/>
              <a:gd name="T14" fmla="*/ 33 w 41"/>
              <a:gd name="T15" fmla="*/ 8 h 27"/>
              <a:gd name="T16" fmla="*/ 32 w 41"/>
              <a:gd name="T17" fmla="*/ 7 h 27"/>
              <a:gd name="T18" fmla="*/ 28 w 41"/>
              <a:gd name="T19" fmla="*/ 7 h 27"/>
              <a:gd name="T20" fmla="*/ 27 w 41"/>
              <a:gd name="T21" fmla="*/ 5 h 27"/>
              <a:gd name="T22" fmla="*/ 27 w 41"/>
              <a:gd name="T23" fmla="*/ 4 h 27"/>
              <a:gd name="T24" fmla="*/ 24 w 41"/>
              <a:gd name="T25" fmla="*/ 3 h 27"/>
              <a:gd name="T26" fmla="*/ 19 w 41"/>
              <a:gd name="T27" fmla="*/ 1 h 27"/>
              <a:gd name="T28" fmla="*/ 21 w 41"/>
              <a:gd name="T29" fmla="*/ 3 h 27"/>
              <a:gd name="T30" fmla="*/ 20 w 41"/>
              <a:gd name="T31" fmla="*/ 3 h 27"/>
              <a:gd name="T32" fmla="*/ 17 w 41"/>
              <a:gd name="T33" fmla="*/ 4 h 27"/>
              <a:gd name="T34" fmla="*/ 19 w 41"/>
              <a:gd name="T35" fmla="*/ 2 h 27"/>
              <a:gd name="T36" fmla="*/ 12 w 41"/>
              <a:gd name="T37" fmla="*/ 2 h 27"/>
              <a:gd name="T38" fmla="*/ 10 w 41"/>
              <a:gd name="T39" fmla="*/ 4 h 27"/>
              <a:gd name="T40" fmla="*/ 9 w 41"/>
              <a:gd name="T41" fmla="*/ 5 h 27"/>
              <a:gd name="T42" fmla="*/ 8 w 41"/>
              <a:gd name="T43" fmla="*/ 3 h 27"/>
              <a:gd name="T44" fmla="*/ 0 w 41"/>
              <a:gd name="T45" fmla="*/ 6 h 27"/>
              <a:gd name="T46" fmla="*/ 0 w 41"/>
              <a:gd name="T47" fmla="*/ 6 h 27"/>
              <a:gd name="T48" fmla="*/ 1 w 41"/>
              <a:gd name="T49" fmla="*/ 8 h 27"/>
              <a:gd name="T50" fmla="*/ 13 w 41"/>
              <a:gd name="T51" fmla="*/ 10 h 27"/>
              <a:gd name="T52" fmla="*/ 16 w 41"/>
              <a:gd name="T53" fmla="*/ 8 h 27"/>
              <a:gd name="T54" fmla="*/ 17 w 41"/>
              <a:gd name="T55" fmla="*/ 9 h 27"/>
              <a:gd name="T56" fmla="*/ 20 w 41"/>
              <a:gd name="T57" fmla="*/ 10 h 27"/>
              <a:gd name="T58" fmla="*/ 20 w 41"/>
              <a:gd name="T59" fmla="*/ 11 h 27"/>
              <a:gd name="T60" fmla="*/ 23 w 41"/>
              <a:gd name="T61" fmla="*/ 13 h 27"/>
              <a:gd name="T62" fmla="*/ 17 w 41"/>
              <a:gd name="T63" fmla="*/ 19 h 27"/>
              <a:gd name="T64" fmla="*/ 12 w 41"/>
              <a:gd name="T65" fmla="*/ 21 h 27"/>
              <a:gd name="T66" fmla="*/ 15 w 41"/>
              <a:gd name="T67" fmla="*/ 21 h 27"/>
              <a:gd name="T68" fmla="*/ 18 w 41"/>
              <a:gd name="T69" fmla="*/ 23 h 27"/>
              <a:gd name="T70" fmla="*/ 17 w 41"/>
              <a:gd name="T71" fmla="*/ 24 h 27"/>
              <a:gd name="T72" fmla="*/ 18 w 41"/>
              <a:gd name="T73" fmla="*/ 26 h 27"/>
              <a:gd name="T74" fmla="*/ 20 w 41"/>
              <a:gd name="T75" fmla="*/ 25 h 27"/>
              <a:gd name="T76" fmla="*/ 23 w 41"/>
              <a:gd name="T77" fmla="*/ 23 h 27"/>
              <a:gd name="T78" fmla="*/ 28 w 41"/>
              <a:gd name="T79" fmla="*/ 25 h 27"/>
              <a:gd name="T80" fmla="*/ 29 w 41"/>
              <a:gd name="T81" fmla="*/ 25 h 27"/>
              <a:gd name="T82" fmla="*/ 30 w 41"/>
              <a:gd name="T83" fmla="*/ 24 h 27"/>
              <a:gd name="T84" fmla="*/ 31 w 41"/>
              <a:gd name="T85" fmla="*/ 22 h 27"/>
              <a:gd name="T86" fmla="*/ 30 w 41"/>
              <a:gd name="T87" fmla="*/ 21 h 27"/>
              <a:gd name="T88" fmla="*/ 29 w 41"/>
              <a:gd name="T89" fmla="*/ 19 h 27"/>
              <a:gd name="T90" fmla="*/ 28 w 41"/>
              <a:gd name="T91" fmla="*/ 18 h 27"/>
              <a:gd name="T92" fmla="*/ 29 w 41"/>
              <a:gd name="T93" fmla="*/ 17 h 27"/>
              <a:gd name="T94" fmla="*/ 30 w 41"/>
              <a:gd name="T95" fmla="*/ 16 h 27"/>
              <a:gd name="T96" fmla="*/ 31 w 41"/>
              <a:gd name="T97" fmla="*/ 17 h 27"/>
              <a:gd name="T98" fmla="*/ 33 w 41"/>
              <a:gd name="T99" fmla="*/ 20 h 27"/>
              <a:gd name="T100" fmla="*/ 37 w 41"/>
              <a:gd name="T101" fmla="*/ 18 h 27"/>
              <a:gd name="T102" fmla="*/ 39 w 41"/>
              <a:gd name="T103" fmla="*/ 17 h 27"/>
              <a:gd name="T104" fmla="*/ 40 w 41"/>
              <a:gd name="T105" fmla="*/ 17 h 27"/>
              <a:gd name="T106" fmla="*/ 40 w 41"/>
              <a:gd name="T107" fmla="*/ 15 h 2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1"/>
              <a:gd name="T163" fmla="*/ 0 h 27"/>
              <a:gd name="T164" fmla="*/ 41 w 41"/>
              <a:gd name="T165" fmla="*/ 27 h 2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1" h="27">
                <a:moveTo>
                  <a:pt x="40" y="15"/>
                </a:moveTo>
                <a:cubicBezTo>
                  <a:pt x="39" y="15"/>
                  <a:pt x="39" y="15"/>
                  <a:pt x="39" y="16"/>
                </a:cubicBezTo>
                <a:cubicBezTo>
                  <a:pt x="39" y="15"/>
                  <a:pt x="38" y="16"/>
                  <a:pt x="38" y="15"/>
                </a:cubicBezTo>
                <a:cubicBezTo>
                  <a:pt x="38" y="15"/>
                  <a:pt x="39" y="15"/>
                  <a:pt x="39" y="14"/>
                </a:cubicBezTo>
                <a:cubicBezTo>
                  <a:pt x="38" y="15"/>
                  <a:pt x="37" y="15"/>
                  <a:pt x="37" y="15"/>
                </a:cubicBezTo>
                <a:cubicBezTo>
                  <a:pt x="37" y="14"/>
                  <a:pt x="37" y="14"/>
                  <a:pt x="37" y="14"/>
                </a:cubicBezTo>
                <a:cubicBezTo>
                  <a:pt x="37" y="13"/>
                  <a:pt x="37" y="13"/>
                  <a:pt x="37" y="13"/>
                </a:cubicBezTo>
                <a:cubicBezTo>
                  <a:pt x="36" y="13"/>
                  <a:pt x="36" y="14"/>
                  <a:pt x="36" y="13"/>
                </a:cubicBezTo>
                <a:cubicBezTo>
                  <a:pt x="36" y="13"/>
                  <a:pt x="37" y="13"/>
                  <a:pt x="37" y="13"/>
                </a:cubicBezTo>
                <a:cubicBezTo>
                  <a:pt x="36" y="13"/>
                  <a:pt x="35" y="13"/>
                  <a:pt x="34" y="13"/>
                </a:cubicBezTo>
                <a:cubicBezTo>
                  <a:pt x="34" y="13"/>
                  <a:pt x="35" y="13"/>
                  <a:pt x="35" y="13"/>
                </a:cubicBezTo>
                <a:cubicBezTo>
                  <a:pt x="34" y="13"/>
                  <a:pt x="34" y="12"/>
                  <a:pt x="33" y="13"/>
                </a:cubicBezTo>
                <a:cubicBezTo>
                  <a:pt x="34" y="12"/>
                  <a:pt x="33" y="12"/>
                  <a:pt x="33" y="12"/>
                </a:cubicBezTo>
                <a:cubicBezTo>
                  <a:pt x="33" y="12"/>
                  <a:pt x="34" y="12"/>
                  <a:pt x="34" y="12"/>
                </a:cubicBezTo>
                <a:cubicBezTo>
                  <a:pt x="33" y="12"/>
                  <a:pt x="32" y="12"/>
                  <a:pt x="32" y="12"/>
                </a:cubicBezTo>
                <a:cubicBezTo>
                  <a:pt x="32" y="11"/>
                  <a:pt x="31" y="11"/>
                  <a:pt x="31" y="11"/>
                </a:cubicBezTo>
                <a:cubicBezTo>
                  <a:pt x="32" y="11"/>
                  <a:pt x="32" y="12"/>
                  <a:pt x="32" y="11"/>
                </a:cubicBezTo>
                <a:cubicBezTo>
                  <a:pt x="32" y="11"/>
                  <a:pt x="33" y="11"/>
                  <a:pt x="33" y="11"/>
                </a:cubicBezTo>
                <a:cubicBezTo>
                  <a:pt x="32" y="10"/>
                  <a:pt x="32" y="10"/>
                  <a:pt x="32" y="10"/>
                </a:cubicBezTo>
                <a:cubicBezTo>
                  <a:pt x="33" y="10"/>
                  <a:pt x="34" y="11"/>
                  <a:pt x="35" y="10"/>
                </a:cubicBezTo>
                <a:cubicBezTo>
                  <a:pt x="35" y="9"/>
                  <a:pt x="33" y="10"/>
                  <a:pt x="33" y="9"/>
                </a:cubicBezTo>
                <a:cubicBezTo>
                  <a:pt x="33" y="9"/>
                  <a:pt x="35" y="9"/>
                  <a:pt x="35" y="9"/>
                </a:cubicBezTo>
                <a:cubicBezTo>
                  <a:pt x="35" y="7"/>
                  <a:pt x="33" y="8"/>
                  <a:pt x="33" y="8"/>
                </a:cubicBezTo>
                <a:cubicBezTo>
                  <a:pt x="33" y="8"/>
                  <a:pt x="33" y="8"/>
                  <a:pt x="33" y="8"/>
                </a:cubicBezTo>
                <a:cubicBezTo>
                  <a:pt x="34" y="8"/>
                  <a:pt x="34" y="8"/>
                  <a:pt x="34" y="8"/>
                </a:cubicBezTo>
                <a:cubicBezTo>
                  <a:pt x="34" y="7"/>
                  <a:pt x="33" y="7"/>
                  <a:pt x="32" y="7"/>
                </a:cubicBezTo>
                <a:cubicBezTo>
                  <a:pt x="32" y="7"/>
                  <a:pt x="32" y="7"/>
                  <a:pt x="32" y="7"/>
                </a:cubicBezTo>
                <a:cubicBezTo>
                  <a:pt x="32" y="7"/>
                  <a:pt x="31" y="7"/>
                  <a:pt x="31" y="7"/>
                </a:cubicBezTo>
                <a:cubicBezTo>
                  <a:pt x="31" y="7"/>
                  <a:pt x="31" y="7"/>
                  <a:pt x="31" y="6"/>
                </a:cubicBezTo>
                <a:cubicBezTo>
                  <a:pt x="30" y="6"/>
                  <a:pt x="29" y="7"/>
                  <a:pt x="28" y="7"/>
                </a:cubicBezTo>
                <a:cubicBezTo>
                  <a:pt x="29" y="6"/>
                  <a:pt x="30" y="6"/>
                  <a:pt x="31" y="6"/>
                </a:cubicBezTo>
                <a:cubicBezTo>
                  <a:pt x="30" y="4"/>
                  <a:pt x="28" y="5"/>
                  <a:pt x="28" y="6"/>
                </a:cubicBezTo>
                <a:cubicBezTo>
                  <a:pt x="27" y="5"/>
                  <a:pt x="27" y="5"/>
                  <a:pt x="27" y="5"/>
                </a:cubicBezTo>
                <a:cubicBezTo>
                  <a:pt x="28" y="5"/>
                  <a:pt x="28" y="5"/>
                  <a:pt x="28" y="5"/>
                </a:cubicBezTo>
                <a:cubicBezTo>
                  <a:pt x="27" y="5"/>
                  <a:pt x="27" y="5"/>
                  <a:pt x="27" y="5"/>
                </a:cubicBezTo>
                <a:cubicBezTo>
                  <a:pt x="27" y="4"/>
                  <a:pt x="27" y="4"/>
                  <a:pt x="27" y="4"/>
                </a:cubicBezTo>
                <a:cubicBezTo>
                  <a:pt x="26" y="4"/>
                  <a:pt x="26" y="4"/>
                  <a:pt x="26" y="4"/>
                </a:cubicBezTo>
                <a:cubicBezTo>
                  <a:pt x="26" y="3"/>
                  <a:pt x="26" y="3"/>
                  <a:pt x="26" y="3"/>
                </a:cubicBezTo>
                <a:cubicBezTo>
                  <a:pt x="25" y="3"/>
                  <a:pt x="25" y="3"/>
                  <a:pt x="24" y="3"/>
                </a:cubicBezTo>
                <a:cubicBezTo>
                  <a:pt x="25" y="3"/>
                  <a:pt x="25" y="3"/>
                  <a:pt x="26" y="2"/>
                </a:cubicBezTo>
                <a:cubicBezTo>
                  <a:pt x="26" y="0"/>
                  <a:pt x="22" y="1"/>
                  <a:pt x="20" y="0"/>
                </a:cubicBezTo>
                <a:cubicBezTo>
                  <a:pt x="19" y="1"/>
                  <a:pt x="19" y="1"/>
                  <a:pt x="19" y="1"/>
                </a:cubicBezTo>
                <a:cubicBezTo>
                  <a:pt x="19" y="2"/>
                  <a:pt x="19" y="2"/>
                  <a:pt x="19" y="3"/>
                </a:cubicBezTo>
                <a:cubicBezTo>
                  <a:pt x="21" y="3"/>
                  <a:pt x="22" y="2"/>
                  <a:pt x="24" y="3"/>
                </a:cubicBezTo>
                <a:cubicBezTo>
                  <a:pt x="23" y="2"/>
                  <a:pt x="22" y="3"/>
                  <a:pt x="21" y="3"/>
                </a:cubicBezTo>
                <a:cubicBezTo>
                  <a:pt x="21" y="4"/>
                  <a:pt x="21" y="4"/>
                  <a:pt x="21" y="4"/>
                </a:cubicBezTo>
                <a:cubicBezTo>
                  <a:pt x="20" y="3"/>
                  <a:pt x="20" y="4"/>
                  <a:pt x="20" y="4"/>
                </a:cubicBezTo>
                <a:cubicBezTo>
                  <a:pt x="20" y="3"/>
                  <a:pt x="20" y="3"/>
                  <a:pt x="20" y="3"/>
                </a:cubicBezTo>
                <a:cubicBezTo>
                  <a:pt x="19" y="3"/>
                  <a:pt x="19" y="4"/>
                  <a:pt x="19" y="4"/>
                </a:cubicBezTo>
                <a:cubicBezTo>
                  <a:pt x="19" y="3"/>
                  <a:pt x="19" y="3"/>
                  <a:pt x="19" y="3"/>
                </a:cubicBezTo>
                <a:cubicBezTo>
                  <a:pt x="18" y="3"/>
                  <a:pt x="18" y="4"/>
                  <a:pt x="17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18" y="4"/>
                  <a:pt x="18" y="3"/>
                  <a:pt x="19" y="3"/>
                </a:cubicBezTo>
                <a:cubicBezTo>
                  <a:pt x="18" y="2"/>
                  <a:pt x="19" y="2"/>
                  <a:pt x="19" y="2"/>
                </a:cubicBezTo>
                <a:cubicBezTo>
                  <a:pt x="18" y="1"/>
                  <a:pt x="18" y="1"/>
                  <a:pt x="18" y="1"/>
                </a:cubicBezTo>
                <a:cubicBezTo>
                  <a:pt x="19" y="1"/>
                  <a:pt x="19" y="1"/>
                  <a:pt x="19" y="0"/>
                </a:cubicBezTo>
                <a:cubicBezTo>
                  <a:pt x="16" y="0"/>
                  <a:pt x="12" y="1"/>
                  <a:pt x="12" y="2"/>
                </a:cubicBezTo>
                <a:cubicBezTo>
                  <a:pt x="11" y="2"/>
                  <a:pt x="10" y="2"/>
                  <a:pt x="9" y="3"/>
                </a:cubicBezTo>
                <a:cubicBezTo>
                  <a:pt x="10" y="4"/>
                  <a:pt x="10" y="4"/>
                  <a:pt x="10" y="4"/>
                </a:cubicBezTo>
                <a:cubicBezTo>
                  <a:pt x="10" y="4"/>
                  <a:pt x="10" y="4"/>
                  <a:pt x="10" y="4"/>
                </a:cubicBezTo>
                <a:cubicBezTo>
                  <a:pt x="9" y="3"/>
                  <a:pt x="8" y="4"/>
                  <a:pt x="8" y="4"/>
                </a:cubicBezTo>
                <a:cubicBezTo>
                  <a:pt x="8" y="4"/>
                  <a:pt x="8" y="4"/>
                  <a:pt x="8" y="5"/>
                </a:cubicBezTo>
                <a:cubicBezTo>
                  <a:pt x="9" y="5"/>
                  <a:pt x="9" y="5"/>
                  <a:pt x="9" y="5"/>
                </a:cubicBezTo>
                <a:cubicBezTo>
                  <a:pt x="9" y="5"/>
                  <a:pt x="9" y="5"/>
                  <a:pt x="8" y="6"/>
                </a:cubicBezTo>
                <a:cubicBezTo>
                  <a:pt x="8" y="5"/>
                  <a:pt x="7" y="5"/>
                  <a:pt x="7" y="4"/>
                </a:cubicBezTo>
                <a:cubicBezTo>
                  <a:pt x="7" y="4"/>
                  <a:pt x="8" y="3"/>
                  <a:pt x="8" y="3"/>
                </a:cubicBezTo>
                <a:cubicBezTo>
                  <a:pt x="8" y="3"/>
                  <a:pt x="8" y="3"/>
                  <a:pt x="8" y="3"/>
                </a:cubicBezTo>
                <a:cubicBezTo>
                  <a:pt x="10" y="2"/>
                  <a:pt x="12" y="1"/>
                  <a:pt x="13" y="0"/>
                </a:cubicBezTo>
                <a:cubicBezTo>
                  <a:pt x="7" y="0"/>
                  <a:pt x="3" y="2"/>
                  <a:pt x="0" y="6"/>
                </a:cubicBezTo>
                <a:cubicBezTo>
                  <a:pt x="1" y="6"/>
                  <a:pt x="2" y="6"/>
                  <a:pt x="3" y="6"/>
                </a:cubicBezTo>
                <a:cubicBezTo>
                  <a:pt x="3" y="6"/>
                  <a:pt x="4" y="6"/>
                  <a:pt x="4" y="6"/>
                </a:cubicBezTo>
                <a:cubicBezTo>
                  <a:pt x="2" y="7"/>
                  <a:pt x="1" y="6"/>
                  <a:pt x="0" y="6"/>
                </a:cubicBezTo>
                <a:cubicBezTo>
                  <a:pt x="0" y="7"/>
                  <a:pt x="0" y="7"/>
                  <a:pt x="0" y="7"/>
                </a:cubicBezTo>
                <a:cubicBezTo>
                  <a:pt x="0" y="7"/>
                  <a:pt x="0" y="7"/>
                  <a:pt x="0" y="8"/>
                </a:cubicBezTo>
                <a:cubicBezTo>
                  <a:pt x="1" y="8"/>
                  <a:pt x="1" y="7"/>
                  <a:pt x="1" y="8"/>
                </a:cubicBezTo>
                <a:cubicBezTo>
                  <a:pt x="2" y="8"/>
                  <a:pt x="3" y="8"/>
                  <a:pt x="3" y="8"/>
                </a:cubicBezTo>
                <a:cubicBezTo>
                  <a:pt x="5" y="9"/>
                  <a:pt x="9" y="9"/>
                  <a:pt x="11" y="9"/>
                </a:cubicBezTo>
                <a:cubicBezTo>
                  <a:pt x="12" y="9"/>
                  <a:pt x="12" y="9"/>
                  <a:pt x="13" y="10"/>
                </a:cubicBezTo>
                <a:cubicBezTo>
                  <a:pt x="14" y="9"/>
                  <a:pt x="15" y="9"/>
                  <a:pt x="16" y="9"/>
                </a:cubicBezTo>
                <a:cubicBezTo>
                  <a:pt x="16" y="9"/>
                  <a:pt x="16" y="8"/>
                  <a:pt x="16" y="8"/>
                </a:cubicBezTo>
                <a:cubicBezTo>
                  <a:pt x="16" y="8"/>
                  <a:pt x="16" y="8"/>
                  <a:pt x="16" y="8"/>
                </a:cubicBezTo>
                <a:cubicBezTo>
                  <a:pt x="16" y="8"/>
                  <a:pt x="17" y="7"/>
                  <a:pt x="17" y="8"/>
                </a:cubicBezTo>
                <a:cubicBezTo>
                  <a:pt x="17" y="8"/>
                  <a:pt x="18" y="8"/>
                  <a:pt x="18" y="8"/>
                </a:cubicBezTo>
                <a:cubicBezTo>
                  <a:pt x="18" y="8"/>
                  <a:pt x="17" y="9"/>
                  <a:pt x="17" y="9"/>
                </a:cubicBezTo>
                <a:cubicBezTo>
                  <a:pt x="18" y="9"/>
                  <a:pt x="18" y="9"/>
                  <a:pt x="19" y="9"/>
                </a:cubicBezTo>
                <a:cubicBezTo>
                  <a:pt x="18" y="9"/>
                  <a:pt x="18" y="9"/>
                  <a:pt x="18" y="9"/>
                </a:cubicBezTo>
                <a:cubicBezTo>
                  <a:pt x="19" y="10"/>
                  <a:pt x="19" y="10"/>
                  <a:pt x="20" y="10"/>
                </a:cubicBezTo>
                <a:cubicBezTo>
                  <a:pt x="19" y="11"/>
                  <a:pt x="19" y="11"/>
                  <a:pt x="18" y="11"/>
                </a:cubicBezTo>
                <a:cubicBezTo>
                  <a:pt x="18" y="11"/>
                  <a:pt x="17" y="11"/>
                  <a:pt x="17" y="11"/>
                </a:cubicBezTo>
                <a:cubicBezTo>
                  <a:pt x="18" y="11"/>
                  <a:pt x="19" y="11"/>
                  <a:pt x="20" y="11"/>
                </a:cubicBezTo>
                <a:cubicBezTo>
                  <a:pt x="20" y="11"/>
                  <a:pt x="21" y="11"/>
                  <a:pt x="21" y="11"/>
                </a:cubicBezTo>
                <a:cubicBezTo>
                  <a:pt x="20" y="11"/>
                  <a:pt x="21" y="12"/>
                  <a:pt x="22" y="12"/>
                </a:cubicBezTo>
                <a:cubicBezTo>
                  <a:pt x="21" y="12"/>
                  <a:pt x="22" y="12"/>
                  <a:pt x="23" y="13"/>
                </a:cubicBezTo>
                <a:cubicBezTo>
                  <a:pt x="23" y="14"/>
                  <a:pt x="23" y="13"/>
                  <a:pt x="22" y="15"/>
                </a:cubicBezTo>
                <a:cubicBezTo>
                  <a:pt x="21" y="16"/>
                  <a:pt x="19" y="16"/>
                  <a:pt x="17" y="17"/>
                </a:cubicBezTo>
                <a:cubicBezTo>
                  <a:pt x="17" y="18"/>
                  <a:pt x="18" y="18"/>
                  <a:pt x="17" y="19"/>
                </a:cubicBezTo>
                <a:cubicBezTo>
                  <a:pt x="15" y="19"/>
                  <a:pt x="13" y="20"/>
                  <a:pt x="11" y="19"/>
                </a:cubicBezTo>
                <a:cubicBezTo>
                  <a:pt x="10" y="20"/>
                  <a:pt x="8" y="19"/>
                  <a:pt x="8" y="21"/>
                </a:cubicBezTo>
                <a:cubicBezTo>
                  <a:pt x="9" y="22"/>
                  <a:pt x="10" y="21"/>
                  <a:pt x="12" y="21"/>
                </a:cubicBezTo>
                <a:cubicBezTo>
                  <a:pt x="12" y="21"/>
                  <a:pt x="12" y="21"/>
                  <a:pt x="12" y="21"/>
                </a:cubicBezTo>
                <a:cubicBezTo>
                  <a:pt x="13" y="21"/>
                  <a:pt x="14" y="21"/>
                  <a:pt x="15" y="21"/>
                </a:cubicBezTo>
                <a:cubicBezTo>
                  <a:pt x="15" y="21"/>
                  <a:pt x="15" y="21"/>
                  <a:pt x="15" y="21"/>
                </a:cubicBezTo>
                <a:cubicBezTo>
                  <a:pt x="15" y="21"/>
                  <a:pt x="16" y="21"/>
                  <a:pt x="16" y="21"/>
                </a:cubicBezTo>
                <a:cubicBezTo>
                  <a:pt x="16" y="21"/>
                  <a:pt x="16" y="22"/>
                  <a:pt x="16" y="21"/>
                </a:cubicBezTo>
                <a:cubicBezTo>
                  <a:pt x="16" y="22"/>
                  <a:pt x="17" y="23"/>
                  <a:pt x="18" y="23"/>
                </a:cubicBezTo>
                <a:cubicBezTo>
                  <a:pt x="18" y="23"/>
                  <a:pt x="18" y="23"/>
                  <a:pt x="18" y="23"/>
                </a:cubicBezTo>
                <a:cubicBezTo>
                  <a:pt x="18" y="24"/>
                  <a:pt x="17" y="23"/>
                  <a:pt x="17" y="24"/>
                </a:cubicBezTo>
                <a:cubicBezTo>
                  <a:pt x="17" y="24"/>
                  <a:pt x="17" y="24"/>
                  <a:pt x="17" y="24"/>
                </a:cubicBezTo>
                <a:cubicBezTo>
                  <a:pt x="18" y="24"/>
                  <a:pt x="18" y="24"/>
                  <a:pt x="18" y="25"/>
                </a:cubicBezTo>
                <a:cubicBezTo>
                  <a:pt x="18" y="25"/>
                  <a:pt x="18" y="25"/>
                  <a:pt x="18" y="25"/>
                </a:cubicBezTo>
                <a:cubicBezTo>
                  <a:pt x="18" y="25"/>
                  <a:pt x="18" y="25"/>
                  <a:pt x="18" y="26"/>
                </a:cubicBezTo>
                <a:cubicBezTo>
                  <a:pt x="18" y="26"/>
                  <a:pt x="19" y="26"/>
                  <a:pt x="19" y="26"/>
                </a:cubicBezTo>
                <a:cubicBezTo>
                  <a:pt x="19" y="25"/>
                  <a:pt x="19" y="25"/>
                  <a:pt x="19" y="25"/>
                </a:cubicBezTo>
                <a:cubicBezTo>
                  <a:pt x="19" y="25"/>
                  <a:pt x="20" y="25"/>
                  <a:pt x="20" y="25"/>
                </a:cubicBezTo>
                <a:cubicBezTo>
                  <a:pt x="21" y="27"/>
                  <a:pt x="24" y="26"/>
                  <a:pt x="26" y="27"/>
                </a:cubicBezTo>
                <a:cubicBezTo>
                  <a:pt x="26" y="27"/>
                  <a:pt x="26" y="27"/>
                  <a:pt x="26" y="26"/>
                </a:cubicBezTo>
                <a:cubicBezTo>
                  <a:pt x="25" y="25"/>
                  <a:pt x="24" y="24"/>
                  <a:pt x="23" y="23"/>
                </a:cubicBezTo>
                <a:cubicBezTo>
                  <a:pt x="24" y="23"/>
                  <a:pt x="24" y="23"/>
                  <a:pt x="25" y="24"/>
                </a:cubicBezTo>
                <a:cubicBezTo>
                  <a:pt x="25" y="23"/>
                  <a:pt x="25" y="23"/>
                  <a:pt x="25" y="23"/>
                </a:cubicBezTo>
                <a:cubicBezTo>
                  <a:pt x="26" y="25"/>
                  <a:pt x="27" y="24"/>
                  <a:pt x="28" y="25"/>
                </a:cubicBezTo>
                <a:cubicBezTo>
                  <a:pt x="28" y="26"/>
                  <a:pt x="28" y="26"/>
                  <a:pt x="28" y="26"/>
                </a:cubicBezTo>
                <a:cubicBezTo>
                  <a:pt x="29" y="26"/>
                  <a:pt x="29" y="26"/>
                  <a:pt x="29" y="26"/>
                </a:cubicBezTo>
                <a:cubicBezTo>
                  <a:pt x="29" y="25"/>
                  <a:pt x="28" y="25"/>
                  <a:pt x="29" y="25"/>
                </a:cubicBezTo>
                <a:cubicBezTo>
                  <a:pt x="30" y="25"/>
                  <a:pt x="30" y="25"/>
                  <a:pt x="30" y="25"/>
                </a:cubicBezTo>
                <a:cubicBezTo>
                  <a:pt x="30" y="24"/>
                  <a:pt x="30" y="23"/>
                  <a:pt x="30" y="23"/>
                </a:cubicBezTo>
                <a:cubicBezTo>
                  <a:pt x="30" y="23"/>
                  <a:pt x="30" y="24"/>
                  <a:pt x="30" y="24"/>
                </a:cubicBezTo>
                <a:cubicBezTo>
                  <a:pt x="31" y="24"/>
                  <a:pt x="31" y="23"/>
                  <a:pt x="31" y="23"/>
                </a:cubicBezTo>
                <a:cubicBezTo>
                  <a:pt x="30" y="22"/>
                  <a:pt x="30" y="22"/>
                  <a:pt x="30" y="22"/>
                </a:cubicBezTo>
                <a:cubicBezTo>
                  <a:pt x="31" y="22"/>
                  <a:pt x="31" y="22"/>
                  <a:pt x="31" y="22"/>
                </a:cubicBezTo>
                <a:cubicBezTo>
                  <a:pt x="31" y="22"/>
                  <a:pt x="30" y="22"/>
                  <a:pt x="30" y="21"/>
                </a:cubicBezTo>
                <a:cubicBezTo>
                  <a:pt x="31" y="22"/>
                  <a:pt x="31" y="21"/>
                  <a:pt x="31" y="21"/>
                </a:cubicBezTo>
                <a:cubicBezTo>
                  <a:pt x="30" y="21"/>
                  <a:pt x="30" y="21"/>
                  <a:pt x="30" y="21"/>
                </a:cubicBezTo>
                <a:cubicBezTo>
                  <a:pt x="30" y="21"/>
                  <a:pt x="31" y="21"/>
                  <a:pt x="30" y="20"/>
                </a:cubicBezTo>
                <a:cubicBezTo>
                  <a:pt x="30" y="20"/>
                  <a:pt x="29" y="19"/>
                  <a:pt x="29" y="20"/>
                </a:cubicBezTo>
                <a:cubicBezTo>
                  <a:pt x="29" y="19"/>
                  <a:pt x="28" y="20"/>
                  <a:pt x="29" y="19"/>
                </a:cubicBezTo>
                <a:cubicBezTo>
                  <a:pt x="28" y="19"/>
                  <a:pt x="29" y="19"/>
                  <a:pt x="29" y="18"/>
                </a:cubicBezTo>
                <a:cubicBezTo>
                  <a:pt x="28" y="18"/>
                  <a:pt x="28" y="18"/>
                  <a:pt x="28" y="18"/>
                </a:cubicBezTo>
                <a:cubicBezTo>
                  <a:pt x="28" y="18"/>
                  <a:pt x="28" y="18"/>
                  <a:pt x="28" y="18"/>
                </a:cubicBezTo>
                <a:cubicBezTo>
                  <a:pt x="28" y="17"/>
                  <a:pt x="28" y="17"/>
                  <a:pt x="28" y="17"/>
                </a:cubicBezTo>
                <a:cubicBezTo>
                  <a:pt x="28" y="18"/>
                  <a:pt x="29" y="18"/>
                  <a:pt x="29" y="18"/>
                </a:cubicBezTo>
                <a:cubicBezTo>
                  <a:pt x="29" y="17"/>
                  <a:pt x="29" y="17"/>
                  <a:pt x="29" y="17"/>
                </a:cubicBezTo>
                <a:cubicBezTo>
                  <a:pt x="29" y="16"/>
                  <a:pt x="29" y="16"/>
                  <a:pt x="29" y="16"/>
                </a:cubicBezTo>
                <a:cubicBezTo>
                  <a:pt x="29" y="17"/>
                  <a:pt x="29" y="17"/>
                  <a:pt x="30" y="17"/>
                </a:cubicBezTo>
                <a:cubicBezTo>
                  <a:pt x="30" y="16"/>
                  <a:pt x="30" y="16"/>
                  <a:pt x="30" y="16"/>
                </a:cubicBezTo>
                <a:cubicBezTo>
                  <a:pt x="30" y="17"/>
                  <a:pt x="30" y="16"/>
                  <a:pt x="31" y="16"/>
                </a:cubicBezTo>
                <a:cubicBezTo>
                  <a:pt x="31" y="17"/>
                  <a:pt x="31" y="17"/>
                  <a:pt x="31" y="17"/>
                </a:cubicBezTo>
                <a:cubicBezTo>
                  <a:pt x="31" y="17"/>
                  <a:pt x="31" y="17"/>
                  <a:pt x="31" y="17"/>
                </a:cubicBezTo>
                <a:cubicBezTo>
                  <a:pt x="31" y="17"/>
                  <a:pt x="32" y="17"/>
                  <a:pt x="31" y="18"/>
                </a:cubicBezTo>
                <a:cubicBezTo>
                  <a:pt x="32" y="18"/>
                  <a:pt x="32" y="18"/>
                  <a:pt x="32" y="18"/>
                </a:cubicBezTo>
                <a:cubicBezTo>
                  <a:pt x="31" y="18"/>
                  <a:pt x="33" y="19"/>
                  <a:pt x="33" y="20"/>
                </a:cubicBezTo>
                <a:cubicBezTo>
                  <a:pt x="33" y="19"/>
                  <a:pt x="34" y="20"/>
                  <a:pt x="34" y="20"/>
                </a:cubicBezTo>
                <a:cubicBezTo>
                  <a:pt x="35" y="20"/>
                  <a:pt x="35" y="19"/>
                  <a:pt x="36" y="18"/>
                </a:cubicBezTo>
                <a:cubicBezTo>
                  <a:pt x="36" y="19"/>
                  <a:pt x="36" y="18"/>
                  <a:pt x="37" y="18"/>
                </a:cubicBezTo>
                <a:cubicBezTo>
                  <a:pt x="37" y="18"/>
                  <a:pt x="37" y="18"/>
                  <a:pt x="38" y="18"/>
                </a:cubicBezTo>
                <a:cubicBezTo>
                  <a:pt x="38" y="18"/>
                  <a:pt x="38" y="18"/>
                  <a:pt x="38" y="17"/>
                </a:cubicBezTo>
                <a:cubicBezTo>
                  <a:pt x="39" y="17"/>
                  <a:pt x="39" y="17"/>
                  <a:pt x="39" y="17"/>
                </a:cubicBezTo>
                <a:cubicBezTo>
                  <a:pt x="39" y="17"/>
                  <a:pt x="38" y="17"/>
                  <a:pt x="38" y="17"/>
                </a:cubicBezTo>
                <a:cubicBezTo>
                  <a:pt x="39" y="17"/>
                  <a:pt x="38" y="17"/>
                  <a:pt x="38" y="17"/>
                </a:cubicBezTo>
                <a:cubicBezTo>
                  <a:pt x="39" y="17"/>
                  <a:pt x="40" y="17"/>
                  <a:pt x="40" y="17"/>
                </a:cubicBezTo>
                <a:cubicBezTo>
                  <a:pt x="40" y="16"/>
                  <a:pt x="40" y="16"/>
                  <a:pt x="40" y="16"/>
                </a:cubicBezTo>
                <a:cubicBezTo>
                  <a:pt x="40" y="16"/>
                  <a:pt x="40" y="16"/>
                  <a:pt x="41" y="16"/>
                </a:cubicBezTo>
                <a:cubicBezTo>
                  <a:pt x="41" y="16"/>
                  <a:pt x="40" y="15"/>
                  <a:pt x="40" y="15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77" name="Freeform 52"/>
          <p:cNvSpPr>
            <a:spLocks/>
          </p:cNvSpPr>
          <p:nvPr/>
        </p:nvSpPr>
        <p:spPr bwMode="auto">
          <a:xfrm>
            <a:off x="4714875" y="5381625"/>
            <a:ext cx="50800" cy="98425"/>
          </a:xfrm>
          <a:custGeom>
            <a:avLst/>
            <a:gdLst>
              <a:gd name="T0" fmla="*/ 15 w 18"/>
              <a:gd name="T1" fmla="*/ 0 h 36"/>
              <a:gd name="T2" fmla="*/ 14 w 18"/>
              <a:gd name="T3" fmla="*/ 1 h 36"/>
              <a:gd name="T4" fmla="*/ 14 w 18"/>
              <a:gd name="T5" fmla="*/ 4 h 36"/>
              <a:gd name="T6" fmla="*/ 12 w 18"/>
              <a:gd name="T7" fmla="*/ 5 h 36"/>
              <a:gd name="T8" fmla="*/ 12 w 18"/>
              <a:gd name="T9" fmla="*/ 4 h 36"/>
              <a:gd name="T10" fmla="*/ 12 w 18"/>
              <a:gd name="T11" fmla="*/ 6 h 36"/>
              <a:gd name="T12" fmla="*/ 11 w 18"/>
              <a:gd name="T13" fmla="*/ 6 h 36"/>
              <a:gd name="T14" fmla="*/ 10 w 18"/>
              <a:gd name="T15" fmla="*/ 8 h 36"/>
              <a:gd name="T16" fmla="*/ 10 w 18"/>
              <a:gd name="T17" fmla="*/ 7 h 36"/>
              <a:gd name="T18" fmla="*/ 10 w 18"/>
              <a:gd name="T19" fmla="*/ 9 h 36"/>
              <a:gd name="T20" fmla="*/ 9 w 18"/>
              <a:gd name="T21" fmla="*/ 9 h 36"/>
              <a:gd name="T22" fmla="*/ 10 w 18"/>
              <a:gd name="T23" fmla="*/ 9 h 36"/>
              <a:gd name="T24" fmla="*/ 9 w 18"/>
              <a:gd name="T25" fmla="*/ 9 h 36"/>
              <a:gd name="T26" fmla="*/ 8 w 18"/>
              <a:gd name="T27" fmla="*/ 11 h 36"/>
              <a:gd name="T28" fmla="*/ 7 w 18"/>
              <a:gd name="T29" fmla="*/ 10 h 36"/>
              <a:gd name="T30" fmla="*/ 7 w 18"/>
              <a:gd name="T31" fmla="*/ 10 h 36"/>
              <a:gd name="T32" fmla="*/ 5 w 18"/>
              <a:gd name="T33" fmla="*/ 11 h 36"/>
              <a:gd name="T34" fmla="*/ 5 w 18"/>
              <a:gd name="T35" fmla="*/ 10 h 36"/>
              <a:gd name="T36" fmla="*/ 3 w 18"/>
              <a:gd name="T37" fmla="*/ 11 h 36"/>
              <a:gd name="T38" fmla="*/ 2 w 18"/>
              <a:gd name="T39" fmla="*/ 15 h 36"/>
              <a:gd name="T40" fmla="*/ 1 w 18"/>
              <a:gd name="T41" fmla="*/ 24 h 36"/>
              <a:gd name="T42" fmla="*/ 1 w 18"/>
              <a:gd name="T43" fmla="*/ 25 h 36"/>
              <a:gd name="T44" fmla="*/ 1 w 18"/>
              <a:gd name="T45" fmla="*/ 30 h 36"/>
              <a:gd name="T46" fmla="*/ 4 w 18"/>
              <a:gd name="T47" fmla="*/ 36 h 36"/>
              <a:gd name="T48" fmla="*/ 8 w 18"/>
              <a:gd name="T49" fmla="*/ 34 h 36"/>
              <a:gd name="T50" fmla="*/ 15 w 18"/>
              <a:gd name="T51" fmla="*/ 14 h 36"/>
              <a:gd name="T52" fmla="*/ 16 w 18"/>
              <a:gd name="T53" fmla="*/ 13 h 36"/>
              <a:gd name="T54" fmla="*/ 16 w 18"/>
              <a:gd name="T55" fmla="*/ 9 h 36"/>
              <a:gd name="T56" fmla="*/ 17 w 18"/>
              <a:gd name="T57" fmla="*/ 11 h 36"/>
              <a:gd name="T58" fmla="*/ 15 w 18"/>
              <a:gd name="T59" fmla="*/ 1 h 36"/>
              <a:gd name="T60" fmla="*/ 15 w 18"/>
              <a:gd name="T61" fmla="*/ 0 h 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8"/>
              <a:gd name="T94" fmla="*/ 0 h 36"/>
              <a:gd name="T95" fmla="*/ 18 w 18"/>
              <a:gd name="T96" fmla="*/ 36 h 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8" h="36">
                <a:moveTo>
                  <a:pt x="15" y="0"/>
                </a:moveTo>
                <a:cubicBezTo>
                  <a:pt x="15" y="1"/>
                  <a:pt x="14" y="1"/>
                  <a:pt x="14" y="1"/>
                </a:cubicBezTo>
                <a:cubicBezTo>
                  <a:pt x="14" y="2"/>
                  <a:pt x="14" y="3"/>
                  <a:pt x="14" y="4"/>
                </a:cubicBezTo>
                <a:cubicBezTo>
                  <a:pt x="13" y="4"/>
                  <a:pt x="13" y="4"/>
                  <a:pt x="12" y="5"/>
                </a:cubicBezTo>
                <a:cubicBezTo>
                  <a:pt x="12" y="5"/>
                  <a:pt x="12" y="4"/>
                  <a:pt x="12" y="4"/>
                </a:cubicBezTo>
                <a:cubicBezTo>
                  <a:pt x="11" y="4"/>
                  <a:pt x="12" y="5"/>
                  <a:pt x="12" y="6"/>
                </a:cubicBezTo>
                <a:cubicBezTo>
                  <a:pt x="11" y="6"/>
                  <a:pt x="11" y="6"/>
                  <a:pt x="11" y="6"/>
                </a:cubicBezTo>
                <a:cubicBezTo>
                  <a:pt x="11" y="7"/>
                  <a:pt x="11" y="8"/>
                  <a:pt x="10" y="8"/>
                </a:cubicBezTo>
                <a:cubicBezTo>
                  <a:pt x="10" y="8"/>
                  <a:pt x="11" y="7"/>
                  <a:pt x="10" y="7"/>
                </a:cubicBezTo>
                <a:cubicBezTo>
                  <a:pt x="10" y="8"/>
                  <a:pt x="10" y="8"/>
                  <a:pt x="10" y="9"/>
                </a:cubicBezTo>
                <a:cubicBezTo>
                  <a:pt x="9" y="9"/>
                  <a:pt x="9" y="9"/>
                  <a:pt x="9" y="9"/>
                </a:cubicBezTo>
                <a:cubicBezTo>
                  <a:pt x="10" y="9"/>
                  <a:pt x="10" y="9"/>
                  <a:pt x="10" y="9"/>
                </a:cubicBezTo>
                <a:cubicBezTo>
                  <a:pt x="9" y="9"/>
                  <a:pt x="9" y="9"/>
                  <a:pt x="9" y="9"/>
                </a:cubicBezTo>
                <a:cubicBezTo>
                  <a:pt x="8" y="9"/>
                  <a:pt x="7" y="10"/>
                  <a:pt x="8" y="11"/>
                </a:cubicBezTo>
                <a:cubicBezTo>
                  <a:pt x="7" y="11"/>
                  <a:pt x="8" y="10"/>
                  <a:pt x="7" y="10"/>
                </a:cubicBezTo>
                <a:cubicBezTo>
                  <a:pt x="7" y="10"/>
                  <a:pt x="7" y="10"/>
                  <a:pt x="7" y="10"/>
                </a:cubicBezTo>
                <a:cubicBezTo>
                  <a:pt x="7" y="10"/>
                  <a:pt x="6" y="11"/>
                  <a:pt x="5" y="11"/>
                </a:cubicBezTo>
                <a:cubicBezTo>
                  <a:pt x="5" y="10"/>
                  <a:pt x="5" y="10"/>
                  <a:pt x="5" y="10"/>
                </a:cubicBezTo>
                <a:cubicBezTo>
                  <a:pt x="5" y="11"/>
                  <a:pt x="4" y="11"/>
                  <a:pt x="3" y="11"/>
                </a:cubicBezTo>
                <a:cubicBezTo>
                  <a:pt x="4" y="13"/>
                  <a:pt x="2" y="14"/>
                  <a:pt x="2" y="15"/>
                </a:cubicBezTo>
                <a:cubicBezTo>
                  <a:pt x="3" y="18"/>
                  <a:pt x="3" y="22"/>
                  <a:pt x="1" y="24"/>
                </a:cubicBezTo>
                <a:cubicBezTo>
                  <a:pt x="1" y="25"/>
                  <a:pt x="1" y="25"/>
                  <a:pt x="1" y="25"/>
                </a:cubicBezTo>
                <a:cubicBezTo>
                  <a:pt x="0" y="27"/>
                  <a:pt x="0" y="29"/>
                  <a:pt x="1" y="30"/>
                </a:cubicBezTo>
                <a:cubicBezTo>
                  <a:pt x="0" y="33"/>
                  <a:pt x="2" y="35"/>
                  <a:pt x="4" y="36"/>
                </a:cubicBezTo>
                <a:cubicBezTo>
                  <a:pt x="5" y="35"/>
                  <a:pt x="7" y="35"/>
                  <a:pt x="8" y="34"/>
                </a:cubicBezTo>
                <a:cubicBezTo>
                  <a:pt x="10" y="28"/>
                  <a:pt x="14" y="21"/>
                  <a:pt x="15" y="14"/>
                </a:cubicBezTo>
                <a:cubicBezTo>
                  <a:pt x="15" y="14"/>
                  <a:pt x="15" y="13"/>
                  <a:pt x="16" y="13"/>
                </a:cubicBezTo>
                <a:cubicBezTo>
                  <a:pt x="16" y="12"/>
                  <a:pt x="15" y="10"/>
                  <a:pt x="16" y="9"/>
                </a:cubicBezTo>
                <a:cubicBezTo>
                  <a:pt x="16" y="10"/>
                  <a:pt x="16" y="10"/>
                  <a:pt x="17" y="11"/>
                </a:cubicBezTo>
                <a:cubicBezTo>
                  <a:pt x="18" y="8"/>
                  <a:pt x="17" y="2"/>
                  <a:pt x="15" y="1"/>
                </a:cubicBezTo>
                <a:cubicBezTo>
                  <a:pt x="15" y="1"/>
                  <a:pt x="15" y="0"/>
                  <a:pt x="15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78" name="Freeform 53"/>
          <p:cNvSpPr>
            <a:spLocks/>
          </p:cNvSpPr>
          <p:nvPr/>
        </p:nvSpPr>
        <p:spPr bwMode="auto">
          <a:xfrm>
            <a:off x="4170363" y="4730750"/>
            <a:ext cx="250825" cy="136525"/>
          </a:xfrm>
          <a:custGeom>
            <a:avLst/>
            <a:gdLst>
              <a:gd name="T0" fmla="*/ 65 w 92"/>
              <a:gd name="T1" fmla="*/ 23 h 50"/>
              <a:gd name="T2" fmla="*/ 69 w 92"/>
              <a:gd name="T3" fmla="*/ 25 h 50"/>
              <a:gd name="T4" fmla="*/ 70 w 92"/>
              <a:gd name="T5" fmla="*/ 24 h 50"/>
              <a:gd name="T6" fmla="*/ 70 w 92"/>
              <a:gd name="T7" fmla="*/ 23 h 50"/>
              <a:gd name="T8" fmla="*/ 67 w 92"/>
              <a:gd name="T9" fmla="*/ 20 h 50"/>
              <a:gd name="T10" fmla="*/ 68 w 92"/>
              <a:gd name="T11" fmla="*/ 19 h 50"/>
              <a:gd name="T12" fmla="*/ 75 w 92"/>
              <a:gd name="T13" fmla="*/ 18 h 50"/>
              <a:gd name="T14" fmla="*/ 75 w 92"/>
              <a:gd name="T15" fmla="*/ 17 h 50"/>
              <a:gd name="T16" fmla="*/ 77 w 92"/>
              <a:gd name="T17" fmla="*/ 16 h 50"/>
              <a:gd name="T18" fmla="*/ 77 w 92"/>
              <a:gd name="T19" fmla="*/ 14 h 50"/>
              <a:gd name="T20" fmla="*/ 81 w 92"/>
              <a:gd name="T21" fmla="*/ 11 h 50"/>
              <a:gd name="T22" fmla="*/ 75 w 92"/>
              <a:gd name="T23" fmla="*/ 10 h 50"/>
              <a:gd name="T24" fmla="*/ 86 w 92"/>
              <a:gd name="T25" fmla="*/ 5 h 50"/>
              <a:gd name="T26" fmla="*/ 81 w 92"/>
              <a:gd name="T27" fmla="*/ 3 h 50"/>
              <a:gd name="T28" fmla="*/ 79 w 92"/>
              <a:gd name="T29" fmla="*/ 3 h 50"/>
              <a:gd name="T30" fmla="*/ 67 w 92"/>
              <a:gd name="T31" fmla="*/ 3 h 50"/>
              <a:gd name="T32" fmla="*/ 70 w 92"/>
              <a:gd name="T33" fmla="*/ 0 h 50"/>
              <a:gd name="T34" fmla="*/ 47 w 92"/>
              <a:gd name="T35" fmla="*/ 2 h 50"/>
              <a:gd name="T36" fmla="*/ 39 w 92"/>
              <a:gd name="T37" fmla="*/ 2 h 50"/>
              <a:gd name="T38" fmla="*/ 35 w 92"/>
              <a:gd name="T39" fmla="*/ 3 h 50"/>
              <a:gd name="T40" fmla="*/ 23 w 92"/>
              <a:gd name="T41" fmla="*/ 4 h 50"/>
              <a:gd name="T42" fmla="*/ 0 w 92"/>
              <a:gd name="T43" fmla="*/ 10 h 50"/>
              <a:gd name="T44" fmla="*/ 3 w 92"/>
              <a:gd name="T45" fmla="*/ 13 h 50"/>
              <a:gd name="T46" fmla="*/ 5 w 92"/>
              <a:gd name="T47" fmla="*/ 13 h 50"/>
              <a:gd name="T48" fmla="*/ 17 w 92"/>
              <a:gd name="T49" fmla="*/ 15 h 50"/>
              <a:gd name="T50" fmla="*/ 19 w 92"/>
              <a:gd name="T51" fmla="*/ 17 h 50"/>
              <a:gd name="T52" fmla="*/ 19 w 92"/>
              <a:gd name="T53" fmla="*/ 19 h 50"/>
              <a:gd name="T54" fmla="*/ 17 w 92"/>
              <a:gd name="T55" fmla="*/ 21 h 50"/>
              <a:gd name="T56" fmla="*/ 20 w 92"/>
              <a:gd name="T57" fmla="*/ 23 h 50"/>
              <a:gd name="T58" fmla="*/ 22 w 92"/>
              <a:gd name="T59" fmla="*/ 25 h 50"/>
              <a:gd name="T60" fmla="*/ 21 w 92"/>
              <a:gd name="T61" fmla="*/ 26 h 50"/>
              <a:gd name="T62" fmla="*/ 20 w 92"/>
              <a:gd name="T63" fmla="*/ 30 h 50"/>
              <a:gd name="T64" fmla="*/ 14 w 92"/>
              <a:gd name="T65" fmla="*/ 33 h 50"/>
              <a:gd name="T66" fmla="*/ 14 w 92"/>
              <a:gd name="T67" fmla="*/ 37 h 50"/>
              <a:gd name="T68" fmla="*/ 14 w 92"/>
              <a:gd name="T69" fmla="*/ 42 h 50"/>
              <a:gd name="T70" fmla="*/ 17 w 92"/>
              <a:gd name="T71" fmla="*/ 47 h 50"/>
              <a:gd name="T72" fmla="*/ 20 w 92"/>
              <a:gd name="T73" fmla="*/ 48 h 50"/>
              <a:gd name="T74" fmla="*/ 23 w 92"/>
              <a:gd name="T75" fmla="*/ 50 h 50"/>
              <a:gd name="T76" fmla="*/ 28 w 92"/>
              <a:gd name="T77" fmla="*/ 43 h 50"/>
              <a:gd name="T78" fmla="*/ 35 w 92"/>
              <a:gd name="T79" fmla="*/ 37 h 50"/>
              <a:gd name="T80" fmla="*/ 40 w 92"/>
              <a:gd name="T81" fmla="*/ 35 h 50"/>
              <a:gd name="T82" fmla="*/ 51 w 92"/>
              <a:gd name="T83" fmla="*/ 30 h 50"/>
              <a:gd name="T84" fmla="*/ 63 w 92"/>
              <a:gd name="T85" fmla="*/ 26 h 5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92"/>
              <a:gd name="T130" fmla="*/ 0 h 50"/>
              <a:gd name="T131" fmla="*/ 92 w 92"/>
              <a:gd name="T132" fmla="*/ 50 h 5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92" h="50">
                <a:moveTo>
                  <a:pt x="63" y="26"/>
                </a:moveTo>
                <a:cubicBezTo>
                  <a:pt x="63" y="25"/>
                  <a:pt x="64" y="25"/>
                  <a:pt x="65" y="25"/>
                </a:cubicBezTo>
                <a:cubicBezTo>
                  <a:pt x="64" y="24"/>
                  <a:pt x="65" y="24"/>
                  <a:pt x="65" y="23"/>
                </a:cubicBezTo>
                <a:cubicBezTo>
                  <a:pt x="67" y="23"/>
                  <a:pt x="66" y="26"/>
                  <a:pt x="69" y="26"/>
                </a:cubicBezTo>
                <a:cubicBezTo>
                  <a:pt x="69" y="25"/>
                  <a:pt x="69" y="25"/>
                  <a:pt x="69" y="25"/>
                </a:cubicBezTo>
                <a:cubicBezTo>
                  <a:pt x="70" y="25"/>
                  <a:pt x="69" y="25"/>
                  <a:pt x="69" y="25"/>
                </a:cubicBezTo>
                <a:cubicBezTo>
                  <a:pt x="71" y="26"/>
                  <a:pt x="71" y="26"/>
                  <a:pt x="71" y="26"/>
                </a:cubicBezTo>
                <a:cubicBezTo>
                  <a:pt x="71" y="25"/>
                  <a:pt x="71" y="24"/>
                  <a:pt x="71" y="23"/>
                </a:cubicBezTo>
                <a:cubicBezTo>
                  <a:pt x="71" y="23"/>
                  <a:pt x="70" y="23"/>
                  <a:pt x="70" y="24"/>
                </a:cubicBezTo>
                <a:cubicBezTo>
                  <a:pt x="70" y="23"/>
                  <a:pt x="71" y="23"/>
                  <a:pt x="71" y="23"/>
                </a:cubicBezTo>
                <a:cubicBezTo>
                  <a:pt x="70" y="23"/>
                  <a:pt x="70" y="23"/>
                  <a:pt x="70" y="23"/>
                </a:cubicBezTo>
                <a:cubicBezTo>
                  <a:pt x="70" y="23"/>
                  <a:pt x="70" y="23"/>
                  <a:pt x="70" y="23"/>
                </a:cubicBezTo>
                <a:cubicBezTo>
                  <a:pt x="70" y="23"/>
                  <a:pt x="70" y="23"/>
                  <a:pt x="70" y="23"/>
                </a:cubicBezTo>
                <a:cubicBezTo>
                  <a:pt x="69" y="22"/>
                  <a:pt x="67" y="21"/>
                  <a:pt x="66" y="21"/>
                </a:cubicBezTo>
                <a:cubicBezTo>
                  <a:pt x="66" y="20"/>
                  <a:pt x="67" y="20"/>
                  <a:pt x="67" y="20"/>
                </a:cubicBezTo>
                <a:cubicBezTo>
                  <a:pt x="67" y="19"/>
                  <a:pt x="66" y="20"/>
                  <a:pt x="66" y="20"/>
                </a:cubicBezTo>
                <a:cubicBezTo>
                  <a:pt x="67" y="19"/>
                  <a:pt x="68" y="20"/>
                  <a:pt x="70" y="20"/>
                </a:cubicBezTo>
                <a:cubicBezTo>
                  <a:pt x="70" y="19"/>
                  <a:pt x="68" y="19"/>
                  <a:pt x="68" y="19"/>
                </a:cubicBezTo>
                <a:cubicBezTo>
                  <a:pt x="68" y="19"/>
                  <a:pt x="68" y="19"/>
                  <a:pt x="69" y="18"/>
                </a:cubicBezTo>
                <a:cubicBezTo>
                  <a:pt x="70" y="20"/>
                  <a:pt x="73" y="19"/>
                  <a:pt x="75" y="19"/>
                </a:cubicBezTo>
                <a:cubicBezTo>
                  <a:pt x="75" y="18"/>
                  <a:pt x="75" y="18"/>
                  <a:pt x="75" y="18"/>
                </a:cubicBezTo>
                <a:cubicBezTo>
                  <a:pt x="75" y="18"/>
                  <a:pt x="73" y="18"/>
                  <a:pt x="72" y="18"/>
                </a:cubicBezTo>
                <a:cubicBezTo>
                  <a:pt x="73" y="17"/>
                  <a:pt x="74" y="18"/>
                  <a:pt x="76" y="18"/>
                </a:cubicBezTo>
                <a:cubicBezTo>
                  <a:pt x="76" y="17"/>
                  <a:pt x="75" y="18"/>
                  <a:pt x="75" y="17"/>
                </a:cubicBezTo>
                <a:cubicBezTo>
                  <a:pt x="76" y="18"/>
                  <a:pt x="77" y="18"/>
                  <a:pt x="78" y="17"/>
                </a:cubicBezTo>
                <a:cubicBezTo>
                  <a:pt x="77" y="16"/>
                  <a:pt x="77" y="17"/>
                  <a:pt x="76" y="17"/>
                </a:cubicBezTo>
                <a:cubicBezTo>
                  <a:pt x="77" y="16"/>
                  <a:pt x="77" y="16"/>
                  <a:pt x="77" y="16"/>
                </a:cubicBezTo>
                <a:cubicBezTo>
                  <a:pt x="77" y="16"/>
                  <a:pt x="75" y="16"/>
                  <a:pt x="75" y="16"/>
                </a:cubicBezTo>
                <a:cubicBezTo>
                  <a:pt x="76" y="15"/>
                  <a:pt x="77" y="16"/>
                  <a:pt x="77" y="15"/>
                </a:cubicBezTo>
                <a:cubicBezTo>
                  <a:pt x="78" y="15"/>
                  <a:pt x="77" y="14"/>
                  <a:pt x="77" y="14"/>
                </a:cubicBezTo>
                <a:cubicBezTo>
                  <a:pt x="78" y="14"/>
                  <a:pt x="78" y="14"/>
                  <a:pt x="78" y="14"/>
                </a:cubicBezTo>
                <a:cubicBezTo>
                  <a:pt x="76" y="13"/>
                  <a:pt x="75" y="13"/>
                  <a:pt x="74" y="12"/>
                </a:cubicBezTo>
                <a:cubicBezTo>
                  <a:pt x="75" y="12"/>
                  <a:pt x="79" y="13"/>
                  <a:pt x="81" y="11"/>
                </a:cubicBezTo>
                <a:cubicBezTo>
                  <a:pt x="80" y="11"/>
                  <a:pt x="78" y="11"/>
                  <a:pt x="77" y="11"/>
                </a:cubicBezTo>
                <a:cubicBezTo>
                  <a:pt x="78" y="10"/>
                  <a:pt x="79" y="11"/>
                  <a:pt x="80" y="11"/>
                </a:cubicBezTo>
                <a:cubicBezTo>
                  <a:pt x="79" y="9"/>
                  <a:pt x="77" y="10"/>
                  <a:pt x="75" y="10"/>
                </a:cubicBezTo>
                <a:cubicBezTo>
                  <a:pt x="77" y="9"/>
                  <a:pt x="79" y="8"/>
                  <a:pt x="81" y="8"/>
                </a:cubicBezTo>
                <a:cubicBezTo>
                  <a:pt x="81" y="7"/>
                  <a:pt x="80" y="8"/>
                  <a:pt x="80" y="7"/>
                </a:cubicBezTo>
                <a:cubicBezTo>
                  <a:pt x="82" y="7"/>
                  <a:pt x="84" y="6"/>
                  <a:pt x="86" y="5"/>
                </a:cubicBezTo>
                <a:cubicBezTo>
                  <a:pt x="86" y="5"/>
                  <a:pt x="85" y="5"/>
                  <a:pt x="84" y="5"/>
                </a:cubicBezTo>
                <a:cubicBezTo>
                  <a:pt x="87" y="5"/>
                  <a:pt x="90" y="4"/>
                  <a:pt x="92" y="3"/>
                </a:cubicBezTo>
                <a:cubicBezTo>
                  <a:pt x="89" y="2"/>
                  <a:pt x="84" y="4"/>
                  <a:pt x="81" y="3"/>
                </a:cubicBezTo>
                <a:cubicBezTo>
                  <a:pt x="81" y="3"/>
                  <a:pt x="81" y="3"/>
                  <a:pt x="81" y="3"/>
                </a:cubicBezTo>
                <a:cubicBezTo>
                  <a:pt x="79" y="3"/>
                  <a:pt x="78" y="4"/>
                  <a:pt x="76" y="5"/>
                </a:cubicBezTo>
                <a:cubicBezTo>
                  <a:pt x="77" y="4"/>
                  <a:pt x="78" y="4"/>
                  <a:pt x="79" y="3"/>
                </a:cubicBezTo>
                <a:cubicBezTo>
                  <a:pt x="77" y="2"/>
                  <a:pt x="75" y="3"/>
                  <a:pt x="74" y="3"/>
                </a:cubicBezTo>
                <a:cubicBezTo>
                  <a:pt x="74" y="3"/>
                  <a:pt x="74" y="3"/>
                  <a:pt x="74" y="3"/>
                </a:cubicBezTo>
                <a:cubicBezTo>
                  <a:pt x="72" y="3"/>
                  <a:pt x="69" y="3"/>
                  <a:pt x="67" y="3"/>
                </a:cubicBezTo>
                <a:cubicBezTo>
                  <a:pt x="71" y="2"/>
                  <a:pt x="76" y="3"/>
                  <a:pt x="80" y="2"/>
                </a:cubicBezTo>
                <a:cubicBezTo>
                  <a:pt x="78" y="1"/>
                  <a:pt x="76" y="1"/>
                  <a:pt x="74" y="1"/>
                </a:cubicBezTo>
                <a:cubicBezTo>
                  <a:pt x="75" y="0"/>
                  <a:pt x="71" y="1"/>
                  <a:pt x="70" y="0"/>
                </a:cubicBezTo>
                <a:cubicBezTo>
                  <a:pt x="66" y="0"/>
                  <a:pt x="63" y="0"/>
                  <a:pt x="60" y="0"/>
                </a:cubicBezTo>
                <a:cubicBezTo>
                  <a:pt x="56" y="2"/>
                  <a:pt x="50" y="0"/>
                  <a:pt x="45" y="1"/>
                </a:cubicBezTo>
                <a:cubicBezTo>
                  <a:pt x="46" y="2"/>
                  <a:pt x="47" y="1"/>
                  <a:pt x="47" y="2"/>
                </a:cubicBezTo>
                <a:cubicBezTo>
                  <a:pt x="46" y="2"/>
                  <a:pt x="45" y="1"/>
                  <a:pt x="44" y="2"/>
                </a:cubicBezTo>
                <a:cubicBezTo>
                  <a:pt x="44" y="3"/>
                  <a:pt x="46" y="2"/>
                  <a:pt x="47" y="3"/>
                </a:cubicBezTo>
                <a:cubicBezTo>
                  <a:pt x="44" y="3"/>
                  <a:pt x="42" y="2"/>
                  <a:pt x="39" y="2"/>
                </a:cubicBezTo>
                <a:cubicBezTo>
                  <a:pt x="39" y="2"/>
                  <a:pt x="39" y="3"/>
                  <a:pt x="40" y="3"/>
                </a:cubicBezTo>
                <a:cubicBezTo>
                  <a:pt x="38" y="3"/>
                  <a:pt x="37" y="2"/>
                  <a:pt x="35" y="2"/>
                </a:cubicBezTo>
                <a:cubicBezTo>
                  <a:pt x="35" y="2"/>
                  <a:pt x="36" y="3"/>
                  <a:pt x="35" y="3"/>
                </a:cubicBezTo>
                <a:cubicBezTo>
                  <a:pt x="34" y="3"/>
                  <a:pt x="35" y="3"/>
                  <a:pt x="34" y="2"/>
                </a:cubicBezTo>
                <a:cubicBezTo>
                  <a:pt x="31" y="2"/>
                  <a:pt x="27" y="3"/>
                  <a:pt x="23" y="3"/>
                </a:cubicBezTo>
                <a:cubicBezTo>
                  <a:pt x="23" y="3"/>
                  <a:pt x="23" y="3"/>
                  <a:pt x="23" y="4"/>
                </a:cubicBezTo>
                <a:cubicBezTo>
                  <a:pt x="19" y="4"/>
                  <a:pt x="15" y="5"/>
                  <a:pt x="12" y="6"/>
                </a:cubicBezTo>
                <a:cubicBezTo>
                  <a:pt x="12" y="6"/>
                  <a:pt x="14" y="6"/>
                  <a:pt x="15" y="6"/>
                </a:cubicBezTo>
                <a:cubicBezTo>
                  <a:pt x="11" y="9"/>
                  <a:pt x="4" y="7"/>
                  <a:pt x="0" y="10"/>
                </a:cubicBezTo>
                <a:cubicBezTo>
                  <a:pt x="3" y="11"/>
                  <a:pt x="5" y="11"/>
                  <a:pt x="9" y="11"/>
                </a:cubicBezTo>
                <a:cubicBezTo>
                  <a:pt x="7" y="12"/>
                  <a:pt x="2" y="11"/>
                  <a:pt x="0" y="12"/>
                </a:cubicBezTo>
                <a:cubicBezTo>
                  <a:pt x="1" y="12"/>
                  <a:pt x="2" y="12"/>
                  <a:pt x="3" y="13"/>
                </a:cubicBezTo>
                <a:cubicBezTo>
                  <a:pt x="3" y="13"/>
                  <a:pt x="2" y="13"/>
                  <a:pt x="1" y="13"/>
                </a:cubicBezTo>
                <a:cubicBezTo>
                  <a:pt x="2" y="14"/>
                  <a:pt x="4" y="14"/>
                  <a:pt x="5" y="14"/>
                </a:cubicBezTo>
                <a:cubicBezTo>
                  <a:pt x="5" y="14"/>
                  <a:pt x="5" y="14"/>
                  <a:pt x="5" y="13"/>
                </a:cubicBezTo>
                <a:cubicBezTo>
                  <a:pt x="6" y="14"/>
                  <a:pt x="6" y="14"/>
                  <a:pt x="7" y="13"/>
                </a:cubicBezTo>
                <a:cubicBezTo>
                  <a:pt x="6" y="14"/>
                  <a:pt x="6" y="14"/>
                  <a:pt x="6" y="14"/>
                </a:cubicBezTo>
                <a:cubicBezTo>
                  <a:pt x="11" y="13"/>
                  <a:pt x="14" y="13"/>
                  <a:pt x="17" y="15"/>
                </a:cubicBezTo>
                <a:cubicBezTo>
                  <a:pt x="17" y="15"/>
                  <a:pt x="17" y="15"/>
                  <a:pt x="16" y="15"/>
                </a:cubicBezTo>
                <a:cubicBezTo>
                  <a:pt x="17" y="16"/>
                  <a:pt x="17" y="16"/>
                  <a:pt x="18" y="16"/>
                </a:cubicBezTo>
                <a:cubicBezTo>
                  <a:pt x="17" y="17"/>
                  <a:pt x="18" y="17"/>
                  <a:pt x="19" y="17"/>
                </a:cubicBezTo>
                <a:cubicBezTo>
                  <a:pt x="18" y="17"/>
                  <a:pt x="18" y="18"/>
                  <a:pt x="17" y="18"/>
                </a:cubicBezTo>
                <a:cubicBezTo>
                  <a:pt x="17" y="18"/>
                  <a:pt x="19" y="17"/>
                  <a:pt x="18" y="18"/>
                </a:cubicBezTo>
                <a:cubicBezTo>
                  <a:pt x="19" y="18"/>
                  <a:pt x="18" y="19"/>
                  <a:pt x="19" y="19"/>
                </a:cubicBezTo>
                <a:cubicBezTo>
                  <a:pt x="18" y="19"/>
                  <a:pt x="18" y="20"/>
                  <a:pt x="18" y="20"/>
                </a:cubicBezTo>
                <a:cubicBezTo>
                  <a:pt x="18" y="20"/>
                  <a:pt x="18" y="20"/>
                  <a:pt x="19" y="20"/>
                </a:cubicBezTo>
                <a:cubicBezTo>
                  <a:pt x="19" y="21"/>
                  <a:pt x="18" y="21"/>
                  <a:pt x="17" y="21"/>
                </a:cubicBezTo>
                <a:cubicBezTo>
                  <a:pt x="18" y="21"/>
                  <a:pt x="18" y="21"/>
                  <a:pt x="18" y="21"/>
                </a:cubicBezTo>
                <a:cubicBezTo>
                  <a:pt x="16" y="22"/>
                  <a:pt x="17" y="23"/>
                  <a:pt x="15" y="23"/>
                </a:cubicBezTo>
                <a:cubicBezTo>
                  <a:pt x="16" y="25"/>
                  <a:pt x="19" y="23"/>
                  <a:pt x="20" y="23"/>
                </a:cubicBezTo>
                <a:cubicBezTo>
                  <a:pt x="19" y="23"/>
                  <a:pt x="20" y="23"/>
                  <a:pt x="21" y="23"/>
                </a:cubicBezTo>
                <a:cubicBezTo>
                  <a:pt x="21" y="23"/>
                  <a:pt x="20" y="23"/>
                  <a:pt x="19" y="24"/>
                </a:cubicBezTo>
                <a:cubicBezTo>
                  <a:pt x="20" y="24"/>
                  <a:pt x="21" y="24"/>
                  <a:pt x="22" y="25"/>
                </a:cubicBezTo>
                <a:cubicBezTo>
                  <a:pt x="22" y="25"/>
                  <a:pt x="21" y="25"/>
                  <a:pt x="22" y="26"/>
                </a:cubicBezTo>
                <a:cubicBezTo>
                  <a:pt x="20" y="25"/>
                  <a:pt x="18" y="24"/>
                  <a:pt x="16" y="25"/>
                </a:cubicBezTo>
                <a:cubicBezTo>
                  <a:pt x="17" y="26"/>
                  <a:pt x="20" y="27"/>
                  <a:pt x="21" y="26"/>
                </a:cubicBezTo>
                <a:cubicBezTo>
                  <a:pt x="21" y="27"/>
                  <a:pt x="20" y="27"/>
                  <a:pt x="20" y="28"/>
                </a:cubicBezTo>
                <a:cubicBezTo>
                  <a:pt x="21" y="28"/>
                  <a:pt x="21" y="28"/>
                  <a:pt x="21" y="27"/>
                </a:cubicBezTo>
                <a:cubicBezTo>
                  <a:pt x="21" y="28"/>
                  <a:pt x="19" y="29"/>
                  <a:pt x="20" y="30"/>
                </a:cubicBezTo>
                <a:cubicBezTo>
                  <a:pt x="18" y="30"/>
                  <a:pt x="17" y="30"/>
                  <a:pt x="15" y="30"/>
                </a:cubicBezTo>
                <a:cubicBezTo>
                  <a:pt x="16" y="31"/>
                  <a:pt x="13" y="32"/>
                  <a:pt x="13" y="33"/>
                </a:cubicBezTo>
                <a:cubicBezTo>
                  <a:pt x="13" y="34"/>
                  <a:pt x="14" y="33"/>
                  <a:pt x="14" y="33"/>
                </a:cubicBezTo>
                <a:cubicBezTo>
                  <a:pt x="14" y="34"/>
                  <a:pt x="13" y="34"/>
                  <a:pt x="12" y="35"/>
                </a:cubicBezTo>
                <a:cubicBezTo>
                  <a:pt x="12" y="36"/>
                  <a:pt x="13" y="36"/>
                  <a:pt x="12" y="37"/>
                </a:cubicBezTo>
                <a:cubicBezTo>
                  <a:pt x="14" y="36"/>
                  <a:pt x="13" y="37"/>
                  <a:pt x="14" y="37"/>
                </a:cubicBezTo>
                <a:cubicBezTo>
                  <a:pt x="13" y="38"/>
                  <a:pt x="13" y="38"/>
                  <a:pt x="13" y="40"/>
                </a:cubicBezTo>
                <a:cubicBezTo>
                  <a:pt x="14" y="40"/>
                  <a:pt x="14" y="40"/>
                  <a:pt x="14" y="40"/>
                </a:cubicBezTo>
                <a:cubicBezTo>
                  <a:pt x="13" y="40"/>
                  <a:pt x="13" y="42"/>
                  <a:pt x="14" y="42"/>
                </a:cubicBezTo>
                <a:cubicBezTo>
                  <a:pt x="14" y="43"/>
                  <a:pt x="15" y="43"/>
                  <a:pt x="14" y="44"/>
                </a:cubicBezTo>
                <a:cubicBezTo>
                  <a:pt x="15" y="45"/>
                  <a:pt x="15" y="45"/>
                  <a:pt x="15" y="46"/>
                </a:cubicBezTo>
                <a:cubicBezTo>
                  <a:pt x="16" y="46"/>
                  <a:pt x="16" y="47"/>
                  <a:pt x="17" y="47"/>
                </a:cubicBezTo>
                <a:cubicBezTo>
                  <a:pt x="16" y="47"/>
                  <a:pt x="16" y="47"/>
                  <a:pt x="16" y="48"/>
                </a:cubicBezTo>
                <a:cubicBezTo>
                  <a:pt x="18" y="47"/>
                  <a:pt x="19" y="48"/>
                  <a:pt x="20" y="48"/>
                </a:cubicBezTo>
                <a:cubicBezTo>
                  <a:pt x="20" y="48"/>
                  <a:pt x="20" y="48"/>
                  <a:pt x="20" y="48"/>
                </a:cubicBezTo>
                <a:cubicBezTo>
                  <a:pt x="22" y="49"/>
                  <a:pt x="22" y="49"/>
                  <a:pt x="22" y="49"/>
                </a:cubicBezTo>
                <a:cubicBezTo>
                  <a:pt x="22" y="49"/>
                  <a:pt x="21" y="48"/>
                  <a:pt x="21" y="49"/>
                </a:cubicBezTo>
                <a:cubicBezTo>
                  <a:pt x="21" y="49"/>
                  <a:pt x="22" y="50"/>
                  <a:pt x="23" y="50"/>
                </a:cubicBezTo>
                <a:cubicBezTo>
                  <a:pt x="24" y="50"/>
                  <a:pt x="24" y="49"/>
                  <a:pt x="25" y="50"/>
                </a:cubicBezTo>
                <a:cubicBezTo>
                  <a:pt x="26" y="47"/>
                  <a:pt x="28" y="46"/>
                  <a:pt x="29" y="44"/>
                </a:cubicBezTo>
                <a:cubicBezTo>
                  <a:pt x="29" y="43"/>
                  <a:pt x="28" y="43"/>
                  <a:pt x="28" y="43"/>
                </a:cubicBezTo>
                <a:cubicBezTo>
                  <a:pt x="32" y="43"/>
                  <a:pt x="32" y="40"/>
                  <a:pt x="34" y="39"/>
                </a:cubicBezTo>
                <a:cubicBezTo>
                  <a:pt x="34" y="38"/>
                  <a:pt x="34" y="38"/>
                  <a:pt x="33" y="38"/>
                </a:cubicBezTo>
                <a:cubicBezTo>
                  <a:pt x="33" y="37"/>
                  <a:pt x="35" y="38"/>
                  <a:pt x="35" y="37"/>
                </a:cubicBezTo>
                <a:cubicBezTo>
                  <a:pt x="36" y="37"/>
                  <a:pt x="35" y="37"/>
                  <a:pt x="35" y="37"/>
                </a:cubicBezTo>
                <a:cubicBezTo>
                  <a:pt x="37" y="36"/>
                  <a:pt x="37" y="37"/>
                  <a:pt x="39" y="36"/>
                </a:cubicBezTo>
                <a:cubicBezTo>
                  <a:pt x="39" y="36"/>
                  <a:pt x="40" y="35"/>
                  <a:pt x="40" y="35"/>
                </a:cubicBezTo>
                <a:cubicBezTo>
                  <a:pt x="41" y="35"/>
                  <a:pt x="39" y="36"/>
                  <a:pt x="39" y="36"/>
                </a:cubicBezTo>
                <a:cubicBezTo>
                  <a:pt x="44" y="36"/>
                  <a:pt x="47" y="33"/>
                  <a:pt x="52" y="31"/>
                </a:cubicBezTo>
                <a:cubicBezTo>
                  <a:pt x="52" y="30"/>
                  <a:pt x="51" y="30"/>
                  <a:pt x="51" y="30"/>
                </a:cubicBezTo>
                <a:cubicBezTo>
                  <a:pt x="52" y="30"/>
                  <a:pt x="52" y="30"/>
                  <a:pt x="52" y="31"/>
                </a:cubicBezTo>
                <a:cubicBezTo>
                  <a:pt x="59" y="31"/>
                  <a:pt x="65" y="28"/>
                  <a:pt x="70" y="26"/>
                </a:cubicBezTo>
                <a:cubicBezTo>
                  <a:pt x="67" y="26"/>
                  <a:pt x="64" y="25"/>
                  <a:pt x="63" y="26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79" name="Freeform 54"/>
          <p:cNvSpPr>
            <a:spLocks/>
          </p:cNvSpPr>
          <p:nvPr/>
        </p:nvSpPr>
        <p:spPr bwMode="auto">
          <a:xfrm>
            <a:off x="4041775" y="4751388"/>
            <a:ext cx="20638" cy="7937"/>
          </a:xfrm>
          <a:custGeom>
            <a:avLst/>
            <a:gdLst>
              <a:gd name="T0" fmla="*/ 7 w 8"/>
              <a:gd name="T1" fmla="*/ 2 h 3"/>
              <a:gd name="T2" fmla="*/ 8 w 8"/>
              <a:gd name="T3" fmla="*/ 2 h 3"/>
              <a:gd name="T4" fmla="*/ 7 w 8"/>
              <a:gd name="T5" fmla="*/ 1 h 3"/>
              <a:gd name="T6" fmla="*/ 7 w 8"/>
              <a:gd name="T7" fmla="*/ 1 h 3"/>
              <a:gd name="T8" fmla="*/ 5 w 8"/>
              <a:gd name="T9" fmla="*/ 1 h 3"/>
              <a:gd name="T10" fmla="*/ 5 w 8"/>
              <a:gd name="T11" fmla="*/ 0 h 3"/>
              <a:gd name="T12" fmla="*/ 1 w 8"/>
              <a:gd name="T13" fmla="*/ 1 h 3"/>
              <a:gd name="T14" fmla="*/ 2 w 8"/>
              <a:gd name="T15" fmla="*/ 1 h 3"/>
              <a:gd name="T16" fmla="*/ 1 w 8"/>
              <a:gd name="T17" fmla="*/ 1 h 3"/>
              <a:gd name="T18" fmla="*/ 3 w 8"/>
              <a:gd name="T19" fmla="*/ 1 h 3"/>
              <a:gd name="T20" fmla="*/ 2 w 8"/>
              <a:gd name="T21" fmla="*/ 1 h 3"/>
              <a:gd name="T22" fmla="*/ 3 w 8"/>
              <a:gd name="T23" fmla="*/ 2 h 3"/>
              <a:gd name="T24" fmla="*/ 2 w 8"/>
              <a:gd name="T25" fmla="*/ 2 h 3"/>
              <a:gd name="T26" fmla="*/ 0 w 8"/>
              <a:gd name="T27" fmla="*/ 2 h 3"/>
              <a:gd name="T28" fmla="*/ 5 w 8"/>
              <a:gd name="T29" fmla="*/ 3 h 3"/>
              <a:gd name="T30" fmla="*/ 5 w 8"/>
              <a:gd name="T31" fmla="*/ 3 h 3"/>
              <a:gd name="T32" fmla="*/ 8 w 8"/>
              <a:gd name="T33" fmla="*/ 3 h 3"/>
              <a:gd name="T34" fmla="*/ 7 w 8"/>
              <a:gd name="T35" fmla="*/ 2 h 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8"/>
              <a:gd name="T55" fmla="*/ 0 h 3"/>
              <a:gd name="T56" fmla="*/ 8 w 8"/>
              <a:gd name="T57" fmla="*/ 3 h 3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8" h="3">
                <a:moveTo>
                  <a:pt x="7" y="2"/>
                </a:moveTo>
                <a:cubicBezTo>
                  <a:pt x="8" y="2"/>
                  <a:pt x="8" y="2"/>
                  <a:pt x="8" y="2"/>
                </a:cubicBezTo>
                <a:cubicBezTo>
                  <a:pt x="8" y="1"/>
                  <a:pt x="7" y="1"/>
                  <a:pt x="7" y="1"/>
                </a:cubicBezTo>
                <a:cubicBezTo>
                  <a:pt x="7" y="1"/>
                  <a:pt x="7" y="1"/>
                  <a:pt x="7" y="1"/>
                </a:cubicBezTo>
                <a:cubicBezTo>
                  <a:pt x="7" y="1"/>
                  <a:pt x="6" y="1"/>
                  <a:pt x="5" y="1"/>
                </a:cubicBezTo>
                <a:cubicBezTo>
                  <a:pt x="5" y="0"/>
                  <a:pt x="5" y="0"/>
                  <a:pt x="5" y="0"/>
                </a:cubicBezTo>
                <a:cubicBezTo>
                  <a:pt x="4" y="0"/>
                  <a:pt x="1" y="0"/>
                  <a:pt x="1" y="1"/>
                </a:cubicBezTo>
                <a:cubicBezTo>
                  <a:pt x="2" y="1"/>
                  <a:pt x="2" y="1"/>
                  <a:pt x="2" y="1"/>
                </a:cubicBezTo>
                <a:cubicBezTo>
                  <a:pt x="1" y="1"/>
                  <a:pt x="1" y="1"/>
                  <a:pt x="1" y="1"/>
                </a:cubicBezTo>
                <a:cubicBezTo>
                  <a:pt x="1" y="2"/>
                  <a:pt x="2" y="1"/>
                  <a:pt x="3" y="1"/>
                </a:cubicBezTo>
                <a:cubicBezTo>
                  <a:pt x="2" y="1"/>
                  <a:pt x="2" y="1"/>
                  <a:pt x="2" y="1"/>
                </a:cubicBezTo>
                <a:cubicBezTo>
                  <a:pt x="3" y="2"/>
                  <a:pt x="3" y="2"/>
                  <a:pt x="3" y="2"/>
                </a:cubicBezTo>
                <a:cubicBezTo>
                  <a:pt x="2" y="2"/>
                  <a:pt x="2" y="2"/>
                  <a:pt x="2" y="2"/>
                </a:cubicBezTo>
                <a:cubicBezTo>
                  <a:pt x="1" y="2"/>
                  <a:pt x="0" y="1"/>
                  <a:pt x="0" y="2"/>
                </a:cubicBezTo>
                <a:cubicBezTo>
                  <a:pt x="1" y="3"/>
                  <a:pt x="4" y="2"/>
                  <a:pt x="5" y="3"/>
                </a:cubicBezTo>
                <a:cubicBezTo>
                  <a:pt x="5" y="3"/>
                  <a:pt x="5" y="3"/>
                  <a:pt x="5" y="3"/>
                </a:cubicBezTo>
                <a:cubicBezTo>
                  <a:pt x="6" y="3"/>
                  <a:pt x="7" y="3"/>
                  <a:pt x="8" y="3"/>
                </a:cubicBezTo>
                <a:lnTo>
                  <a:pt x="7" y="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80" name="Freeform 55"/>
          <p:cNvSpPr>
            <a:spLocks/>
          </p:cNvSpPr>
          <p:nvPr/>
        </p:nvSpPr>
        <p:spPr bwMode="auto">
          <a:xfrm>
            <a:off x="4951413" y="5222875"/>
            <a:ext cx="15875" cy="28575"/>
          </a:xfrm>
          <a:custGeom>
            <a:avLst/>
            <a:gdLst>
              <a:gd name="T0" fmla="*/ 3 w 6"/>
              <a:gd name="T1" fmla="*/ 4 h 11"/>
              <a:gd name="T2" fmla="*/ 0 w 6"/>
              <a:gd name="T3" fmla="*/ 1 h 11"/>
              <a:gd name="T4" fmla="*/ 0 w 6"/>
              <a:gd name="T5" fmla="*/ 5 h 11"/>
              <a:gd name="T6" fmla="*/ 1 w 6"/>
              <a:gd name="T7" fmla="*/ 11 h 11"/>
              <a:gd name="T8" fmla="*/ 4 w 6"/>
              <a:gd name="T9" fmla="*/ 4 h 11"/>
              <a:gd name="T10" fmla="*/ 3 w 6"/>
              <a:gd name="T11" fmla="*/ 4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11"/>
              <a:gd name="T20" fmla="*/ 6 w 6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11">
                <a:moveTo>
                  <a:pt x="3" y="4"/>
                </a:moveTo>
                <a:cubicBezTo>
                  <a:pt x="3" y="3"/>
                  <a:pt x="1" y="0"/>
                  <a:pt x="0" y="1"/>
                </a:cubicBezTo>
                <a:cubicBezTo>
                  <a:pt x="1" y="1"/>
                  <a:pt x="0" y="4"/>
                  <a:pt x="0" y="5"/>
                </a:cubicBezTo>
                <a:cubicBezTo>
                  <a:pt x="0" y="7"/>
                  <a:pt x="0" y="9"/>
                  <a:pt x="1" y="11"/>
                </a:cubicBezTo>
                <a:cubicBezTo>
                  <a:pt x="5" y="11"/>
                  <a:pt x="6" y="7"/>
                  <a:pt x="4" y="4"/>
                </a:cubicBezTo>
                <a:lnTo>
                  <a:pt x="3" y="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81" name="Freeform 56"/>
          <p:cNvSpPr>
            <a:spLocks/>
          </p:cNvSpPr>
          <p:nvPr/>
        </p:nvSpPr>
        <p:spPr bwMode="auto">
          <a:xfrm>
            <a:off x="4059238" y="4762500"/>
            <a:ext cx="66675" cy="17463"/>
          </a:xfrm>
          <a:custGeom>
            <a:avLst/>
            <a:gdLst>
              <a:gd name="T0" fmla="*/ 9 w 24"/>
              <a:gd name="T1" fmla="*/ 5 h 7"/>
              <a:gd name="T2" fmla="*/ 8 w 24"/>
              <a:gd name="T3" fmla="*/ 6 h 7"/>
              <a:gd name="T4" fmla="*/ 17 w 24"/>
              <a:gd name="T5" fmla="*/ 5 h 7"/>
              <a:gd name="T6" fmla="*/ 17 w 24"/>
              <a:gd name="T7" fmla="*/ 6 h 7"/>
              <a:gd name="T8" fmla="*/ 23 w 24"/>
              <a:gd name="T9" fmla="*/ 5 h 7"/>
              <a:gd name="T10" fmla="*/ 23 w 24"/>
              <a:gd name="T11" fmla="*/ 5 h 7"/>
              <a:gd name="T12" fmla="*/ 24 w 24"/>
              <a:gd name="T13" fmla="*/ 4 h 7"/>
              <a:gd name="T14" fmla="*/ 22 w 24"/>
              <a:gd name="T15" fmla="*/ 4 h 7"/>
              <a:gd name="T16" fmla="*/ 22 w 24"/>
              <a:gd name="T17" fmla="*/ 3 h 7"/>
              <a:gd name="T18" fmla="*/ 14 w 24"/>
              <a:gd name="T19" fmla="*/ 4 h 7"/>
              <a:gd name="T20" fmla="*/ 11 w 24"/>
              <a:gd name="T21" fmla="*/ 4 h 7"/>
              <a:gd name="T22" fmla="*/ 10 w 24"/>
              <a:gd name="T23" fmla="*/ 3 h 7"/>
              <a:gd name="T24" fmla="*/ 9 w 24"/>
              <a:gd name="T25" fmla="*/ 4 h 7"/>
              <a:gd name="T26" fmla="*/ 10 w 24"/>
              <a:gd name="T27" fmla="*/ 3 h 7"/>
              <a:gd name="T28" fmla="*/ 9 w 24"/>
              <a:gd name="T29" fmla="*/ 3 h 7"/>
              <a:gd name="T30" fmla="*/ 11 w 24"/>
              <a:gd name="T31" fmla="*/ 2 h 7"/>
              <a:gd name="T32" fmla="*/ 9 w 24"/>
              <a:gd name="T33" fmla="*/ 2 h 7"/>
              <a:gd name="T34" fmla="*/ 10 w 24"/>
              <a:gd name="T35" fmla="*/ 2 h 7"/>
              <a:gd name="T36" fmla="*/ 6 w 24"/>
              <a:gd name="T37" fmla="*/ 2 h 7"/>
              <a:gd name="T38" fmla="*/ 1 w 24"/>
              <a:gd name="T39" fmla="*/ 1 h 7"/>
              <a:gd name="T40" fmla="*/ 0 w 24"/>
              <a:gd name="T41" fmla="*/ 1 h 7"/>
              <a:gd name="T42" fmla="*/ 1 w 24"/>
              <a:gd name="T43" fmla="*/ 2 h 7"/>
              <a:gd name="T44" fmla="*/ 5 w 24"/>
              <a:gd name="T45" fmla="*/ 2 h 7"/>
              <a:gd name="T46" fmla="*/ 5 w 24"/>
              <a:gd name="T47" fmla="*/ 3 h 7"/>
              <a:gd name="T48" fmla="*/ 3 w 24"/>
              <a:gd name="T49" fmla="*/ 5 h 7"/>
              <a:gd name="T50" fmla="*/ 9 w 24"/>
              <a:gd name="T51" fmla="*/ 5 h 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4"/>
              <a:gd name="T79" fmla="*/ 0 h 7"/>
              <a:gd name="T80" fmla="*/ 24 w 24"/>
              <a:gd name="T81" fmla="*/ 7 h 7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4" h="7">
                <a:moveTo>
                  <a:pt x="9" y="5"/>
                </a:moveTo>
                <a:cubicBezTo>
                  <a:pt x="9" y="6"/>
                  <a:pt x="8" y="5"/>
                  <a:pt x="8" y="6"/>
                </a:cubicBezTo>
                <a:cubicBezTo>
                  <a:pt x="10" y="6"/>
                  <a:pt x="15" y="7"/>
                  <a:pt x="17" y="5"/>
                </a:cubicBezTo>
                <a:cubicBezTo>
                  <a:pt x="17" y="6"/>
                  <a:pt x="17" y="6"/>
                  <a:pt x="17" y="6"/>
                </a:cubicBezTo>
                <a:cubicBezTo>
                  <a:pt x="19" y="6"/>
                  <a:pt x="22" y="5"/>
                  <a:pt x="23" y="5"/>
                </a:cubicBezTo>
                <a:cubicBezTo>
                  <a:pt x="23" y="5"/>
                  <a:pt x="23" y="5"/>
                  <a:pt x="23" y="5"/>
                </a:cubicBezTo>
                <a:cubicBezTo>
                  <a:pt x="23" y="5"/>
                  <a:pt x="24" y="5"/>
                  <a:pt x="24" y="4"/>
                </a:cubicBezTo>
                <a:cubicBezTo>
                  <a:pt x="23" y="4"/>
                  <a:pt x="23" y="3"/>
                  <a:pt x="22" y="4"/>
                </a:cubicBezTo>
                <a:cubicBezTo>
                  <a:pt x="22" y="3"/>
                  <a:pt x="22" y="3"/>
                  <a:pt x="22" y="3"/>
                </a:cubicBezTo>
                <a:cubicBezTo>
                  <a:pt x="19" y="3"/>
                  <a:pt x="16" y="3"/>
                  <a:pt x="14" y="4"/>
                </a:cubicBezTo>
                <a:cubicBezTo>
                  <a:pt x="12" y="4"/>
                  <a:pt x="12" y="3"/>
                  <a:pt x="11" y="4"/>
                </a:cubicBezTo>
                <a:cubicBezTo>
                  <a:pt x="10" y="3"/>
                  <a:pt x="10" y="3"/>
                  <a:pt x="10" y="3"/>
                </a:cubicBezTo>
                <a:cubicBezTo>
                  <a:pt x="10" y="3"/>
                  <a:pt x="10" y="4"/>
                  <a:pt x="9" y="4"/>
                </a:cubicBezTo>
                <a:cubicBezTo>
                  <a:pt x="9" y="3"/>
                  <a:pt x="10" y="4"/>
                  <a:pt x="10" y="3"/>
                </a:cubicBezTo>
                <a:cubicBezTo>
                  <a:pt x="9" y="3"/>
                  <a:pt x="9" y="3"/>
                  <a:pt x="9" y="3"/>
                </a:cubicBezTo>
                <a:cubicBezTo>
                  <a:pt x="10" y="3"/>
                  <a:pt x="11" y="3"/>
                  <a:pt x="11" y="2"/>
                </a:cubicBezTo>
                <a:cubicBezTo>
                  <a:pt x="10" y="2"/>
                  <a:pt x="10" y="2"/>
                  <a:pt x="9" y="2"/>
                </a:cubicBezTo>
                <a:cubicBezTo>
                  <a:pt x="10" y="2"/>
                  <a:pt x="10" y="2"/>
                  <a:pt x="10" y="2"/>
                </a:cubicBezTo>
                <a:cubicBezTo>
                  <a:pt x="8" y="1"/>
                  <a:pt x="7" y="2"/>
                  <a:pt x="6" y="2"/>
                </a:cubicBezTo>
                <a:cubicBezTo>
                  <a:pt x="6" y="1"/>
                  <a:pt x="1" y="0"/>
                  <a:pt x="1" y="1"/>
                </a:cubicBezTo>
                <a:cubicBezTo>
                  <a:pt x="1" y="1"/>
                  <a:pt x="0" y="1"/>
                  <a:pt x="0" y="1"/>
                </a:cubicBezTo>
                <a:cubicBezTo>
                  <a:pt x="1" y="1"/>
                  <a:pt x="1" y="2"/>
                  <a:pt x="1" y="2"/>
                </a:cubicBezTo>
                <a:cubicBezTo>
                  <a:pt x="3" y="2"/>
                  <a:pt x="4" y="3"/>
                  <a:pt x="5" y="2"/>
                </a:cubicBezTo>
                <a:cubicBezTo>
                  <a:pt x="5" y="3"/>
                  <a:pt x="5" y="3"/>
                  <a:pt x="5" y="3"/>
                </a:cubicBezTo>
                <a:cubicBezTo>
                  <a:pt x="4" y="4"/>
                  <a:pt x="3" y="4"/>
                  <a:pt x="3" y="5"/>
                </a:cubicBezTo>
                <a:cubicBezTo>
                  <a:pt x="5" y="6"/>
                  <a:pt x="7" y="6"/>
                  <a:pt x="9" y="5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82" name="Freeform 57"/>
          <p:cNvSpPr>
            <a:spLocks/>
          </p:cNvSpPr>
          <p:nvPr/>
        </p:nvSpPr>
        <p:spPr bwMode="auto">
          <a:xfrm>
            <a:off x="4341813" y="4824413"/>
            <a:ext cx="52387" cy="25400"/>
          </a:xfrm>
          <a:custGeom>
            <a:avLst/>
            <a:gdLst>
              <a:gd name="T0" fmla="*/ 19 w 19"/>
              <a:gd name="T1" fmla="*/ 2 h 9"/>
              <a:gd name="T2" fmla="*/ 18 w 19"/>
              <a:gd name="T3" fmla="*/ 2 h 9"/>
              <a:gd name="T4" fmla="*/ 17 w 19"/>
              <a:gd name="T5" fmla="*/ 2 h 9"/>
              <a:gd name="T6" fmla="*/ 17 w 19"/>
              <a:gd name="T7" fmla="*/ 1 h 9"/>
              <a:gd name="T8" fmla="*/ 16 w 19"/>
              <a:gd name="T9" fmla="*/ 1 h 9"/>
              <a:gd name="T10" fmla="*/ 17 w 19"/>
              <a:gd name="T11" fmla="*/ 1 h 9"/>
              <a:gd name="T12" fmla="*/ 15 w 19"/>
              <a:gd name="T13" fmla="*/ 0 h 9"/>
              <a:gd name="T14" fmla="*/ 14 w 19"/>
              <a:gd name="T15" fmla="*/ 0 h 9"/>
              <a:gd name="T16" fmla="*/ 14 w 19"/>
              <a:gd name="T17" fmla="*/ 1 h 9"/>
              <a:gd name="T18" fmla="*/ 12 w 19"/>
              <a:gd name="T19" fmla="*/ 2 h 9"/>
              <a:gd name="T20" fmla="*/ 11 w 19"/>
              <a:gd name="T21" fmla="*/ 1 h 9"/>
              <a:gd name="T22" fmla="*/ 11 w 19"/>
              <a:gd name="T23" fmla="*/ 2 h 9"/>
              <a:gd name="T24" fmla="*/ 10 w 19"/>
              <a:gd name="T25" fmla="*/ 1 h 9"/>
              <a:gd name="T26" fmla="*/ 9 w 19"/>
              <a:gd name="T27" fmla="*/ 1 h 9"/>
              <a:gd name="T28" fmla="*/ 9 w 19"/>
              <a:gd name="T29" fmla="*/ 2 h 9"/>
              <a:gd name="T30" fmla="*/ 7 w 19"/>
              <a:gd name="T31" fmla="*/ 1 h 9"/>
              <a:gd name="T32" fmla="*/ 7 w 19"/>
              <a:gd name="T33" fmla="*/ 2 h 9"/>
              <a:gd name="T34" fmla="*/ 6 w 19"/>
              <a:gd name="T35" fmla="*/ 2 h 9"/>
              <a:gd name="T36" fmla="*/ 5 w 19"/>
              <a:gd name="T37" fmla="*/ 3 h 9"/>
              <a:gd name="T38" fmla="*/ 5 w 19"/>
              <a:gd name="T39" fmla="*/ 2 h 9"/>
              <a:gd name="T40" fmla="*/ 6 w 19"/>
              <a:gd name="T41" fmla="*/ 1 h 9"/>
              <a:gd name="T42" fmla="*/ 3 w 19"/>
              <a:gd name="T43" fmla="*/ 1 h 9"/>
              <a:gd name="T44" fmla="*/ 3 w 19"/>
              <a:gd name="T45" fmla="*/ 1 h 9"/>
              <a:gd name="T46" fmla="*/ 2 w 19"/>
              <a:gd name="T47" fmla="*/ 1 h 9"/>
              <a:gd name="T48" fmla="*/ 1 w 19"/>
              <a:gd name="T49" fmla="*/ 2 h 9"/>
              <a:gd name="T50" fmla="*/ 1 w 19"/>
              <a:gd name="T51" fmla="*/ 2 h 9"/>
              <a:gd name="T52" fmla="*/ 1 w 19"/>
              <a:gd name="T53" fmla="*/ 2 h 9"/>
              <a:gd name="T54" fmla="*/ 0 w 19"/>
              <a:gd name="T55" fmla="*/ 3 h 9"/>
              <a:gd name="T56" fmla="*/ 4 w 19"/>
              <a:gd name="T57" fmla="*/ 3 h 9"/>
              <a:gd name="T58" fmla="*/ 3 w 19"/>
              <a:gd name="T59" fmla="*/ 3 h 9"/>
              <a:gd name="T60" fmla="*/ 3 w 19"/>
              <a:gd name="T61" fmla="*/ 4 h 9"/>
              <a:gd name="T62" fmla="*/ 0 w 19"/>
              <a:gd name="T63" fmla="*/ 4 h 9"/>
              <a:gd name="T64" fmla="*/ 3 w 19"/>
              <a:gd name="T65" fmla="*/ 4 h 9"/>
              <a:gd name="T66" fmla="*/ 4 w 19"/>
              <a:gd name="T67" fmla="*/ 5 h 9"/>
              <a:gd name="T68" fmla="*/ 4 w 19"/>
              <a:gd name="T69" fmla="*/ 6 h 9"/>
              <a:gd name="T70" fmla="*/ 2 w 19"/>
              <a:gd name="T71" fmla="*/ 6 h 9"/>
              <a:gd name="T72" fmla="*/ 2 w 19"/>
              <a:gd name="T73" fmla="*/ 7 h 9"/>
              <a:gd name="T74" fmla="*/ 11 w 19"/>
              <a:gd name="T75" fmla="*/ 7 h 9"/>
              <a:gd name="T76" fmla="*/ 19 w 19"/>
              <a:gd name="T77" fmla="*/ 3 h 9"/>
              <a:gd name="T78" fmla="*/ 19 w 19"/>
              <a:gd name="T79" fmla="*/ 2 h 9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9"/>
              <a:gd name="T121" fmla="*/ 0 h 9"/>
              <a:gd name="T122" fmla="*/ 19 w 19"/>
              <a:gd name="T123" fmla="*/ 9 h 9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9" h="9">
                <a:moveTo>
                  <a:pt x="19" y="2"/>
                </a:moveTo>
                <a:cubicBezTo>
                  <a:pt x="18" y="2"/>
                  <a:pt x="18" y="2"/>
                  <a:pt x="18" y="2"/>
                </a:cubicBezTo>
                <a:cubicBezTo>
                  <a:pt x="18" y="1"/>
                  <a:pt x="17" y="2"/>
                  <a:pt x="17" y="2"/>
                </a:cubicBezTo>
                <a:cubicBezTo>
                  <a:pt x="17" y="1"/>
                  <a:pt x="17" y="1"/>
                  <a:pt x="17" y="1"/>
                </a:cubicBezTo>
                <a:cubicBezTo>
                  <a:pt x="16" y="1"/>
                  <a:pt x="16" y="1"/>
                  <a:pt x="16" y="1"/>
                </a:cubicBezTo>
                <a:cubicBezTo>
                  <a:pt x="17" y="1"/>
                  <a:pt x="17" y="1"/>
                  <a:pt x="17" y="1"/>
                </a:cubicBezTo>
                <a:cubicBezTo>
                  <a:pt x="16" y="1"/>
                  <a:pt x="16" y="1"/>
                  <a:pt x="15" y="0"/>
                </a:cubicBezTo>
                <a:cubicBezTo>
                  <a:pt x="15" y="0"/>
                  <a:pt x="14" y="0"/>
                  <a:pt x="14" y="0"/>
                </a:cubicBezTo>
                <a:cubicBezTo>
                  <a:pt x="14" y="1"/>
                  <a:pt x="14" y="1"/>
                  <a:pt x="14" y="1"/>
                </a:cubicBezTo>
                <a:cubicBezTo>
                  <a:pt x="13" y="1"/>
                  <a:pt x="13" y="1"/>
                  <a:pt x="12" y="2"/>
                </a:cubicBezTo>
                <a:cubicBezTo>
                  <a:pt x="12" y="1"/>
                  <a:pt x="11" y="1"/>
                  <a:pt x="11" y="1"/>
                </a:cubicBezTo>
                <a:cubicBezTo>
                  <a:pt x="11" y="1"/>
                  <a:pt x="11" y="2"/>
                  <a:pt x="11" y="2"/>
                </a:cubicBezTo>
                <a:cubicBezTo>
                  <a:pt x="10" y="1"/>
                  <a:pt x="10" y="1"/>
                  <a:pt x="10" y="1"/>
                </a:cubicBezTo>
                <a:cubicBezTo>
                  <a:pt x="9" y="1"/>
                  <a:pt x="10" y="1"/>
                  <a:pt x="9" y="1"/>
                </a:cubicBezTo>
                <a:cubicBezTo>
                  <a:pt x="9" y="2"/>
                  <a:pt x="9" y="2"/>
                  <a:pt x="9" y="2"/>
                </a:cubicBezTo>
                <a:cubicBezTo>
                  <a:pt x="8" y="2"/>
                  <a:pt x="8" y="1"/>
                  <a:pt x="7" y="1"/>
                </a:cubicBezTo>
                <a:cubicBezTo>
                  <a:pt x="7" y="1"/>
                  <a:pt x="7" y="3"/>
                  <a:pt x="7" y="2"/>
                </a:cubicBezTo>
                <a:cubicBezTo>
                  <a:pt x="6" y="2"/>
                  <a:pt x="6" y="2"/>
                  <a:pt x="6" y="2"/>
                </a:cubicBezTo>
                <a:cubicBezTo>
                  <a:pt x="6" y="2"/>
                  <a:pt x="6" y="3"/>
                  <a:pt x="5" y="3"/>
                </a:cubicBezTo>
                <a:cubicBezTo>
                  <a:pt x="5" y="3"/>
                  <a:pt x="5" y="3"/>
                  <a:pt x="5" y="2"/>
                </a:cubicBezTo>
                <a:cubicBezTo>
                  <a:pt x="6" y="2"/>
                  <a:pt x="6" y="2"/>
                  <a:pt x="6" y="1"/>
                </a:cubicBezTo>
                <a:cubicBezTo>
                  <a:pt x="5" y="1"/>
                  <a:pt x="4" y="0"/>
                  <a:pt x="3" y="1"/>
                </a:cubicBezTo>
                <a:cubicBezTo>
                  <a:pt x="3" y="1"/>
                  <a:pt x="3" y="1"/>
                  <a:pt x="3" y="1"/>
                </a:cubicBezTo>
                <a:cubicBezTo>
                  <a:pt x="3" y="2"/>
                  <a:pt x="3" y="1"/>
                  <a:pt x="2" y="1"/>
                </a:cubicBezTo>
                <a:cubicBezTo>
                  <a:pt x="1" y="1"/>
                  <a:pt x="1" y="2"/>
                  <a:pt x="1" y="2"/>
                </a:cubicBezTo>
                <a:cubicBezTo>
                  <a:pt x="1" y="2"/>
                  <a:pt x="1" y="2"/>
                  <a:pt x="1" y="2"/>
                </a:cubicBezTo>
                <a:cubicBezTo>
                  <a:pt x="1" y="2"/>
                  <a:pt x="1" y="2"/>
                  <a:pt x="1" y="2"/>
                </a:cubicBezTo>
                <a:cubicBezTo>
                  <a:pt x="0" y="3"/>
                  <a:pt x="0" y="3"/>
                  <a:pt x="0" y="3"/>
                </a:cubicBezTo>
                <a:cubicBezTo>
                  <a:pt x="1" y="3"/>
                  <a:pt x="3" y="2"/>
                  <a:pt x="4" y="3"/>
                </a:cubicBezTo>
                <a:cubicBezTo>
                  <a:pt x="4" y="3"/>
                  <a:pt x="3" y="3"/>
                  <a:pt x="3" y="3"/>
                </a:cubicBezTo>
                <a:cubicBezTo>
                  <a:pt x="3" y="4"/>
                  <a:pt x="3" y="4"/>
                  <a:pt x="3" y="4"/>
                </a:cubicBezTo>
                <a:cubicBezTo>
                  <a:pt x="2" y="4"/>
                  <a:pt x="1" y="4"/>
                  <a:pt x="0" y="4"/>
                </a:cubicBezTo>
                <a:cubicBezTo>
                  <a:pt x="1" y="5"/>
                  <a:pt x="2" y="4"/>
                  <a:pt x="3" y="4"/>
                </a:cubicBezTo>
                <a:cubicBezTo>
                  <a:pt x="3" y="5"/>
                  <a:pt x="3" y="5"/>
                  <a:pt x="4" y="5"/>
                </a:cubicBezTo>
                <a:cubicBezTo>
                  <a:pt x="3" y="5"/>
                  <a:pt x="4" y="6"/>
                  <a:pt x="4" y="6"/>
                </a:cubicBezTo>
                <a:cubicBezTo>
                  <a:pt x="3" y="6"/>
                  <a:pt x="2" y="6"/>
                  <a:pt x="2" y="6"/>
                </a:cubicBezTo>
                <a:cubicBezTo>
                  <a:pt x="2" y="7"/>
                  <a:pt x="2" y="7"/>
                  <a:pt x="2" y="7"/>
                </a:cubicBezTo>
                <a:cubicBezTo>
                  <a:pt x="5" y="5"/>
                  <a:pt x="8" y="9"/>
                  <a:pt x="11" y="7"/>
                </a:cubicBezTo>
                <a:cubicBezTo>
                  <a:pt x="14" y="6"/>
                  <a:pt x="17" y="5"/>
                  <a:pt x="19" y="3"/>
                </a:cubicBezTo>
                <a:cubicBezTo>
                  <a:pt x="18" y="3"/>
                  <a:pt x="19" y="3"/>
                  <a:pt x="19" y="2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83" name="Freeform 58"/>
          <p:cNvSpPr>
            <a:spLocks/>
          </p:cNvSpPr>
          <p:nvPr/>
        </p:nvSpPr>
        <p:spPr bwMode="auto">
          <a:xfrm>
            <a:off x="4117975" y="4922838"/>
            <a:ext cx="36513" cy="36512"/>
          </a:xfrm>
          <a:custGeom>
            <a:avLst/>
            <a:gdLst>
              <a:gd name="T0" fmla="*/ 14 w 14"/>
              <a:gd name="T1" fmla="*/ 8 h 13"/>
              <a:gd name="T2" fmla="*/ 13 w 14"/>
              <a:gd name="T3" fmla="*/ 8 h 13"/>
              <a:gd name="T4" fmla="*/ 12 w 14"/>
              <a:gd name="T5" fmla="*/ 8 h 13"/>
              <a:gd name="T6" fmla="*/ 12 w 14"/>
              <a:gd name="T7" fmla="*/ 8 h 13"/>
              <a:gd name="T8" fmla="*/ 12 w 14"/>
              <a:gd name="T9" fmla="*/ 7 h 13"/>
              <a:gd name="T10" fmla="*/ 14 w 14"/>
              <a:gd name="T11" fmla="*/ 6 h 13"/>
              <a:gd name="T12" fmla="*/ 12 w 14"/>
              <a:gd name="T13" fmla="*/ 6 h 13"/>
              <a:gd name="T14" fmla="*/ 12 w 14"/>
              <a:gd name="T15" fmla="*/ 5 h 13"/>
              <a:gd name="T16" fmla="*/ 11 w 14"/>
              <a:gd name="T17" fmla="*/ 6 h 13"/>
              <a:gd name="T18" fmla="*/ 12 w 14"/>
              <a:gd name="T19" fmla="*/ 6 h 13"/>
              <a:gd name="T20" fmla="*/ 10 w 14"/>
              <a:gd name="T21" fmla="*/ 6 h 13"/>
              <a:gd name="T22" fmla="*/ 10 w 14"/>
              <a:gd name="T23" fmla="*/ 6 h 13"/>
              <a:gd name="T24" fmla="*/ 10 w 14"/>
              <a:gd name="T25" fmla="*/ 6 h 13"/>
              <a:gd name="T26" fmla="*/ 9 w 14"/>
              <a:gd name="T27" fmla="*/ 5 h 13"/>
              <a:gd name="T28" fmla="*/ 10 w 14"/>
              <a:gd name="T29" fmla="*/ 4 h 13"/>
              <a:gd name="T30" fmla="*/ 9 w 14"/>
              <a:gd name="T31" fmla="*/ 4 h 13"/>
              <a:gd name="T32" fmla="*/ 7 w 14"/>
              <a:gd name="T33" fmla="*/ 5 h 13"/>
              <a:gd name="T34" fmla="*/ 11 w 14"/>
              <a:gd name="T35" fmla="*/ 1 h 13"/>
              <a:gd name="T36" fmla="*/ 10 w 14"/>
              <a:gd name="T37" fmla="*/ 1 h 13"/>
              <a:gd name="T38" fmla="*/ 12 w 14"/>
              <a:gd name="T39" fmla="*/ 0 h 13"/>
              <a:gd name="T40" fmla="*/ 11 w 14"/>
              <a:gd name="T41" fmla="*/ 1 h 13"/>
              <a:gd name="T42" fmla="*/ 11 w 14"/>
              <a:gd name="T43" fmla="*/ 0 h 13"/>
              <a:gd name="T44" fmla="*/ 7 w 14"/>
              <a:gd name="T45" fmla="*/ 3 h 13"/>
              <a:gd name="T46" fmla="*/ 4 w 14"/>
              <a:gd name="T47" fmla="*/ 7 h 13"/>
              <a:gd name="T48" fmla="*/ 3 w 14"/>
              <a:gd name="T49" fmla="*/ 7 h 13"/>
              <a:gd name="T50" fmla="*/ 2 w 14"/>
              <a:gd name="T51" fmla="*/ 8 h 13"/>
              <a:gd name="T52" fmla="*/ 2 w 14"/>
              <a:gd name="T53" fmla="*/ 8 h 13"/>
              <a:gd name="T54" fmla="*/ 1 w 14"/>
              <a:gd name="T55" fmla="*/ 8 h 13"/>
              <a:gd name="T56" fmla="*/ 3 w 14"/>
              <a:gd name="T57" fmla="*/ 8 h 13"/>
              <a:gd name="T58" fmla="*/ 0 w 14"/>
              <a:gd name="T59" fmla="*/ 10 h 13"/>
              <a:gd name="T60" fmla="*/ 0 w 14"/>
              <a:gd name="T61" fmla="*/ 11 h 13"/>
              <a:gd name="T62" fmla="*/ 7 w 14"/>
              <a:gd name="T63" fmla="*/ 10 h 13"/>
              <a:gd name="T64" fmla="*/ 7 w 14"/>
              <a:gd name="T65" fmla="*/ 11 h 13"/>
              <a:gd name="T66" fmla="*/ 8 w 14"/>
              <a:gd name="T67" fmla="*/ 11 h 13"/>
              <a:gd name="T68" fmla="*/ 8 w 14"/>
              <a:gd name="T69" fmla="*/ 10 h 13"/>
              <a:gd name="T70" fmla="*/ 9 w 14"/>
              <a:gd name="T71" fmla="*/ 11 h 13"/>
              <a:gd name="T72" fmla="*/ 6 w 14"/>
              <a:gd name="T73" fmla="*/ 12 h 13"/>
              <a:gd name="T74" fmla="*/ 11 w 14"/>
              <a:gd name="T75" fmla="*/ 10 h 13"/>
              <a:gd name="T76" fmla="*/ 10 w 14"/>
              <a:gd name="T77" fmla="*/ 13 h 13"/>
              <a:gd name="T78" fmla="*/ 11 w 14"/>
              <a:gd name="T79" fmla="*/ 12 h 13"/>
              <a:gd name="T80" fmla="*/ 11 w 14"/>
              <a:gd name="T81" fmla="*/ 13 h 13"/>
              <a:gd name="T82" fmla="*/ 12 w 14"/>
              <a:gd name="T83" fmla="*/ 13 h 13"/>
              <a:gd name="T84" fmla="*/ 14 w 14"/>
              <a:gd name="T85" fmla="*/ 10 h 13"/>
              <a:gd name="T86" fmla="*/ 13 w 14"/>
              <a:gd name="T87" fmla="*/ 11 h 13"/>
              <a:gd name="T88" fmla="*/ 14 w 14"/>
              <a:gd name="T89" fmla="*/ 9 h 13"/>
              <a:gd name="T90" fmla="*/ 12 w 14"/>
              <a:gd name="T91" fmla="*/ 11 h 13"/>
              <a:gd name="T92" fmla="*/ 12 w 14"/>
              <a:gd name="T93" fmla="*/ 10 h 13"/>
              <a:gd name="T94" fmla="*/ 14 w 14"/>
              <a:gd name="T95" fmla="*/ 8 h 13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4"/>
              <a:gd name="T145" fmla="*/ 0 h 13"/>
              <a:gd name="T146" fmla="*/ 14 w 14"/>
              <a:gd name="T147" fmla="*/ 13 h 13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4" h="13">
                <a:moveTo>
                  <a:pt x="14" y="8"/>
                </a:moveTo>
                <a:cubicBezTo>
                  <a:pt x="14" y="8"/>
                  <a:pt x="13" y="8"/>
                  <a:pt x="13" y="8"/>
                </a:cubicBezTo>
                <a:cubicBezTo>
                  <a:pt x="12" y="8"/>
                  <a:pt x="12" y="8"/>
                  <a:pt x="12" y="8"/>
                </a:cubicBezTo>
                <a:cubicBezTo>
                  <a:pt x="13" y="8"/>
                  <a:pt x="13" y="8"/>
                  <a:pt x="12" y="8"/>
                </a:cubicBezTo>
                <a:cubicBezTo>
                  <a:pt x="12" y="7"/>
                  <a:pt x="12" y="7"/>
                  <a:pt x="12" y="7"/>
                </a:cubicBezTo>
                <a:cubicBezTo>
                  <a:pt x="13" y="7"/>
                  <a:pt x="13" y="7"/>
                  <a:pt x="14" y="6"/>
                </a:cubicBezTo>
                <a:cubicBezTo>
                  <a:pt x="13" y="6"/>
                  <a:pt x="12" y="6"/>
                  <a:pt x="12" y="6"/>
                </a:cubicBezTo>
                <a:cubicBezTo>
                  <a:pt x="12" y="5"/>
                  <a:pt x="12" y="5"/>
                  <a:pt x="12" y="5"/>
                </a:cubicBezTo>
                <a:cubicBezTo>
                  <a:pt x="11" y="6"/>
                  <a:pt x="11" y="5"/>
                  <a:pt x="11" y="6"/>
                </a:cubicBezTo>
                <a:cubicBezTo>
                  <a:pt x="12" y="6"/>
                  <a:pt x="12" y="6"/>
                  <a:pt x="12" y="6"/>
                </a:cubicBezTo>
                <a:cubicBezTo>
                  <a:pt x="11" y="6"/>
                  <a:pt x="11" y="6"/>
                  <a:pt x="10" y="6"/>
                </a:cubicBezTo>
                <a:cubicBezTo>
                  <a:pt x="10" y="6"/>
                  <a:pt x="11" y="6"/>
                  <a:pt x="10" y="6"/>
                </a:cubicBezTo>
                <a:cubicBezTo>
                  <a:pt x="10" y="5"/>
                  <a:pt x="10" y="6"/>
                  <a:pt x="10" y="6"/>
                </a:cubicBezTo>
                <a:cubicBezTo>
                  <a:pt x="10" y="5"/>
                  <a:pt x="9" y="6"/>
                  <a:pt x="9" y="5"/>
                </a:cubicBezTo>
                <a:cubicBezTo>
                  <a:pt x="9" y="5"/>
                  <a:pt x="10" y="5"/>
                  <a:pt x="10" y="4"/>
                </a:cubicBezTo>
                <a:cubicBezTo>
                  <a:pt x="10" y="5"/>
                  <a:pt x="9" y="4"/>
                  <a:pt x="9" y="4"/>
                </a:cubicBezTo>
                <a:cubicBezTo>
                  <a:pt x="8" y="4"/>
                  <a:pt x="8" y="5"/>
                  <a:pt x="7" y="5"/>
                </a:cubicBezTo>
                <a:cubicBezTo>
                  <a:pt x="8" y="4"/>
                  <a:pt x="10" y="3"/>
                  <a:pt x="11" y="1"/>
                </a:cubicBezTo>
                <a:cubicBezTo>
                  <a:pt x="10" y="1"/>
                  <a:pt x="10" y="1"/>
                  <a:pt x="10" y="1"/>
                </a:cubicBezTo>
                <a:cubicBezTo>
                  <a:pt x="11" y="1"/>
                  <a:pt x="12" y="1"/>
                  <a:pt x="12" y="0"/>
                </a:cubicBezTo>
                <a:cubicBezTo>
                  <a:pt x="11" y="0"/>
                  <a:pt x="11" y="1"/>
                  <a:pt x="11" y="1"/>
                </a:cubicBezTo>
                <a:cubicBezTo>
                  <a:pt x="11" y="0"/>
                  <a:pt x="11" y="0"/>
                  <a:pt x="11" y="0"/>
                </a:cubicBezTo>
                <a:cubicBezTo>
                  <a:pt x="9" y="1"/>
                  <a:pt x="8" y="2"/>
                  <a:pt x="7" y="3"/>
                </a:cubicBezTo>
                <a:cubicBezTo>
                  <a:pt x="7" y="4"/>
                  <a:pt x="4" y="5"/>
                  <a:pt x="4" y="7"/>
                </a:cubicBezTo>
                <a:cubicBezTo>
                  <a:pt x="3" y="7"/>
                  <a:pt x="3" y="7"/>
                  <a:pt x="3" y="7"/>
                </a:cubicBezTo>
                <a:cubicBezTo>
                  <a:pt x="3" y="7"/>
                  <a:pt x="3" y="8"/>
                  <a:pt x="2" y="8"/>
                </a:cubicBezTo>
                <a:cubicBezTo>
                  <a:pt x="2" y="8"/>
                  <a:pt x="3" y="8"/>
                  <a:pt x="2" y="8"/>
                </a:cubicBezTo>
                <a:cubicBezTo>
                  <a:pt x="2" y="8"/>
                  <a:pt x="1" y="8"/>
                  <a:pt x="1" y="8"/>
                </a:cubicBezTo>
                <a:cubicBezTo>
                  <a:pt x="2" y="8"/>
                  <a:pt x="3" y="8"/>
                  <a:pt x="3" y="8"/>
                </a:cubicBezTo>
                <a:cubicBezTo>
                  <a:pt x="2" y="9"/>
                  <a:pt x="1" y="9"/>
                  <a:pt x="0" y="10"/>
                </a:cubicBezTo>
                <a:cubicBezTo>
                  <a:pt x="0" y="11"/>
                  <a:pt x="0" y="11"/>
                  <a:pt x="0" y="11"/>
                </a:cubicBezTo>
                <a:cubicBezTo>
                  <a:pt x="3" y="10"/>
                  <a:pt x="6" y="11"/>
                  <a:pt x="7" y="10"/>
                </a:cubicBezTo>
                <a:cubicBezTo>
                  <a:pt x="7" y="11"/>
                  <a:pt x="6" y="11"/>
                  <a:pt x="7" y="11"/>
                </a:cubicBezTo>
                <a:cubicBezTo>
                  <a:pt x="7" y="11"/>
                  <a:pt x="7" y="11"/>
                  <a:pt x="8" y="11"/>
                </a:cubicBezTo>
                <a:cubicBezTo>
                  <a:pt x="8" y="10"/>
                  <a:pt x="8" y="10"/>
                  <a:pt x="8" y="10"/>
                </a:cubicBezTo>
                <a:cubicBezTo>
                  <a:pt x="9" y="11"/>
                  <a:pt x="9" y="11"/>
                  <a:pt x="9" y="11"/>
                </a:cubicBezTo>
                <a:cubicBezTo>
                  <a:pt x="8" y="11"/>
                  <a:pt x="7" y="12"/>
                  <a:pt x="6" y="12"/>
                </a:cubicBezTo>
                <a:cubicBezTo>
                  <a:pt x="8" y="13"/>
                  <a:pt x="10" y="11"/>
                  <a:pt x="11" y="10"/>
                </a:cubicBezTo>
                <a:cubicBezTo>
                  <a:pt x="12" y="11"/>
                  <a:pt x="10" y="12"/>
                  <a:pt x="10" y="13"/>
                </a:cubicBezTo>
                <a:cubicBezTo>
                  <a:pt x="10" y="13"/>
                  <a:pt x="11" y="12"/>
                  <a:pt x="11" y="12"/>
                </a:cubicBezTo>
                <a:cubicBezTo>
                  <a:pt x="11" y="13"/>
                  <a:pt x="11" y="13"/>
                  <a:pt x="11" y="13"/>
                </a:cubicBezTo>
                <a:cubicBezTo>
                  <a:pt x="12" y="13"/>
                  <a:pt x="12" y="13"/>
                  <a:pt x="12" y="13"/>
                </a:cubicBezTo>
                <a:cubicBezTo>
                  <a:pt x="13" y="12"/>
                  <a:pt x="14" y="11"/>
                  <a:pt x="14" y="10"/>
                </a:cubicBezTo>
                <a:cubicBezTo>
                  <a:pt x="13" y="10"/>
                  <a:pt x="13" y="11"/>
                  <a:pt x="13" y="11"/>
                </a:cubicBezTo>
                <a:cubicBezTo>
                  <a:pt x="13" y="10"/>
                  <a:pt x="14" y="10"/>
                  <a:pt x="14" y="9"/>
                </a:cubicBezTo>
                <a:cubicBezTo>
                  <a:pt x="13" y="9"/>
                  <a:pt x="12" y="10"/>
                  <a:pt x="12" y="11"/>
                </a:cubicBezTo>
                <a:cubicBezTo>
                  <a:pt x="12" y="10"/>
                  <a:pt x="12" y="10"/>
                  <a:pt x="12" y="10"/>
                </a:cubicBezTo>
                <a:cubicBezTo>
                  <a:pt x="12" y="9"/>
                  <a:pt x="13" y="9"/>
                  <a:pt x="14" y="8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84" name="Freeform 59"/>
          <p:cNvSpPr>
            <a:spLocks/>
          </p:cNvSpPr>
          <p:nvPr/>
        </p:nvSpPr>
        <p:spPr bwMode="auto">
          <a:xfrm>
            <a:off x="4873625" y="4751388"/>
            <a:ext cx="23813" cy="7937"/>
          </a:xfrm>
          <a:custGeom>
            <a:avLst/>
            <a:gdLst>
              <a:gd name="T0" fmla="*/ 8 w 8"/>
              <a:gd name="T1" fmla="*/ 2 h 3"/>
              <a:gd name="T2" fmla="*/ 2 w 8"/>
              <a:gd name="T3" fmla="*/ 1 h 3"/>
              <a:gd name="T4" fmla="*/ 2 w 8"/>
              <a:gd name="T5" fmla="*/ 0 h 3"/>
              <a:gd name="T6" fmla="*/ 0 w 8"/>
              <a:gd name="T7" fmla="*/ 0 h 3"/>
              <a:gd name="T8" fmla="*/ 0 w 8"/>
              <a:gd name="T9" fmla="*/ 3 h 3"/>
              <a:gd name="T10" fmla="*/ 8 w 8"/>
              <a:gd name="T11" fmla="*/ 2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3"/>
              <a:gd name="T20" fmla="*/ 8 w 8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3">
                <a:moveTo>
                  <a:pt x="8" y="2"/>
                </a:moveTo>
                <a:cubicBezTo>
                  <a:pt x="6" y="1"/>
                  <a:pt x="4" y="0"/>
                  <a:pt x="2" y="1"/>
                </a:cubicBezTo>
                <a:cubicBezTo>
                  <a:pt x="2" y="1"/>
                  <a:pt x="2" y="1"/>
                  <a:pt x="2" y="0"/>
                </a:cubicBezTo>
                <a:cubicBezTo>
                  <a:pt x="1" y="0"/>
                  <a:pt x="1" y="0"/>
                  <a:pt x="0" y="0"/>
                </a:cubicBezTo>
                <a:cubicBezTo>
                  <a:pt x="0" y="1"/>
                  <a:pt x="0" y="2"/>
                  <a:pt x="0" y="3"/>
                </a:cubicBezTo>
                <a:cubicBezTo>
                  <a:pt x="2" y="3"/>
                  <a:pt x="6" y="3"/>
                  <a:pt x="8" y="2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85" name="Freeform 60"/>
          <p:cNvSpPr>
            <a:spLocks/>
          </p:cNvSpPr>
          <p:nvPr/>
        </p:nvSpPr>
        <p:spPr bwMode="auto">
          <a:xfrm>
            <a:off x="3881438" y="4851400"/>
            <a:ext cx="1587" cy="3175"/>
          </a:xfrm>
          <a:custGeom>
            <a:avLst/>
            <a:gdLst>
              <a:gd name="T0" fmla="*/ 1 w 1"/>
              <a:gd name="T1" fmla="*/ 0 h 1"/>
              <a:gd name="T2" fmla="*/ 1 w 1"/>
              <a:gd name="T3" fmla="*/ 0 h 1"/>
              <a:gd name="T4" fmla="*/ 0 w 1"/>
              <a:gd name="T5" fmla="*/ 1 h 1"/>
              <a:gd name="T6" fmla="*/ 1 w 1"/>
              <a:gd name="T7" fmla="*/ 1 h 1"/>
              <a:gd name="T8" fmla="*/ 1 w 1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"/>
              <a:gd name="T16" fmla="*/ 0 h 1"/>
              <a:gd name="T17" fmla="*/ 1 w 1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" h="1">
                <a:moveTo>
                  <a:pt x="1" y="0"/>
                </a:moveTo>
                <a:cubicBezTo>
                  <a:pt x="1" y="0"/>
                  <a:pt x="1" y="0"/>
                  <a:pt x="1" y="0"/>
                </a:cubicBezTo>
                <a:cubicBezTo>
                  <a:pt x="1" y="0"/>
                  <a:pt x="1" y="1"/>
                  <a:pt x="0" y="1"/>
                </a:cubicBezTo>
                <a:cubicBezTo>
                  <a:pt x="1" y="1"/>
                  <a:pt x="1" y="1"/>
                  <a:pt x="1" y="1"/>
                </a:cubicBezTo>
                <a:cubicBezTo>
                  <a:pt x="1" y="1"/>
                  <a:pt x="1" y="0"/>
                  <a:pt x="1" y="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86" name="Freeform 61"/>
          <p:cNvSpPr>
            <a:spLocks noEditPoints="1"/>
          </p:cNvSpPr>
          <p:nvPr/>
        </p:nvSpPr>
        <p:spPr bwMode="auto">
          <a:xfrm>
            <a:off x="3810000" y="4778375"/>
            <a:ext cx="414338" cy="915988"/>
          </a:xfrm>
          <a:custGeom>
            <a:avLst/>
            <a:gdLst>
              <a:gd name="T0" fmla="*/ 95 w 151"/>
              <a:gd name="T1" fmla="*/ 321 h 334"/>
              <a:gd name="T2" fmla="*/ 97 w 151"/>
              <a:gd name="T3" fmla="*/ 300 h 334"/>
              <a:gd name="T4" fmla="*/ 104 w 151"/>
              <a:gd name="T5" fmla="*/ 278 h 334"/>
              <a:gd name="T6" fmla="*/ 122 w 151"/>
              <a:gd name="T7" fmla="*/ 255 h 334"/>
              <a:gd name="T8" fmla="*/ 136 w 151"/>
              <a:gd name="T9" fmla="*/ 248 h 334"/>
              <a:gd name="T10" fmla="*/ 130 w 151"/>
              <a:gd name="T11" fmla="*/ 195 h 334"/>
              <a:gd name="T12" fmla="*/ 124 w 151"/>
              <a:gd name="T13" fmla="*/ 191 h 334"/>
              <a:gd name="T14" fmla="*/ 113 w 151"/>
              <a:gd name="T15" fmla="*/ 189 h 334"/>
              <a:gd name="T16" fmla="*/ 114 w 151"/>
              <a:gd name="T17" fmla="*/ 183 h 334"/>
              <a:gd name="T18" fmla="*/ 89 w 151"/>
              <a:gd name="T19" fmla="*/ 163 h 334"/>
              <a:gd name="T20" fmla="*/ 70 w 151"/>
              <a:gd name="T21" fmla="*/ 158 h 334"/>
              <a:gd name="T22" fmla="*/ 48 w 151"/>
              <a:gd name="T23" fmla="*/ 164 h 334"/>
              <a:gd name="T24" fmla="*/ 30 w 151"/>
              <a:gd name="T25" fmla="*/ 147 h 334"/>
              <a:gd name="T26" fmla="*/ 33 w 151"/>
              <a:gd name="T27" fmla="*/ 132 h 334"/>
              <a:gd name="T28" fmla="*/ 11 w 151"/>
              <a:gd name="T29" fmla="*/ 124 h 334"/>
              <a:gd name="T30" fmla="*/ 16 w 151"/>
              <a:gd name="T31" fmla="*/ 114 h 334"/>
              <a:gd name="T32" fmla="*/ 28 w 151"/>
              <a:gd name="T33" fmla="*/ 111 h 334"/>
              <a:gd name="T34" fmla="*/ 30 w 151"/>
              <a:gd name="T35" fmla="*/ 109 h 334"/>
              <a:gd name="T36" fmla="*/ 47 w 151"/>
              <a:gd name="T37" fmla="*/ 118 h 334"/>
              <a:gd name="T38" fmla="*/ 65 w 151"/>
              <a:gd name="T39" fmla="*/ 97 h 334"/>
              <a:gd name="T40" fmla="*/ 66 w 151"/>
              <a:gd name="T41" fmla="*/ 91 h 334"/>
              <a:gd name="T42" fmla="*/ 68 w 151"/>
              <a:gd name="T43" fmla="*/ 91 h 334"/>
              <a:gd name="T44" fmla="*/ 83 w 151"/>
              <a:gd name="T45" fmla="*/ 79 h 334"/>
              <a:gd name="T46" fmla="*/ 90 w 151"/>
              <a:gd name="T47" fmla="*/ 72 h 334"/>
              <a:gd name="T48" fmla="*/ 94 w 151"/>
              <a:gd name="T49" fmla="*/ 74 h 334"/>
              <a:gd name="T50" fmla="*/ 105 w 151"/>
              <a:gd name="T51" fmla="*/ 68 h 334"/>
              <a:gd name="T52" fmla="*/ 88 w 151"/>
              <a:gd name="T53" fmla="*/ 65 h 334"/>
              <a:gd name="T54" fmla="*/ 122 w 151"/>
              <a:gd name="T55" fmla="*/ 48 h 334"/>
              <a:gd name="T56" fmla="*/ 119 w 151"/>
              <a:gd name="T57" fmla="*/ 43 h 334"/>
              <a:gd name="T58" fmla="*/ 118 w 151"/>
              <a:gd name="T59" fmla="*/ 36 h 334"/>
              <a:gd name="T60" fmla="*/ 114 w 151"/>
              <a:gd name="T61" fmla="*/ 34 h 334"/>
              <a:gd name="T62" fmla="*/ 105 w 151"/>
              <a:gd name="T63" fmla="*/ 30 h 334"/>
              <a:gd name="T64" fmla="*/ 80 w 151"/>
              <a:gd name="T65" fmla="*/ 47 h 334"/>
              <a:gd name="T66" fmla="*/ 59 w 151"/>
              <a:gd name="T67" fmla="*/ 40 h 334"/>
              <a:gd name="T68" fmla="*/ 71 w 151"/>
              <a:gd name="T69" fmla="*/ 23 h 334"/>
              <a:gd name="T70" fmla="*/ 90 w 151"/>
              <a:gd name="T71" fmla="*/ 18 h 334"/>
              <a:gd name="T72" fmla="*/ 99 w 151"/>
              <a:gd name="T73" fmla="*/ 10 h 334"/>
              <a:gd name="T74" fmla="*/ 87 w 151"/>
              <a:gd name="T75" fmla="*/ 14 h 334"/>
              <a:gd name="T76" fmla="*/ 85 w 151"/>
              <a:gd name="T77" fmla="*/ 6 h 334"/>
              <a:gd name="T78" fmla="*/ 79 w 151"/>
              <a:gd name="T79" fmla="*/ 10 h 334"/>
              <a:gd name="T80" fmla="*/ 72 w 151"/>
              <a:gd name="T81" fmla="*/ 11 h 334"/>
              <a:gd name="T82" fmla="*/ 58 w 151"/>
              <a:gd name="T83" fmla="*/ 13 h 334"/>
              <a:gd name="T84" fmla="*/ 51 w 151"/>
              <a:gd name="T85" fmla="*/ 15 h 334"/>
              <a:gd name="T86" fmla="*/ 5 w 151"/>
              <a:gd name="T87" fmla="*/ 145 h 334"/>
              <a:gd name="T88" fmla="*/ 33 w 151"/>
              <a:gd name="T89" fmla="*/ 160 h 334"/>
              <a:gd name="T90" fmla="*/ 41 w 151"/>
              <a:gd name="T91" fmla="*/ 167 h 334"/>
              <a:gd name="T92" fmla="*/ 51 w 151"/>
              <a:gd name="T93" fmla="*/ 174 h 334"/>
              <a:gd name="T94" fmla="*/ 43 w 151"/>
              <a:gd name="T95" fmla="*/ 194 h 334"/>
              <a:gd name="T96" fmla="*/ 72 w 151"/>
              <a:gd name="T97" fmla="*/ 249 h 334"/>
              <a:gd name="T98" fmla="*/ 77 w 151"/>
              <a:gd name="T99" fmla="*/ 302 h 334"/>
              <a:gd name="T100" fmla="*/ 79 w 151"/>
              <a:gd name="T101" fmla="*/ 300 h 334"/>
              <a:gd name="T102" fmla="*/ 79 w 151"/>
              <a:gd name="T103" fmla="*/ 307 h 334"/>
              <a:gd name="T104" fmla="*/ 82 w 151"/>
              <a:gd name="T105" fmla="*/ 312 h 334"/>
              <a:gd name="T106" fmla="*/ 81 w 151"/>
              <a:gd name="T107" fmla="*/ 317 h 334"/>
              <a:gd name="T108" fmla="*/ 66 w 151"/>
              <a:gd name="T109" fmla="*/ 72 h 334"/>
              <a:gd name="T110" fmla="*/ 53 w 151"/>
              <a:gd name="T111" fmla="*/ 70 h 334"/>
              <a:gd name="T112" fmla="*/ 52 w 151"/>
              <a:gd name="T113" fmla="*/ 62 h 334"/>
              <a:gd name="T114" fmla="*/ 60 w 151"/>
              <a:gd name="T115" fmla="*/ 66 h 334"/>
              <a:gd name="T116" fmla="*/ 42 w 151"/>
              <a:gd name="T117" fmla="*/ 53 h 3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51"/>
              <a:gd name="T178" fmla="*/ 0 h 334"/>
              <a:gd name="T179" fmla="*/ 151 w 151"/>
              <a:gd name="T180" fmla="*/ 334 h 33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51" h="334">
                <a:moveTo>
                  <a:pt x="102" y="332"/>
                </a:moveTo>
                <a:cubicBezTo>
                  <a:pt x="102" y="333"/>
                  <a:pt x="102" y="332"/>
                  <a:pt x="102" y="332"/>
                </a:cubicBezTo>
                <a:cubicBezTo>
                  <a:pt x="103" y="333"/>
                  <a:pt x="104" y="333"/>
                  <a:pt x="104" y="333"/>
                </a:cubicBezTo>
                <a:cubicBezTo>
                  <a:pt x="104" y="333"/>
                  <a:pt x="104" y="333"/>
                  <a:pt x="105" y="333"/>
                </a:cubicBezTo>
                <a:cubicBezTo>
                  <a:pt x="105" y="333"/>
                  <a:pt x="104" y="332"/>
                  <a:pt x="105" y="332"/>
                </a:cubicBezTo>
                <a:cubicBezTo>
                  <a:pt x="106" y="333"/>
                  <a:pt x="107" y="332"/>
                  <a:pt x="108" y="332"/>
                </a:cubicBezTo>
                <a:cubicBezTo>
                  <a:pt x="108" y="332"/>
                  <a:pt x="108" y="332"/>
                  <a:pt x="108" y="331"/>
                </a:cubicBezTo>
                <a:cubicBezTo>
                  <a:pt x="105" y="331"/>
                  <a:pt x="102" y="329"/>
                  <a:pt x="100" y="327"/>
                </a:cubicBezTo>
                <a:cubicBezTo>
                  <a:pt x="100" y="327"/>
                  <a:pt x="100" y="327"/>
                  <a:pt x="100" y="327"/>
                </a:cubicBezTo>
                <a:cubicBezTo>
                  <a:pt x="100" y="327"/>
                  <a:pt x="99" y="326"/>
                  <a:pt x="98" y="326"/>
                </a:cubicBezTo>
                <a:cubicBezTo>
                  <a:pt x="98" y="327"/>
                  <a:pt x="97" y="326"/>
                  <a:pt x="97" y="325"/>
                </a:cubicBezTo>
                <a:cubicBezTo>
                  <a:pt x="98" y="325"/>
                  <a:pt x="98" y="326"/>
                  <a:pt x="99" y="326"/>
                </a:cubicBezTo>
                <a:cubicBezTo>
                  <a:pt x="98" y="324"/>
                  <a:pt x="96" y="323"/>
                  <a:pt x="95" y="321"/>
                </a:cubicBezTo>
                <a:cubicBezTo>
                  <a:pt x="97" y="320"/>
                  <a:pt x="98" y="319"/>
                  <a:pt x="97" y="318"/>
                </a:cubicBezTo>
                <a:cubicBezTo>
                  <a:pt x="97" y="316"/>
                  <a:pt x="99" y="315"/>
                  <a:pt x="99" y="314"/>
                </a:cubicBezTo>
                <a:cubicBezTo>
                  <a:pt x="99" y="311"/>
                  <a:pt x="92" y="312"/>
                  <a:pt x="94" y="307"/>
                </a:cubicBezTo>
                <a:cubicBezTo>
                  <a:pt x="95" y="307"/>
                  <a:pt x="95" y="306"/>
                  <a:pt x="97" y="307"/>
                </a:cubicBezTo>
                <a:cubicBezTo>
                  <a:pt x="97" y="306"/>
                  <a:pt x="96" y="307"/>
                  <a:pt x="96" y="306"/>
                </a:cubicBezTo>
                <a:cubicBezTo>
                  <a:pt x="98" y="305"/>
                  <a:pt x="97" y="304"/>
                  <a:pt x="96" y="303"/>
                </a:cubicBezTo>
                <a:cubicBezTo>
                  <a:pt x="96" y="302"/>
                  <a:pt x="97" y="302"/>
                  <a:pt x="98" y="301"/>
                </a:cubicBezTo>
                <a:cubicBezTo>
                  <a:pt x="97" y="301"/>
                  <a:pt x="96" y="301"/>
                  <a:pt x="96" y="301"/>
                </a:cubicBezTo>
                <a:cubicBezTo>
                  <a:pt x="96" y="301"/>
                  <a:pt x="97" y="300"/>
                  <a:pt x="97" y="300"/>
                </a:cubicBezTo>
                <a:cubicBezTo>
                  <a:pt x="98" y="301"/>
                  <a:pt x="98" y="301"/>
                  <a:pt x="98" y="301"/>
                </a:cubicBezTo>
                <a:cubicBezTo>
                  <a:pt x="98" y="301"/>
                  <a:pt x="99" y="301"/>
                  <a:pt x="99" y="301"/>
                </a:cubicBezTo>
                <a:cubicBezTo>
                  <a:pt x="99" y="300"/>
                  <a:pt x="99" y="300"/>
                  <a:pt x="98" y="299"/>
                </a:cubicBezTo>
                <a:cubicBezTo>
                  <a:pt x="97" y="300"/>
                  <a:pt x="97" y="300"/>
                  <a:pt x="97" y="300"/>
                </a:cubicBezTo>
                <a:cubicBezTo>
                  <a:pt x="97" y="300"/>
                  <a:pt x="98" y="300"/>
                  <a:pt x="98" y="300"/>
                </a:cubicBezTo>
                <a:cubicBezTo>
                  <a:pt x="97" y="300"/>
                  <a:pt x="97" y="300"/>
                  <a:pt x="97" y="300"/>
                </a:cubicBezTo>
                <a:cubicBezTo>
                  <a:pt x="97" y="300"/>
                  <a:pt x="97" y="300"/>
                  <a:pt x="97" y="300"/>
                </a:cubicBezTo>
                <a:cubicBezTo>
                  <a:pt x="95" y="299"/>
                  <a:pt x="94" y="297"/>
                  <a:pt x="95" y="296"/>
                </a:cubicBezTo>
                <a:cubicBezTo>
                  <a:pt x="95" y="296"/>
                  <a:pt x="100" y="298"/>
                  <a:pt x="100" y="296"/>
                </a:cubicBezTo>
                <a:cubicBezTo>
                  <a:pt x="100" y="295"/>
                  <a:pt x="100" y="295"/>
                  <a:pt x="99" y="295"/>
                </a:cubicBezTo>
                <a:cubicBezTo>
                  <a:pt x="100" y="294"/>
                  <a:pt x="99" y="294"/>
                  <a:pt x="99" y="293"/>
                </a:cubicBezTo>
                <a:cubicBezTo>
                  <a:pt x="100" y="293"/>
                  <a:pt x="100" y="293"/>
                  <a:pt x="100" y="293"/>
                </a:cubicBezTo>
                <a:cubicBezTo>
                  <a:pt x="100" y="292"/>
                  <a:pt x="98" y="292"/>
                  <a:pt x="98" y="291"/>
                </a:cubicBezTo>
                <a:cubicBezTo>
                  <a:pt x="102" y="292"/>
                  <a:pt x="106" y="290"/>
                  <a:pt x="108" y="289"/>
                </a:cubicBezTo>
                <a:cubicBezTo>
                  <a:pt x="108" y="287"/>
                  <a:pt x="110" y="286"/>
                  <a:pt x="109" y="284"/>
                </a:cubicBezTo>
                <a:cubicBezTo>
                  <a:pt x="108" y="284"/>
                  <a:pt x="107" y="283"/>
                  <a:pt x="108" y="282"/>
                </a:cubicBezTo>
                <a:cubicBezTo>
                  <a:pt x="107" y="280"/>
                  <a:pt x="103" y="280"/>
                  <a:pt x="104" y="278"/>
                </a:cubicBezTo>
                <a:cubicBezTo>
                  <a:pt x="104" y="278"/>
                  <a:pt x="105" y="279"/>
                  <a:pt x="105" y="279"/>
                </a:cubicBezTo>
                <a:cubicBezTo>
                  <a:pt x="106" y="279"/>
                  <a:pt x="106" y="279"/>
                  <a:pt x="107" y="279"/>
                </a:cubicBezTo>
                <a:cubicBezTo>
                  <a:pt x="107" y="280"/>
                  <a:pt x="108" y="280"/>
                  <a:pt x="109" y="280"/>
                </a:cubicBezTo>
                <a:cubicBezTo>
                  <a:pt x="110" y="280"/>
                  <a:pt x="111" y="280"/>
                  <a:pt x="112" y="281"/>
                </a:cubicBezTo>
                <a:cubicBezTo>
                  <a:pt x="113" y="280"/>
                  <a:pt x="114" y="280"/>
                  <a:pt x="114" y="279"/>
                </a:cubicBezTo>
                <a:cubicBezTo>
                  <a:pt x="115" y="277"/>
                  <a:pt x="116" y="275"/>
                  <a:pt x="117" y="273"/>
                </a:cubicBezTo>
                <a:cubicBezTo>
                  <a:pt x="121" y="271"/>
                  <a:pt x="119" y="265"/>
                  <a:pt x="123" y="264"/>
                </a:cubicBezTo>
                <a:cubicBezTo>
                  <a:pt x="123" y="263"/>
                  <a:pt x="123" y="262"/>
                  <a:pt x="123" y="261"/>
                </a:cubicBezTo>
                <a:cubicBezTo>
                  <a:pt x="122" y="261"/>
                  <a:pt x="123" y="261"/>
                  <a:pt x="123" y="261"/>
                </a:cubicBezTo>
                <a:cubicBezTo>
                  <a:pt x="123" y="261"/>
                  <a:pt x="122" y="260"/>
                  <a:pt x="123" y="260"/>
                </a:cubicBezTo>
                <a:cubicBezTo>
                  <a:pt x="122" y="259"/>
                  <a:pt x="122" y="257"/>
                  <a:pt x="122" y="256"/>
                </a:cubicBezTo>
                <a:cubicBezTo>
                  <a:pt x="122" y="256"/>
                  <a:pt x="122" y="256"/>
                  <a:pt x="122" y="256"/>
                </a:cubicBezTo>
                <a:cubicBezTo>
                  <a:pt x="123" y="256"/>
                  <a:pt x="122" y="255"/>
                  <a:pt x="122" y="255"/>
                </a:cubicBezTo>
                <a:cubicBezTo>
                  <a:pt x="123" y="256"/>
                  <a:pt x="123" y="256"/>
                  <a:pt x="123" y="256"/>
                </a:cubicBezTo>
                <a:cubicBezTo>
                  <a:pt x="124" y="254"/>
                  <a:pt x="125" y="252"/>
                  <a:pt x="127" y="252"/>
                </a:cubicBezTo>
                <a:cubicBezTo>
                  <a:pt x="127" y="251"/>
                  <a:pt x="127" y="251"/>
                  <a:pt x="128" y="251"/>
                </a:cubicBezTo>
                <a:cubicBezTo>
                  <a:pt x="128" y="251"/>
                  <a:pt x="129" y="251"/>
                  <a:pt x="129" y="252"/>
                </a:cubicBezTo>
                <a:cubicBezTo>
                  <a:pt x="129" y="251"/>
                  <a:pt x="129" y="251"/>
                  <a:pt x="129" y="251"/>
                </a:cubicBezTo>
                <a:cubicBezTo>
                  <a:pt x="129" y="250"/>
                  <a:pt x="130" y="250"/>
                  <a:pt x="131" y="250"/>
                </a:cubicBezTo>
                <a:cubicBezTo>
                  <a:pt x="131" y="249"/>
                  <a:pt x="130" y="250"/>
                  <a:pt x="130" y="249"/>
                </a:cubicBezTo>
                <a:cubicBezTo>
                  <a:pt x="131" y="249"/>
                  <a:pt x="131" y="249"/>
                  <a:pt x="131" y="249"/>
                </a:cubicBezTo>
                <a:cubicBezTo>
                  <a:pt x="131" y="250"/>
                  <a:pt x="131" y="250"/>
                  <a:pt x="131" y="250"/>
                </a:cubicBezTo>
                <a:cubicBezTo>
                  <a:pt x="131" y="249"/>
                  <a:pt x="132" y="249"/>
                  <a:pt x="132" y="249"/>
                </a:cubicBezTo>
                <a:cubicBezTo>
                  <a:pt x="132" y="249"/>
                  <a:pt x="132" y="249"/>
                  <a:pt x="132" y="249"/>
                </a:cubicBezTo>
                <a:cubicBezTo>
                  <a:pt x="133" y="249"/>
                  <a:pt x="134" y="249"/>
                  <a:pt x="136" y="249"/>
                </a:cubicBezTo>
                <a:cubicBezTo>
                  <a:pt x="136" y="249"/>
                  <a:pt x="136" y="249"/>
                  <a:pt x="136" y="248"/>
                </a:cubicBezTo>
                <a:cubicBezTo>
                  <a:pt x="136" y="247"/>
                  <a:pt x="138" y="247"/>
                  <a:pt x="138" y="247"/>
                </a:cubicBezTo>
                <a:cubicBezTo>
                  <a:pt x="138" y="245"/>
                  <a:pt x="138" y="245"/>
                  <a:pt x="138" y="244"/>
                </a:cubicBezTo>
                <a:cubicBezTo>
                  <a:pt x="141" y="242"/>
                  <a:pt x="140" y="238"/>
                  <a:pt x="142" y="235"/>
                </a:cubicBezTo>
                <a:cubicBezTo>
                  <a:pt x="142" y="231"/>
                  <a:pt x="142" y="227"/>
                  <a:pt x="141" y="224"/>
                </a:cubicBezTo>
                <a:cubicBezTo>
                  <a:pt x="142" y="223"/>
                  <a:pt x="142" y="223"/>
                  <a:pt x="142" y="222"/>
                </a:cubicBezTo>
                <a:cubicBezTo>
                  <a:pt x="142" y="222"/>
                  <a:pt x="142" y="223"/>
                  <a:pt x="142" y="223"/>
                </a:cubicBezTo>
                <a:cubicBezTo>
                  <a:pt x="145" y="221"/>
                  <a:pt x="144" y="217"/>
                  <a:pt x="147" y="216"/>
                </a:cubicBezTo>
                <a:cubicBezTo>
                  <a:pt x="148" y="214"/>
                  <a:pt x="151" y="211"/>
                  <a:pt x="151" y="208"/>
                </a:cubicBezTo>
                <a:cubicBezTo>
                  <a:pt x="150" y="205"/>
                  <a:pt x="149" y="201"/>
                  <a:pt x="146" y="202"/>
                </a:cubicBezTo>
                <a:cubicBezTo>
                  <a:pt x="146" y="202"/>
                  <a:pt x="145" y="201"/>
                  <a:pt x="145" y="202"/>
                </a:cubicBezTo>
                <a:cubicBezTo>
                  <a:pt x="144" y="200"/>
                  <a:pt x="142" y="200"/>
                  <a:pt x="142" y="198"/>
                </a:cubicBezTo>
                <a:cubicBezTo>
                  <a:pt x="140" y="196"/>
                  <a:pt x="136" y="196"/>
                  <a:pt x="134" y="196"/>
                </a:cubicBezTo>
                <a:cubicBezTo>
                  <a:pt x="132" y="196"/>
                  <a:pt x="132" y="195"/>
                  <a:pt x="130" y="195"/>
                </a:cubicBezTo>
                <a:cubicBezTo>
                  <a:pt x="130" y="195"/>
                  <a:pt x="130" y="195"/>
                  <a:pt x="130" y="195"/>
                </a:cubicBezTo>
                <a:cubicBezTo>
                  <a:pt x="130" y="195"/>
                  <a:pt x="129" y="196"/>
                  <a:pt x="128" y="196"/>
                </a:cubicBezTo>
                <a:cubicBezTo>
                  <a:pt x="128" y="195"/>
                  <a:pt x="129" y="195"/>
                  <a:pt x="129" y="195"/>
                </a:cubicBezTo>
                <a:cubicBezTo>
                  <a:pt x="128" y="195"/>
                  <a:pt x="128" y="196"/>
                  <a:pt x="127" y="197"/>
                </a:cubicBezTo>
                <a:cubicBezTo>
                  <a:pt x="127" y="196"/>
                  <a:pt x="128" y="195"/>
                  <a:pt x="128" y="195"/>
                </a:cubicBezTo>
                <a:cubicBezTo>
                  <a:pt x="128" y="194"/>
                  <a:pt x="127" y="193"/>
                  <a:pt x="127" y="192"/>
                </a:cubicBezTo>
                <a:cubicBezTo>
                  <a:pt x="126" y="192"/>
                  <a:pt x="126" y="192"/>
                  <a:pt x="126" y="192"/>
                </a:cubicBezTo>
                <a:cubicBezTo>
                  <a:pt x="126" y="193"/>
                  <a:pt x="126" y="193"/>
                  <a:pt x="126" y="193"/>
                </a:cubicBezTo>
                <a:cubicBezTo>
                  <a:pt x="125" y="193"/>
                  <a:pt x="126" y="192"/>
                  <a:pt x="126" y="192"/>
                </a:cubicBezTo>
                <a:cubicBezTo>
                  <a:pt x="125" y="192"/>
                  <a:pt x="125" y="192"/>
                  <a:pt x="125" y="192"/>
                </a:cubicBezTo>
                <a:cubicBezTo>
                  <a:pt x="126" y="192"/>
                  <a:pt x="124" y="192"/>
                  <a:pt x="125" y="192"/>
                </a:cubicBezTo>
                <a:cubicBezTo>
                  <a:pt x="124" y="192"/>
                  <a:pt x="124" y="192"/>
                  <a:pt x="124" y="192"/>
                </a:cubicBezTo>
                <a:cubicBezTo>
                  <a:pt x="124" y="191"/>
                  <a:pt x="123" y="192"/>
                  <a:pt x="124" y="191"/>
                </a:cubicBezTo>
                <a:cubicBezTo>
                  <a:pt x="123" y="191"/>
                  <a:pt x="122" y="190"/>
                  <a:pt x="121" y="190"/>
                </a:cubicBezTo>
                <a:cubicBezTo>
                  <a:pt x="119" y="190"/>
                  <a:pt x="119" y="191"/>
                  <a:pt x="118" y="193"/>
                </a:cubicBezTo>
                <a:cubicBezTo>
                  <a:pt x="117" y="192"/>
                  <a:pt x="117" y="194"/>
                  <a:pt x="116" y="195"/>
                </a:cubicBezTo>
                <a:cubicBezTo>
                  <a:pt x="116" y="194"/>
                  <a:pt x="116" y="194"/>
                  <a:pt x="117" y="193"/>
                </a:cubicBezTo>
                <a:cubicBezTo>
                  <a:pt x="116" y="194"/>
                  <a:pt x="115" y="193"/>
                  <a:pt x="114" y="193"/>
                </a:cubicBezTo>
                <a:cubicBezTo>
                  <a:pt x="116" y="193"/>
                  <a:pt x="118" y="192"/>
                  <a:pt x="119" y="189"/>
                </a:cubicBezTo>
                <a:cubicBezTo>
                  <a:pt x="117" y="189"/>
                  <a:pt x="116" y="189"/>
                  <a:pt x="114" y="189"/>
                </a:cubicBezTo>
                <a:cubicBezTo>
                  <a:pt x="113" y="189"/>
                  <a:pt x="113" y="189"/>
                  <a:pt x="113" y="190"/>
                </a:cubicBezTo>
                <a:cubicBezTo>
                  <a:pt x="113" y="190"/>
                  <a:pt x="112" y="190"/>
                  <a:pt x="112" y="191"/>
                </a:cubicBezTo>
                <a:cubicBezTo>
                  <a:pt x="112" y="190"/>
                  <a:pt x="112" y="190"/>
                  <a:pt x="112" y="190"/>
                </a:cubicBezTo>
                <a:cubicBezTo>
                  <a:pt x="111" y="190"/>
                  <a:pt x="111" y="191"/>
                  <a:pt x="111" y="190"/>
                </a:cubicBezTo>
                <a:cubicBezTo>
                  <a:pt x="112" y="190"/>
                  <a:pt x="113" y="188"/>
                  <a:pt x="114" y="187"/>
                </a:cubicBezTo>
                <a:cubicBezTo>
                  <a:pt x="114" y="188"/>
                  <a:pt x="113" y="188"/>
                  <a:pt x="113" y="189"/>
                </a:cubicBezTo>
                <a:cubicBezTo>
                  <a:pt x="113" y="189"/>
                  <a:pt x="112" y="189"/>
                  <a:pt x="112" y="189"/>
                </a:cubicBezTo>
                <a:cubicBezTo>
                  <a:pt x="113" y="189"/>
                  <a:pt x="113" y="189"/>
                  <a:pt x="114" y="188"/>
                </a:cubicBezTo>
                <a:cubicBezTo>
                  <a:pt x="115" y="189"/>
                  <a:pt x="115" y="189"/>
                  <a:pt x="115" y="189"/>
                </a:cubicBezTo>
                <a:cubicBezTo>
                  <a:pt x="115" y="188"/>
                  <a:pt x="116" y="188"/>
                  <a:pt x="116" y="188"/>
                </a:cubicBezTo>
                <a:cubicBezTo>
                  <a:pt x="115" y="188"/>
                  <a:pt x="115" y="188"/>
                  <a:pt x="114" y="188"/>
                </a:cubicBezTo>
                <a:cubicBezTo>
                  <a:pt x="114" y="188"/>
                  <a:pt x="115" y="187"/>
                  <a:pt x="115" y="187"/>
                </a:cubicBezTo>
                <a:cubicBezTo>
                  <a:pt x="114" y="187"/>
                  <a:pt x="114" y="187"/>
                  <a:pt x="114" y="187"/>
                </a:cubicBezTo>
                <a:cubicBezTo>
                  <a:pt x="114" y="186"/>
                  <a:pt x="114" y="187"/>
                  <a:pt x="115" y="186"/>
                </a:cubicBezTo>
                <a:cubicBezTo>
                  <a:pt x="115" y="186"/>
                  <a:pt x="115" y="186"/>
                  <a:pt x="115" y="186"/>
                </a:cubicBezTo>
                <a:cubicBezTo>
                  <a:pt x="115" y="186"/>
                  <a:pt x="115" y="185"/>
                  <a:pt x="115" y="184"/>
                </a:cubicBezTo>
                <a:cubicBezTo>
                  <a:pt x="115" y="184"/>
                  <a:pt x="115" y="184"/>
                  <a:pt x="114" y="184"/>
                </a:cubicBezTo>
                <a:cubicBezTo>
                  <a:pt x="114" y="183"/>
                  <a:pt x="114" y="183"/>
                  <a:pt x="114" y="183"/>
                </a:cubicBezTo>
                <a:cubicBezTo>
                  <a:pt x="113" y="183"/>
                  <a:pt x="114" y="183"/>
                  <a:pt x="114" y="183"/>
                </a:cubicBezTo>
                <a:cubicBezTo>
                  <a:pt x="112" y="182"/>
                  <a:pt x="113" y="178"/>
                  <a:pt x="111" y="177"/>
                </a:cubicBezTo>
                <a:cubicBezTo>
                  <a:pt x="111" y="178"/>
                  <a:pt x="111" y="178"/>
                  <a:pt x="111" y="178"/>
                </a:cubicBezTo>
                <a:cubicBezTo>
                  <a:pt x="111" y="177"/>
                  <a:pt x="111" y="177"/>
                  <a:pt x="111" y="176"/>
                </a:cubicBezTo>
                <a:cubicBezTo>
                  <a:pt x="109" y="175"/>
                  <a:pt x="106" y="172"/>
                  <a:pt x="103" y="173"/>
                </a:cubicBezTo>
                <a:cubicBezTo>
                  <a:pt x="103" y="173"/>
                  <a:pt x="101" y="173"/>
                  <a:pt x="101" y="173"/>
                </a:cubicBezTo>
                <a:cubicBezTo>
                  <a:pt x="101" y="173"/>
                  <a:pt x="99" y="173"/>
                  <a:pt x="99" y="173"/>
                </a:cubicBezTo>
                <a:cubicBezTo>
                  <a:pt x="98" y="172"/>
                  <a:pt x="97" y="170"/>
                  <a:pt x="95" y="171"/>
                </a:cubicBezTo>
                <a:cubicBezTo>
                  <a:pt x="96" y="168"/>
                  <a:pt x="93" y="166"/>
                  <a:pt x="91" y="166"/>
                </a:cubicBezTo>
                <a:cubicBezTo>
                  <a:pt x="90" y="165"/>
                  <a:pt x="90" y="165"/>
                  <a:pt x="90" y="165"/>
                </a:cubicBezTo>
                <a:cubicBezTo>
                  <a:pt x="90" y="165"/>
                  <a:pt x="90" y="165"/>
                  <a:pt x="90" y="165"/>
                </a:cubicBezTo>
                <a:cubicBezTo>
                  <a:pt x="90" y="165"/>
                  <a:pt x="90" y="166"/>
                  <a:pt x="90" y="165"/>
                </a:cubicBezTo>
                <a:cubicBezTo>
                  <a:pt x="90" y="165"/>
                  <a:pt x="90" y="164"/>
                  <a:pt x="90" y="164"/>
                </a:cubicBezTo>
                <a:cubicBezTo>
                  <a:pt x="90" y="163"/>
                  <a:pt x="89" y="163"/>
                  <a:pt x="89" y="163"/>
                </a:cubicBezTo>
                <a:cubicBezTo>
                  <a:pt x="88" y="163"/>
                  <a:pt x="88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2"/>
                  <a:pt x="86" y="162"/>
                  <a:pt x="86" y="161"/>
                </a:cubicBezTo>
                <a:cubicBezTo>
                  <a:pt x="87" y="161"/>
                  <a:pt x="88" y="161"/>
                  <a:pt x="88" y="160"/>
                </a:cubicBezTo>
                <a:cubicBezTo>
                  <a:pt x="86" y="160"/>
                  <a:pt x="84" y="160"/>
                  <a:pt x="83" y="161"/>
                </a:cubicBezTo>
                <a:cubicBezTo>
                  <a:pt x="82" y="161"/>
                  <a:pt x="84" y="161"/>
                  <a:pt x="84" y="161"/>
                </a:cubicBezTo>
                <a:cubicBezTo>
                  <a:pt x="82" y="161"/>
                  <a:pt x="79" y="163"/>
                  <a:pt x="78" y="161"/>
                </a:cubicBezTo>
                <a:cubicBezTo>
                  <a:pt x="76" y="160"/>
                  <a:pt x="75" y="161"/>
                  <a:pt x="74" y="161"/>
                </a:cubicBezTo>
                <a:cubicBezTo>
                  <a:pt x="73" y="160"/>
                  <a:pt x="73" y="158"/>
                  <a:pt x="70" y="158"/>
                </a:cubicBezTo>
                <a:cubicBezTo>
                  <a:pt x="70" y="158"/>
                  <a:pt x="70" y="157"/>
                  <a:pt x="70" y="156"/>
                </a:cubicBezTo>
                <a:cubicBezTo>
                  <a:pt x="69" y="156"/>
                  <a:pt x="68" y="158"/>
                  <a:pt x="69" y="158"/>
                </a:cubicBezTo>
                <a:cubicBezTo>
                  <a:pt x="70" y="158"/>
                  <a:pt x="70" y="158"/>
                  <a:pt x="70" y="158"/>
                </a:cubicBezTo>
                <a:cubicBezTo>
                  <a:pt x="70" y="158"/>
                  <a:pt x="70" y="158"/>
                  <a:pt x="70" y="158"/>
                </a:cubicBezTo>
                <a:cubicBezTo>
                  <a:pt x="69" y="158"/>
                  <a:pt x="66" y="159"/>
                  <a:pt x="66" y="160"/>
                </a:cubicBezTo>
                <a:cubicBezTo>
                  <a:pt x="66" y="159"/>
                  <a:pt x="65" y="159"/>
                  <a:pt x="65" y="158"/>
                </a:cubicBezTo>
                <a:cubicBezTo>
                  <a:pt x="66" y="158"/>
                  <a:pt x="67" y="158"/>
                  <a:pt x="67" y="157"/>
                </a:cubicBezTo>
                <a:cubicBezTo>
                  <a:pt x="67" y="156"/>
                  <a:pt x="66" y="156"/>
                  <a:pt x="66" y="156"/>
                </a:cubicBezTo>
                <a:cubicBezTo>
                  <a:pt x="65" y="156"/>
                  <a:pt x="65" y="156"/>
                  <a:pt x="65" y="156"/>
                </a:cubicBezTo>
                <a:cubicBezTo>
                  <a:pt x="64" y="158"/>
                  <a:pt x="62" y="159"/>
                  <a:pt x="60" y="159"/>
                </a:cubicBezTo>
                <a:cubicBezTo>
                  <a:pt x="59" y="159"/>
                  <a:pt x="59" y="160"/>
                  <a:pt x="59" y="160"/>
                </a:cubicBezTo>
                <a:cubicBezTo>
                  <a:pt x="59" y="160"/>
                  <a:pt x="59" y="160"/>
                  <a:pt x="59" y="160"/>
                </a:cubicBezTo>
                <a:cubicBezTo>
                  <a:pt x="59" y="160"/>
                  <a:pt x="59" y="159"/>
                  <a:pt x="58" y="159"/>
                </a:cubicBezTo>
                <a:cubicBezTo>
                  <a:pt x="56" y="161"/>
                  <a:pt x="56" y="162"/>
                  <a:pt x="56" y="164"/>
                </a:cubicBezTo>
                <a:cubicBezTo>
                  <a:pt x="54" y="164"/>
                  <a:pt x="55" y="166"/>
                  <a:pt x="53" y="166"/>
                </a:cubicBezTo>
                <a:cubicBezTo>
                  <a:pt x="53" y="166"/>
                  <a:pt x="53" y="167"/>
                  <a:pt x="53" y="167"/>
                </a:cubicBezTo>
                <a:cubicBezTo>
                  <a:pt x="52" y="166"/>
                  <a:pt x="51" y="164"/>
                  <a:pt x="48" y="164"/>
                </a:cubicBezTo>
                <a:cubicBezTo>
                  <a:pt x="48" y="163"/>
                  <a:pt x="47" y="163"/>
                  <a:pt x="47" y="163"/>
                </a:cubicBezTo>
                <a:cubicBezTo>
                  <a:pt x="46" y="164"/>
                  <a:pt x="44" y="165"/>
                  <a:pt x="42" y="165"/>
                </a:cubicBezTo>
                <a:cubicBezTo>
                  <a:pt x="42" y="165"/>
                  <a:pt x="42" y="165"/>
                  <a:pt x="42" y="164"/>
                </a:cubicBezTo>
                <a:cubicBezTo>
                  <a:pt x="41" y="165"/>
                  <a:pt x="42" y="165"/>
                  <a:pt x="42" y="165"/>
                </a:cubicBezTo>
                <a:cubicBezTo>
                  <a:pt x="41" y="165"/>
                  <a:pt x="41" y="165"/>
                  <a:pt x="41" y="165"/>
                </a:cubicBezTo>
                <a:cubicBezTo>
                  <a:pt x="41" y="164"/>
                  <a:pt x="41" y="164"/>
                  <a:pt x="41" y="164"/>
                </a:cubicBezTo>
                <a:cubicBezTo>
                  <a:pt x="39" y="163"/>
                  <a:pt x="38" y="161"/>
                  <a:pt x="37" y="159"/>
                </a:cubicBezTo>
                <a:cubicBezTo>
                  <a:pt x="38" y="158"/>
                  <a:pt x="38" y="158"/>
                  <a:pt x="38" y="157"/>
                </a:cubicBezTo>
                <a:cubicBezTo>
                  <a:pt x="39" y="155"/>
                  <a:pt x="39" y="152"/>
                  <a:pt x="39" y="149"/>
                </a:cubicBezTo>
                <a:cubicBezTo>
                  <a:pt x="40" y="149"/>
                  <a:pt x="40" y="149"/>
                  <a:pt x="40" y="149"/>
                </a:cubicBezTo>
                <a:cubicBezTo>
                  <a:pt x="39" y="148"/>
                  <a:pt x="38" y="147"/>
                  <a:pt x="37" y="147"/>
                </a:cubicBezTo>
                <a:cubicBezTo>
                  <a:pt x="36" y="146"/>
                  <a:pt x="35" y="147"/>
                  <a:pt x="34" y="146"/>
                </a:cubicBezTo>
                <a:cubicBezTo>
                  <a:pt x="33" y="147"/>
                  <a:pt x="31" y="147"/>
                  <a:pt x="30" y="147"/>
                </a:cubicBezTo>
                <a:cubicBezTo>
                  <a:pt x="29" y="147"/>
                  <a:pt x="29" y="147"/>
                  <a:pt x="29" y="147"/>
                </a:cubicBezTo>
                <a:cubicBezTo>
                  <a:pt x="28" y="147"/>
                  <a:pt x="28" y="147"/>
                  <a:pt x="28" y="147"/>
                </a:cubicBezTo>
                <a:cubicBezTo>
                  <a:pt x="28" y="147"/>
                  <a:pt x="28" y="147"/>
                  <a:pt x="28" y="147"/>
                </a:cubicBezTo>
                <a:cubicBezTo>
                  <a:pt x="27" y="147"/>
                  <a:pt x="27" y="147"/>
                  <a:pt x="27" y="147"/>
                </a:cubicBezTo>
                <a:cubicBezTo>
                  <a:pt x="29" y="145"/>
                  <a:pt x="29" y="142"/>
                  <a:pt x="30" y="140"/>
                </a:cubicBezTo>
                <a:cubicBezTo>
                  <a:pt x="29" y="140"/>
                  <a:pt x="29" y="140"/>
                  <a:pt x="29" y="140"/>
                </a:cubicBezTo>
                <a:cubicBezTo>
                  <a:pt x="29" y="140"/>
                  <a:pt x="30" y="139"/>
                  <a:pt x="30" y="139"/>
                </a:cubicBezTo>
                <a:cubicBezTo>
                  <a:pt x="30" y="140"/>
                  <a:pt x="30" y="140"/>
                  <a:pt x="30" y="141"/>
                </a:cubicBezTo>
                <a:cubicBezTo>
                  <a:pt x="31" y="140"/>
                  <a:pt x="31" y="139"/>
                  <a:pt x="31" y="138"/>
                </a:cubicBezTo>
                <a:cubicBezTo>
                  <a:pt x="31" y="138"/>
                  <a:pt x="31" y="138"/>
                  <a:pt x="31" y="138"/>
                </a:cubicBezTo>
                <a:cubicBezTo>
                  <a:pt x="31" y="138"/>
                  <a:pt x="32" y="137"/>
                  <a:pt x="32" y="137"/>
                </a:cubicBezTo>
                <a:cubicBezTo>
                  <a:pt x="31" y="137"/>
                  <a:pt x="31" y="137"/>
                  <a:pt x="31" y="137"/>
                </a:cubicBezTo>
                <a:cubicBezTo>
                  <a:pt x="32" y="135"/>
                  <a:pt x="35" y="134"/>
                  <a:pt x="33" y="132"/>
                </a:cubicBezTo>
                <a:cubicBezTo>
                  <a:pt x="30" y="132"/>
                  <a:pt x="25" y="131"/>
                  <a:pt x="25" y="136"/>
                </a:cubicBezTo>
                <a:cubicBezTo>
                  <a:pt x="24" y="137"/>
                  <a:pt x="24" y="139"/>
                  <a:pt x="22" y="139"/>
                </a:cubicBezTo>
                <a:cubicBezTo>
                  <a:pt x="22" y="139"/>
                  <a:pt x="22" y="139"/>
                  <a:pt x="23" y="139"/>
                </a:cubicBezTo>
                <a:cubicBezTo>
                  <a:pt x="22" y="140"/>
                  <a:pt x="21" y="140"/>
                  <a:pt x="21" y="140"/>
                </a:cubicBezTo>
                <a:cubicBezTo>
                  <a:pt x="22" y="139"/>
                  <a:pt x="22" y="139"/>
                  <a:pt x="22" y="139"/>
                </a:cubicBezTo>
                <a:cubicBezTo>
                  <a:pt x="22" y="139"/>
                  <a:pt x="21" y="139"/>
                  <a:pt x="21" y="140"/>
                </a:cubicBezTo>
                <a:cubicBezTo>
                  <a:pt x="19" y="139"/>
                  <a:pt x="17" y="141"/>
                  <a:pt x="15" y="141"/>
                </a:cubicBezTo>
                <a:cubicBezTo>
                  <a:pt x="15" y="139"/>
                  <a:pt x="13" y="139"/>
                  <a:pt x="12" y="139"/>
                </a:cubicBezTo>
                <a:cubicBezTo>
                  <a:pt x="12" y="136"/>
                  <a:pt x="9" y="134"/>
                  <a:pt x="10" y="132"/>
                </a:cubicBezTo>
                <a:cubicBezTo>
                  <a:pt x="10" y="132"/>
                  <a:pt x="10" y="131"/>
                  <a:pt x="9" y="131"/>
                </a:cubicBezTo>
                <a:cubicBezTo>
                  <a:pt x="9" y="132"/>
                  <a:pt x="10" y="132"/>
                  <a:pt x="9" y="132"/>
                </a:cubicBezTo>
                <a:cubicBezTo>
                  <a:pt x="8" y="130"/>
                  <a:pt x="11" y="126"/>
                  <a:pt x="10" y="124"/>
                </a:cubicBezTo>
                <a:cubicBezTo>
                  <a:pt x="10" y="124"/>
                  <a:pt x="10" y="124"/>
                  <a:pt x="11" y="124"/>
                </a:cubicBezTo>
                <a:cubicBezTo>
                  <a:pt x="11" y="124"/>
                  <a:pt x="10" y="123"/>
                  <a:pt x="11" y="124"/>
                </a:cubicBezTo>
                <a:cubicBezTo>
                  <a:pt x="12" y="122"/>
                  <a:pt x="12" y="121"/>
                  <a:pt x="12" y="119"/>
                </a:cubicBezTo>
                <a:cubicBezTo>
                  <a:pt x="12" y="118"/>
                  <a:pt x="12" y="118"/>
                  <a:pt x="12" y="118"/>
                </a:cubicBezTo>
                <a:cubicBezTo>
                  <a:pt x="12" y="118"/>
                  <a:pt x="12" y="118"/>
                  <a:pt x="12" y="118"/>
                </a:cubicBezTo>
                <a:cubicBezTo>
                  <a:pt x="12" y="119"/>
                  <a:pt x="12" y="119"/>
                  <a:pt x="12" y="119"/>
                </a:cubicBezTo>
                <a:cubicBezTo>
                  <a:pt x="12" y="119"/>
                  <a:pt x="12" y="119"/>
                  <a:pt x="12" y="119"/>
                </a:cubicBezTo>
                <a:cubicBezTo>
                  <a:pt x="13" y="121"/>
                  <a:pt x="13" y="117"/>
                  <a:pt x="13" y="117"/>
                </a:cubicBezTo>
                <a:cubicBezTo>
                  <a:pt x="12" y="117"/>
                  <a:pt x="12" y="117"/>
                  <a:pt x="12" y="117"/>
                </a:cubicBezTo>
                <a:cubicBezTo>
                  <a:pt x="13" y="117"/>
                  <a:pt x="13" y="117"/>
                  <a:pt x="13" y="117"/>
                </a:cubicBezTo>
                <a:cubicBezTo>
                  <a:pt x="13" y="116"/>
                  <a:pt x="14" y="115"/>
                  <a:pt x="14" y="115"/>
                </a:cubicBezTo>
                <a:cubicBezTo>
                  <a:pt x="14" y="115"/>
                  <a:pt x="14" y="115"/>
                  <a:pt x="14" y="115"/>
                </a:cubicBezTo>
                <a:cubicBezTo>
                  <a:pt x="14" y="115"/>
                  <a:pt x="14" y="115"/>
                  <a:pt x="14" y="115"/>
                </a:cubicBezTo>
                <a:cubicBezTo>
                  <a:pt x="14" y="115"/>
                  <a:pt x="15" y="114"/>
                  <a:pt x="16" y="114"/>
                </a:cubicBezTo>
                <a:cubicBezTo>
                  <a:pt x="16" y="113"/>
                  <a:pt x="16" y="113"/>
                  <a:pt x="16" y="113"/>
                </a:cubicBezTo>
                <a:cubicBezTo>
                  <a:pt x="16" y="114"/>
                  <a:pt x="16" y="113"/>
                  <a:pt x="17" y="114"/>
                </a:cubicBezTo>
                <a:cubicBezTo>
                  <a:pt x="18" y="113"/>
                  <a:pt x="19" y="112"/>
                  <a:pt x="20" y="111"/>
                </a:cubicBezTo>
                <a:cubicBezTo>
                  <a:pt x="20" y="112"/>
                  <a:pt x="19" y="112"/>
                  <a:pt x="19" y="112"/>
                </a:cubicBezTo>
                <a:cubicBezTo>
                  <a:pt x="20" y="111"/>
                  <a:pt x="20" y="111"/>
                  <a:pt x="20" y="111"/>
                </a:cubicBezTo>
                <a:cubicBezTo>
                  <a:pt x="20" y="111"/>
                  <a:pt x="20" y="111"/>
                  <a:pt x="20" y="110"/>
                </a:cubicBezTo>
                <a:cubicBezTo>
                  <a:pt x="20" y="111"/>
                  <a:pt x="20" y="110"/>
                  <a:pt x="20" y="110"/>
                </a:cubicBezTo>
                <a:cubicBezTo>
                  <a:pt x="20" y="111"/>
                  <a:pt x="20" y="111"/>
                  <a:pt x="20" y="111"/>
                </a:cubicBezTo>
                <a:cubicBezTo>
                  <a:pt x="21" y="111"/>
                  <a:pt x="20" y="111"/>
                  <a:pt x="20" y="111"/>
                </a:cubicBezTo>
                <a:cubicBezTo>
                  <a:pt x="22" y="110"/>
                  <a:pt x="24" y="110"/>
                  <a:pt x="26" y="111"/>
                </a:cubicBezTo>
                <a:cubicBezTo>
                  <a:pt x="26" y="110"/>
                  <a:pt x="26" y="110"/>
                  <a:pt x="27" y="110"/>
                </a:cubicBezTo>
                <a:cubicBezTo>
                  <a:pt x="27" y="110"/>
                  <a:pt x="27" y="110"/>
                  <a:pt x="27" y="110"/>
                </a:cubicBezTo>
                <a:cubicBezTo>
                  <a:pt x="27" y="111"/>
                  <a:pt x="28" y="111"/>
                  <a:pt x="28" y="111"/>
                </a:cubicBezTo>
                <a:cubicBezTo>
                  <a:pt x="28" y="111"/>
                  <a:pt x="28" y="111"/>
                  <a:pt x="28" y="111"/>
                </a:cubicBezTo>
                <a:cubicBezTo>
                  <a:pt x="28" y="112"/>
                  <a:pt x="29" y="112"/>
                  <a:pt x="30" y="111"/>
                </a:cubicBezTo>
                <a:cubicBezTo>
                  <a:pt x="30" y="111"/>
                  <a:pt x="30" y="112"/>
                  <a:pt x="30" y="112"/>
                </a:cubicBezTo>
                <a:cubicBezTo>
                  <a:pt x="31" y="112"/>
                  <a:pt x="31" y="111"/>
                  <a:pt x="31" y="111"/>
                </a:cubicBezTo>
                <a:cubicBezTo>
                  <a:pt x="31" y="111"/>
                  <a:pt x="32" y="111"/>
                  <a:pt x="32" y="112"/>
                </a:cubicBezTo>
                <a:cubicBezTo>
                  <a:pt x="32" y="112"/>
                  <a:pt x="32" y="112"/>
                  <a:pt x="33" y="112"/>
                </a:cubicBezTo>
                <a:cubicBezTo>
                  <a:pt x="33" y="111"/>
                  <a:pt x="32" y="111"/>
                  <a:pt x="32" y="110"/>
                </a:cubicBezTo>
                <a:cubicBezTo>
                  <a:pt x="32" y="111"/>
                  <a:pt x="32" y="111"/>
                  <a:pt x="32" y="110"/>
                </a:cubicBezTo>
                <a:cubicBezTo>
                  <a:pt x="32" y="110"/>
                  <a:pt x="32" y="110"/>
                  <a:pt x="32" y="110"/>
                </a:cubicBezTo>
                <a:cubicBezTo>
                  <a:pt x="32" y="109"/>
                  <a:pt x="32" y="109"/>
                  <a:pt x="32" y="109"/>
                </a:cubicBezTo>
                <a:cubicBezTo>
                  <a:pt x="32" y="109"/>
                  <a:pt x="32" y="110"/>
                  <a:pt x="32" y="110"/>
                </a:cubicBezTo>
                <a:cubicBezTo>
                  <a:pt x="32" y="109"/>
                  <a:pt x="32" y="109"/>
                  <a:pt x="32" y="109"/>
                </a:cubicBezTo>
                <a:cubicBezTo>
                  <a:pt x="31" y="109"/>
                  <a:pt x="31" y="110"/>
                  <a:pt x="30" y="109"/>
                </a:cubicBezTo>
                <a:cubicBezTo>
                  <a:pt x="31" y="109"/>
                  <a:pt x="31" y="109"/>
                  <a:pt x="31" y="109"/>
                </a:cubicBezTo>
                <a:cubicBezTo>
                  <a:pt x="33" y="109"/>
                  <a:pt x="35" y="109"/>
                  <a:pt x="36" y="108"/>
                </a:cubicBezTo>
                <a:cubicBezTo>
                  <a:pt x="36" y="109"/>
                  <a:pt x="36" y="109"/>
                  <a:pt x="36" y="109"/>
                </a:cubicBezTo>
                <a:cubicBezTo>
                  <a:pt x="37" y="109"/>
                  <a:pt x="37" y="108"/>
                  <a:pt x="38" y="108"/>
                </a:cubicBezTo>
                <a:cubicBezTo>
                  <a:pt x="38" y="109"/>
                  <a:pt x="38" y="109"/>
                  <a:pt x="38" y="109"/>
                </a:cubicBezTo>
                <a:cubicBezTo>
                  <a:pt x="38" y="109"/>
                  <a:pt x="39" y="108"/>
                  <a:pt x="40" y="108"/>
                </a:cubicBezTo>
                <a:cubicBezTo>
                  <a:pt x="39" y="109"/>
                  <a:pt x="39" y="109"/>
                  <a:pt x="39" y="109"/>
                </a:cubicBezTo>
                <a:cubicBezTo>
                  <a:pt x="40" y="109"/>
                  <a:pt x="40" y="109"/>
                  <a:pt x="41" y="109"/>
                </a:cubicBezTo>
                <a:cubicBezTo>
                  <a:pt x="41" y="110"/>
                  <a:pt x="42" y="110"/>
                  <a:pt x="41" y="110"/>
                </a:cubicBezTo>
                <a:cubicBezTo>
                  <a:pt x="46" y="108"/>
                  <a:pt x="47" y="112"/>
                  <a:pt x="46" y="116"/>
                </a:cubicBezTo>
                <a:cubicBezTo>
                  <a:pt x="46" y="115"/>
                  <a:pt x="46" y="115"/>
                  <a:pt x="46" y="115"/>
                </a:cubicBezTo>
                <a:cubicBezTo>
                  <a:pt x="47" y="116"/>
                  <a:pt x="46" y="116"/>
                  <a:pt x="46" y="116"/>
                </a:cubicBezTo>
                <a:cubicBezTo>
                  <a:pt x="46" y="117"/>
                  <a:pt x="46" y="118"/>
                  <a:pt x="47" y="118"/>
                </a:cubicBezTo>
                <a:cubicBezTo>
                  <a:pt x="47" y="118"/>
                  <a:pt x="47" y="118"/>
                  <a:pt x="47" y="118"/>
                </a:cubicBezTo>
                <a:cubicBezTo>
                  <a:pt x="47" y="118"/>
                  <a:pt x="47" y="119"/>
                  <a:pt x="47" y="119"/>
                </a:cubicBezTo>
                <a:cubicBezTo>
                  <a:pt x="47" y="119"/>
                  <a:pt x="47" y="119"/>
                  <a:pt x="47" y="119"/>
                </a:cubicBezTo>
                <a:cubicBezTo>
                  <a:pt x="47" y="120"/>
                  <a:pt x="47" y="120"/>
                  <a:pt x="47" y="120"/>
                </a:cubicBezTo>
                <a:cubicBezTo>
                  <a:pt x="48" y="121"/>
                  <a:pt x="48" y="121"/>
                  <a:pt x="48" y="121"/>
                </a:cubicBezTo>
                <a:cubicBezTo>
                  <a:pt x="48" y="121"/>
                  <a:pt x="48" y="122"/>
                  <a:pt x="49" y="122"/>
                </a:cubicBezTo>
                <a:cubicBezTo>
                  <a:pt x="48" y="122"/>
                  <a:pt x="49" y="122"/>
                  <a:pt x="48" y="122"/>
                </a:cubicBezTo>
                <a:cubicBezTo>
                  <a:pt x="48" y="123"/>
                  <a:pt x="49" y="122"/>
                  <a:pt x="50" y="122"/>
                </a:cubicBezTo>
                <a:cubicBezTo>
                  <a:pt x="50" y="123"/>
                  <a:pt x="49" y="123"/>
                  <a:pt x="50" y="123"/>
                </a:cubicBezTo>
                <a:cubicBezTo>
                  <a:pt x="54" y="119"/>
                  <a:pt x="47" y="107"/>
                  <a:pt x="53" y="103"/>
                </a:cubicBezTo>
                <a:cubicBezTo>
                  <a:pt x="54" y="103"/>
                  <a:pt x="55" y="103"/>
                  <a:pt x="56" y="102"/>
                </a:cubicBezTo>
                <a:cubicBezTo>
                  <a:pt x="58" y="102"/>
                  <a:pt x="58" y="99"/>
                  <a:pt x="61" y="99"/>
                </a:cubicBezTo>
                <a:cubicBezTo>
                  <a:pt x="61" y="98"/>
                  <a:pt x="64" y="97"/>
                  <a:pt x="65" y="97"/>
                </a:cubicBezTo>
                <a:cubicBezTo>
                  <a:pt x="65" y="97"/>
                  <a:pt x="65" y="97"/>
                  <a:pt x="65" y="97"/>
                </a:cubicBezTo>
                <a:cubicBezTo>
                  <a:pt x="65" y="96"/>
                  <a:pt x="64" y="97"/>
                  <a:pt x="64" y="96"/>
                </a:cubicBezTo>
                <a:cubicBezTo>
                  <a:pt x="65" y="96"/>
                  <a:pt x="65" y="96"/>
                  <a:pt x="65" y="96"/>
                </a:cubicBezTo>
                <a:cubicBezTo>
                  <a:pt x="65" y="95"/>
                  <a:pt x="65" y="95"/>
                  <a:pt x="65" y="95"/>
                </a:cubicBezTo>
                <a:cubicBezTo>
                  <a:pt x="66" y="96"/>
                  <a:pt x="67" y="95"/>
                  <a:pt x="67" y="94"/>
                </a:cubicBezTo>
                <a:cubicBezTo>
                  <a:pt x="67" y="94"/>
                  <a:pt x="66" y="95"/>
                  <a:pt x="66" y="94"/>
                </a:cubicBezTo>
                <a:cubicBezTo>
                  <a:pt x="66" y="94"/>
                  <a:pt x="66" y="94"/>
                  <a:pt x="66" y="94"/>
                </a:cubicBezTo>
                <a:cubicBezTo>
                  <a:pt x="66" y="94"/>
                  <a:pt x="66" y="94"/>
                  <a:pt x="66" y="94"/>
                </a:cubicBezTo>
                <a:cubicBezTo>
                  <a:pt x="66" y="93"/>
                  <a:pt x="66" y="93"/>
                  <a:pt x="67" y="93"/>
                </a:cubicBezTo>
                <a:cubicBezTo>
                  <a:pt x="67" y="94"/>
                  <a:pt x="67" y="94"/>
                  <a:pt x="68" y="94"/>
                </a:cubicBezTo>
                <a:cubicBezTo>
                  <a:pt x="68" y="93"/>
                  <a:pt x="67" y="92"/>
                  <a:pt x="67" y="91"/>
                </a:cubicBezTo>
                <a:cubicBezTo>
                  <a:pt x="67" y="91"/>
                  <a:pt x="67" y="91"/>
                  <a:pt x="66" y="91"/>
                </a:cubicBezTo>
                <a:cubicBezTo>
                  <a:pt x="66" y="91"/>
                  <a:pt x="65" y="91"/>
                  <a:pt x="66" y="91"/>
                </a:cubicBezTo>
                <a:cubicBezTo>
                  <a:pt x="66" y="91"/>
                  <a:pt x="66" y="91"/>
                  <a:pt x="67" y="91"/>
                </a:cubicBezTo>
                <a:cubicBezTo>
                  <a:pt x="67" y="91"/>
                  <a:pt x="66" y="90"/>
                  <a:pt x="67" y="90"/>
                </a:cubicBezTo>
                <a:cubicBezTo>
                  <a:pt x="67" y="90"/>
                  <a:pt x="67" y="90"/>
                  <a:pt x="67" y="90"/>
                </a:cubicBezTo>
                <a:cubicBezTo>
                  <a:pt x="67" y="90"/>
                  <a:pt x="67" y="89"/>
                  <a:pt x="68" y="89"/>
                </a:cubicBezTo>
                <a:cubicBezTo>
                  <a:pt x="67" y="88"/>
                  <a:pt x="67" y="88"/>
                  <a:pt x="67" y="88"/>
                </a:cubicBezTo>
                <a:cubicBezTo>
                  <a:pt x="67" y="88"/>
                  <a:pt x="68" y="89"/>
                  <a:pt x="68" y="88"/>
                </a:cubicBezTo>
                <a:cubicBezTo>
                  <a:pt x="67" y="86"/>
                  <a:pt x="69" y="85"/>
                  <a:pt x="70" y="85"/>
                </a:cubicBezTo>
                <a:cubicBezTo>
                  <a:pt x="69" y="85"/>
                  <a:pt x="69" y="85"/>
                  <a:pt x="68" y="86"/>
                </a:cubicBezTo>
                <a:cubicBezTo>
                  <a:pt x="69" y="86"/>
                  <a:pt x="69" y="86"/>
                  <a:pt x="69" y="86"/>
                </a:cubicBezTo>
                <a:cubicBezTo>
                  <a:pt x="68" y="86"/>
                  <a:pt x="68" y="87"/>
                  <a:pt x="69" y="87"/>
                </a:cubicBezTo>
                <a:cubicBezTo>
                  <a:pt x="68" y="87"/>
                  <a:pt x="68" y="87"/>
                  <a:pt x="68" y="88"/>
                </a:cubicBezTo>
                <a:cubicBezTo>
                  <a:pt x="69" y="88"/>
                  <a:pt x="68" y="89"/>
                  <a:pt x="69" y="89"/>
                </a:cubicBezTo>
                <a:cubicBezTo>
                  <a:pt x="68" y="89"/>
                  <a:pt x="68" y="90"/>
                  <a:pt x="68" y="91"/>
                </a:cubicBezTo>
                <a:cubicBezTo>
                  <a:pt x="69" y="90"/>
                  <a:pt x="69" y="89"/>
                  <a:pt x="70" y="88"/>
                </a:cubicBezTo>
                <a:cubicBezTo>
                  <a:pt x="70" y="88"/>
                  <a:pt x="69" y="89"/>
                  <a:pt x="70" y="89"/>
                </a:cubicBezTo>
                <a:cubicBezTo>
                  <a:pt x="70" y="88"/>
                  <a:pt x="71" y="87"/>
                  <a:pt x="71" y="87"/>
                </a:cubicBezTo>
                <a:cubicBezTo>
                  <a:pt x="71" y="86"/>
                  <a:pt x="70" y="86"/>
                  <a:pt x="71" y="85"/>
                </a:cubicBezTo>
                <a:cubicBezTo>
                  <a:pt x="71" y="85"/>
                  <a:pt x="72" y="85"/>
                  <a:pt x="71" y="86"/>
                </a:cubicBezTo>
                <a:cubicBezTo>
                  <a:pt x="73" y="85"/>
                  <a:pt x="75" y="83"/>
                  <a:pt x="75" y="82"/>
                </a:cubicBezTo>
                <a:cubicBezTo>
                  <a:pt x="76" y="82"/>
                  <a:pt x="79" y="81"/>
                  <a:pt x="80" y="80"/>
                </a:cubicBezTo>
                <a:cubicBezTo>
                  <a:pt x="80" y="81"/>
                  <a:pt x="79" y="81"/>
                  <a:pt x="79" y="80"/>
                </a:cubicBezTo>
                <a:cubicBezTo>
                  <a:pt x="78" y="81"/>
                  <a:pt x="76" y="81"/>
                  <a:pt x="76" y="81"/>
                </a:cubicBezTo>
                <a:cubicBezTo>
                  <a:pt x="77" y="80"/>
                  <a:pt x="79" y="80"/>
                  <a:pt x="81" y="80"/>
                </a:cubicBezTo>
                <a:cubicBezTo>
                  <a:pt x="81" y="80"/>
                  <a:pt x="81" y="79"/>
                  <a:pt x="82" y="79"/>
                </a:cubicBezTo>
                <a:cubicBezTo>
                  <a:pt x="82" y="79"/>
                  <a:pt x="82" y="79"/>
                  <a:pt x="82" y="79"/>
                </a:cubicBezTo>
                <a:cubicBezTo>
                  <a:pt x="82" y="79"/>
                  <a:pt x="83" y="79"/>
                  <a:pt x="83" y="79"/>
                </a:cubicBezTo>
                <a:cubicBezTo>
                  <a:pt x="83" y="79"/>
                  <a:pt x="83" y="79"/>
                  <a:pt x="83" y="79"/>
                </a:cubicBezTo>
                <a:cubicBezTo>
                  <a:pt x="84" y="79"/>
                  <a:pt x="84" y="79"/>
                  <a:pt x="85" y="79"/>
                </a:cubicBezTo>
                <a:cubicBezTo>
                  <a:pt x="85" y="78"/>
                  <a:pt x="85" y="78"/>
                  <a:pt x="84" y="78"/>
                </a:cubicBezTo>
                <a:cubicBezTo>
                  <a:pt x="85" y="78"/>
                  <a:pt x="84" y="79"/>
                  <a:pt x="84" y="79"/>
                </a:cubicBezTo>
                <a:cubicBezTo>
                  <a:pt x="84" y="79"/>
                  <a:pt x="84" y="79"/>
                  <a:pt x="84" y="79"/>
                </a:cubicBezTo>
                <a:cubicBezTo>
                  <a:pt x="84" y="78"/>
                  <a:pt x="83" y="77"/>
                  <a:pt x="83" y="77"/>
                </a:cubicBezTo>
                <a:cubicBezTo>
                  <a:pt x="84" y="77"/>
                  <a:pt x="85" y="74"/>
                  <a:pt x="87" y="74"/>
                </a:cubicBezTo>
                <a:cubicBezTo>
                  <a:pt x="87" y="73"/>
                  <a:pt x="87" y="73"/>
                  <a:pt x="87" y="73"/>
                </a:cubicBezTo>
                <a:cubicBezTo>
                  <a:pt x="87" y="73"/>
                  <a:pt x="87" y="73"/>
                  <a:pt x="87" y="73"/>
                </a:cubicBezTo>
                <a:cubicBezTo>
                  <a:pt x="88" y="73"/>
                  <a:pt x="88" y="73"/>
                  <a:pt x="89" y="73"/>
                </a:cubicBezTo>
                <a:cubicBezTo>
                  <a:pt x="89" y="72"/>
                  <a:pt x="89" y="72"/>
                  <a:pt x="90" y="72"/>
                </a:cubicBezTo>
                <a:cubicBezTo>
                  <a:pt x="89" y="72"/>
                  <a:pt x="89" y="72"/>
                  <a:pt x="89" y="72"/>
                </a:cubicBezTo>
                <a:cubicBezTo>
                  <a:pt x="90" y="72"/>
                  <a:pt x="90" y="72"/>
                  <a:pt x="90" y="72"/>
                </a:cubicBezTo>
                <a:cubicBezTo>
                  <a:pt x="90" y="72"/>
                  <a:pt x="90" y="72"/>
                  <a:pt x="90" y="72"/>
                </a:cubicBezTo>
                <a:cubicBezTo>
                  <a:pt x="91" y="72"/>
                  <a:pt x="91" y="72"/>
                  <a:pt x="91" y="72"/>
                </a:cubicBezTo>
                <a:cubicBezTo>
                  <a:pt x="91" y="72"/>
                  <a:pt x="91" y="72"/>
                  <a:pt x="91" y="72"/>
                </a:cubicBezTo>
                <a:cubicBezTo>
                  <a:pt x="91" y="72"/>
                  <a:pt x="93" y="71"/>
                  <a:pt x="94" y="71"/>
                </a:cubicBezTo>
                <a:cubicBezTo>
                  <a:pt x="94" y="71"/>
                  <a:pt x="94" y="70"/>
                  <a:pt x="94" y="70"/>
                </a:cubicBezTo>
                <a:cubicBezTo>
                  <a:pt x="96" y="70"/>
                  <a:pt x="98" y="69"/>
                  <a:pt x="100" y="68"/>
                </a:cubicBezTo>
                <a:cubicBezTo>
                  <a:pt x="100" y="69"/>
                  <a:pt x="99" y="69"/>
                  <a:pt x="98" y="70"/>
                </a:cubicBezTo>
                <a:cubicBezTo>
                  <a:pt x="99" y="69"/>
                  <a:pt x="100" y="69"/>
                  <a:pt x="101" y="70"/>
                </a:cubicBezTo>
                <a:cubicBezTo>
                  <a:pt x="100" y="69"/>
                  <a:pt x="100" y="70"/>
                  <a:pt x="100" y="70"/>
                </a:cubicBezTo>
                <a:cubicBezTo>
                  <a:pt x="99" y="69"/>
                  <a:pt x="99" y="69"/>
                  <a:pt x="99" y="69"/>
                </a:cubicBezTo>
                <a:cubicBezTo>
                  <a:pt x="98" y="70"/>
                  <a:pt x="96" y="71"/>
                  <a:pt x="95" y="72"/>
                </a:cubicBezTo>
                <a:cubicBezTo>
                  <a:pt x="95" y="72"/>
                  <a:pt x="95" y="72"/>
                  <a:pt x="95" y="72"/>
                </a:cubicBezTo>
                <a:cubicBezTo>
                  <a:pt x="95" y="72"/>
                  <a:pt x="94" y="73"/>
                  <a:pt x="94" y="74"/>
                </a:cubicBezTo>
                <a:cubicBezTo>
                  <a:pt x="95" y="73"/>
                  <a:pt x="95" y="74"/>
                  <a:pt x="96" y="74"/>
                </a:cubicBezTo>
                <a:cubicBezTo>
                  <a:pt x="97" y="73"/>
                  <a:pt x="99" y="73"/>
                  <a:pt x="99" y="72"/>
                </a:cubicBezTo>
                <a:cubicBezTo>
                  <a:pt x="100" y="72"/>
                  <a:pt x="100" y="72"/>
                  <a:pt x="100" y="72"/>
                </a:cubicBezTo>
                <a:cubicBezTo>
                  <a:pt x="102" y="71"/>
                  <a:pt x="105" y="70"/>
                  <a:pt x="107" y="70"/>
                </a:cubicBezTo>
                <a:cubicBezTo>
                  <a:pt x="106" y="69"/>
                  <a:pt x="106" y="69"/>
                  <a:pt x="106" y="69"/>
                </a:cubicBezTo>
                <a:cubicBezTo>
                  <a:pt x="107" y="69"/>
                  <a:pt x="106" y="69"/>
                  <a:pt x="107" y="69"/>
                </a:cubicBezTo>
                <a:cubicBezTo>
                  <a:pt x="108" y="69"/>
                  <a:pt x="109" y="68"/>
                  <a:pt x="110" y="68"/>
                </a:cubicBezTo>
                <a:cubicBezTo>
                  <a:pt x="110" y="68"/>
                  <a:pt x="110" y="68"/>
                  <a:pt x="110" y="67"/>
                </a:cubicBezTo>
                <a:cubicBezTo>
                  <a:pt x="109" y="67"/>
                  <a:pt x="109" y="67"/>
                  <a:pt x="109" y="67"/>
                </a:cubicBezTo>
                <a:cubicBezTo>
                  <a:pt x="109" y="66"/>
                  <a:pt x="109" y="66"/>
                  <a:pt x="110" y="65"/>
                </a:cubicBezTo>
                <a:cubicBezTo>
                  <a:pt x="109" y="66"/>
                  <a:pt x="109" y="65"/>
                  <a:pt x="109" y="65"/>
                </a:cubicBezTo>
                <a:cubicBezTo>
                  <a:pt x="108" y="66"/>
                  <a:pt x="106" y="67"/>
                  <a:pt x="106" y="69"/>
                </a:cubicBezTo>
                <a:cubicBezTo>
                  <a:pt x="105" y="69"/>
                  <a:pt x="105" y="69"/>
                  <a:pt x="105" y="68"/>
                </a:cubicBezTo>
                <a:cubicBezTo>
                  <a:pt x="104" y="69"/>
                  <a:pt x="102" y="68"/>
                  <a:pt x="101" y="68"/>
                </a:cubicBezTo>
                <a:cubicBezTo>
                  <a:pt x="101" y="68"/>
                  <a:pt x="102" y="68"/>
                  <a:pt x="102" y="67"/>
                </a:cubicBezTo>
                <a:cubicBezTo>
                  <a:pt x="101" y="67"/>
                  <a:pt x="100" y="67"/>
                  <a:pt x="100" y="67"/>
                </a:cubicBezTo>
                <a:cubicBezTo>
                  <a:pt x="100" y="66"/>
                  <a:pt x="100" y="65"/>
                  <a:pt x="100" y="65"/>
                </a:cubicBezTo>
                <a:cubicBezTo>
                  <a:pt x="100" y="65"/>
                  <a:pt x="100" y="65"/>
                  <a:pt x="100" y="65"/>
                </a:cubicBezTo>
                <a:cubicBezTo>
                  <a:pt x="100" y="64"/>
                  <a:pt x="102" y="63"/>
                  <a:pt x="102" y="63"/>
                </a:cubicBezTo>
                <a:cubicBezTo>
                  <a:pt x="101" y="63"/>
                  <a:pt x="101" y="63"/>
                  <a:pt x="101" y="63"/>
                </a:cubicBezTo>
                <a:cubicBezTo>
                  <a:pt x="101" y="63"/>
                  <a:pt x="101" y="63"/>
                  <a:pt x="101" y="63"/>
                </a:cubicBezTo>
                <a:cubicBezTo>
                  <a:pt x="100" y="63"/>
                  <a:pt x="100" y="63"/>
                  <a:pt x="99" y="63"/>
                </a:cubicBezTo>
                <a:cubicBezTo>
                  <a:pt x="99" y="63"/>
                  <a:pt x="99" y="63"/>
                  <a:pt x="98" y="62"/>
                </a:cubicBezTo>
                <a:cubicBezTo>
                  <a:pt x="100" y="63"/>
                  <a:pt x="102" y="62"/>
                  <a:pt x="103" y="61"/>
                </a:cubicBezTo>
                <a:cubicBezTo>
                  <a:pt x="103" y="61"/>
                  <a:pt x="103" y="61"/>
                  <a:pt x="103" y="60"/>
                </a:cubicBezTo>
                <a:cubicBezTo>
                  <a:pt x="97" y="58"/>
                  <a:pt x="92" y="63"/>
                  <a:pt x="88" y="65"/>
                </a:cubicBezTo>
                <a:cubicBezTo>
                  <a:pt x="89" y="64"/>
                  <a:pt x="91" y="63"/>
                  <a:pt x="91" y="62"/>
                </a:cubicBezTo>
                <a:cubicBezTo>
                  <a:pt x="94" y="60"/>
                  <a:pt x="98" y="59"/>
                  <a:pt x="100" y="57"/>
                </a:cubicBezTo>
                <a:cubicBezTo>
                  <a:pt x="104" y="57"/>
                  <a:pt x="107" y="56"/>
                  <a:pt x="110" y="57"/>
                </a:cubicBezTo>
                <a:cubicBezTo>
                  <a:pt x="113" y="57"/>
                  <a:pt x="114" y="57"/>
                  <a:pt x="116" y="56"/>
                </a:cubicBezTo>
                <a:cubicBezTo>
                  <a:pt x="117" y="53"/>
                  <a:pt x="122" y="54"/>
                  <a:pt x="124" y="52"/>
                </a:cubicBezTo>
                <a:cubicBezTo>
                  <a:pt x="124" y="51"/>
                  <a:pt x="124" y="52"/>
                  <a:pt x="124" y="51"/>
                </a:cubicBezTo>
                <a:cubicBezTo>
                  <a:pt x="123" y="51"/>
                  <a:pt x="123" y="51"/>
                  <a:pt x="123" y="51"/>
                </a:cubicBezTo>
                <a:cubicBezTo>
                  <a:pt x="124" y="51"/>
                  <a:pt x="124" y="51"/>
                  <a:pt x="124" y="51"/>
                </a:cubicBezTo>
                <a:cubicBezTo>
                  <a:pt x="124" y="50"/>
                  <a:pt x="125" y="50"/>
                  <a:pt x="124" y="50"/>
                </a:cubicBezTo>
                <a:cubicBezTo>
                  <a:pt x="124" y="50"/>
                  <a:pt x="125" y="50"/>
                  <a:pt x="125" y="49"/>
                </a:cubicBezTo>
                <a:cubicBezTo>
                  <a:pt x="125" y="49"/>
                  <a:pt x="123" y="48"/>
                  <a:pt x="124" y="48"/>
                </a:cubicBezTo>
                <a:cubicBezTo>
                  <a:pt x="123" y="48"/>
                  <a:pt x="122" y="48"/>
                  <a:pt x="122" y="49"/>
                </a:cubicBezTo>
                <a:cubicBezTo>
                  <a:pt x="122" y="48"/>
                  <a:pt x="122" y="48"/>
                  <a:pt x="122" y="48"/>
                </a:cubicBezTo>
                <a:cubicBezTo>
                  <a:pt x="122" y="48"/>
                  <a:pt x="122" y="48"/>
                  <a:pt x="123" y="48"/>
                </a:cubicBezTo>
                <a:cubicBezTo>
                  <a:pt x="123" y="47"/>
                  <a:pt x="123" y="47"/>
                  <a:pt x="123" y="47"/>
                </a:cubicBezTo>
                <a:cubicBezTo>
                  <a:pt x="122" y="47"/>
                  <a:pt x="122" y="47"/>
                  <a:pt x="121" y="47"/>
                </a:cubicBezTo>
                <a:cubicBezTo>
                  <a:pt x="122" y="46"/>
                  <a:pt x="123" y="47"/>
                  <a:pt x="123" y="46"/>
                </a:cubicBezTo>
                <a:cubicBezTo>
                  <a:pt x="123" y="46"/>
                  <a:pt x="123" y="46"/>
                  <a:pt x="122" y="46"/>
                </a:cubicBezTo>
                <a:cubicBezTo>
                  <a:pt x="122" y="45"/>
                  <a:pt x="122" y="45"/>
                  <a:pt x="122" y="45"/>
                </a:cubicBezTo>
                <a:cubicBezTo>
                  <a:pt x="122" y="45"/>
                  <a:pt x="121" y="46"/>
                  <a:pt x="120" y="45"/>
                </a:cubicBezTo>
                <a:cubicBezTo>
                  <a:pt x="121" y="44"/>
                  <a:pt x="121" y="44"/>
                  <a:pt x="121" y="44"/>
                </a:cubicBezTo>
                <a:cubicBezTo>
                  <a:pt x="120" y="45"/>
                  <a:pt x="120" y="45"/>
                  <a:pt x="120" y="44"/>
                </a:cubicBezTo>
                <a:cubicBezTo>
                  <a:pt x="119" y="45"/>
                  <a:pt x="120" y="44"/>
                  <a:pt x="119" y="44"/>
                </a:cubicBezTo>
                <a:cubicBezTo>
                  <a:pt x="119" y="44"/>
                  <a:pt x="119" y="44"/>
                  <a:pt x="119" y="44"/>
                </a:cubicBezTo>
                <a:cubicBezTo>
                  <a:pt x="119" y="44"/>
                  <a:pt x="118" y="44"/>
                  <a:pt x="118" y="44"/>
                </a:cubicBezTo>
                <a:cubicBezTo>
                  <a:pt x="119" y="44"/>
                  <a:pt x="118" y="43"/>
                  <a:pt x="119" y="43"/>
                </a:cubicBezTo>
                <a:cubicBezTo>
                  <a:pt x="118" y="43"/>
                  <a:pt x="117" y="43"/>
                  <a:pt x="117" y="42"/>
                </a:cubicBezTo>
                <a:cubicBezTo>
                  <a:pt x="117" y="42"/>
                  <a:pt x="117" y="42"/>
                  <a:pt x="117" y="42"/>
                </a:cubicBezTo>
                <a:cubicBezTo>
                  <a:pt x="117" y="42"/>
                  <a:pt x="117" y="42"/>
                  <a:pt x="116" y="42"/>
                </a:cubicBezTo>
                <a:cubicBezTo>
                  <a:pt x="117" y="42"/>
                  <a:pt x="116" y="41"/>
                  <a:pt x="116" y="41"/>
                </a:cubicBezTo>
                <a:cubicBezTo>
                  <a:pt x="117" y="41"/>
                  <a:pt x="117" y="41"/>
                  <a:pt x="117" y="40"/>
                </a:cubicBezTo>
                <a:cubicBezTo>
                  <a:pt x="117" y="41"/>
                  <a:pt x="117" y="41"/>
                  <a:pt x="118" y="41"/>
                </a:cubicBezTo>
                <a:cubicBezTo>
                  <a:pt x="118" y="40"/>
                  <a:pt x="118" y="40"/>
                  <a:pt x="118" y="40"/>
                </a:cubicBezTo>
                <a:cubicBezTo>
                  <a:pt x="117" y="39"/>
                  <a:pt x="117" y="39"/>
                  <a:pt x="117" y="39"/>
                </a:cubicBezTo>
                <a:cubicBezTo>
                  <a:pt x="118" y="39"/>
                  <a:pt x="117" y="39"/>
                  <a:pt x="117" y="39"/>
                </a:cubicBezTo>
                <a:cubicBezTo>
                  <a:pt x="117" y="39"/>
                  <a:pt x="118" y="38"/>
                  <a:pt x="118" y="38"/>
                </a:cubicBezTo>
                <a:cubicBezTo>
                  <a:pt x="117" y="38"/>
                  <a:pt x="118" y="38"/>
                  <a:pt x="118" y="38"/>
                </a:cubicBezTo>
                <a:cubicBezTo>
                  <a:pt x="117" y="38"/>
                  <a:pt x="118" y="37"/>
                  <a:pt x="117" y="37"/>
                </a:cubicBezTo>
                <a:cubicBezTo>
                  <a:pt x="118" y="36"/>
                  <a:pt x="118" y="36"/>
                  <a:pt x="118" y="36"/>
                </a:cubicBezTo>
                <a:cubicBezTo>
                  <a:pt x="117" y="36"/>
                  <a:pt x="117" y="37"/>
                  <a:pt x="117" y="36"/>
                </a:cubicBezTo>
                <a:cubicBezTo>
                  <a:pt x="117" y="36"/>
                  <a:pt x="117" y="36"/>
                  <a:pt x="117" y="35"/>
                </a:cubicBezTo>
                <a:cubicBezTo>
                  <a:pt x="117" y="35"/>
                  <a:pt x="117" y="35"/>
                  <a:pt x="117" y="35"/>
                </a:cubicBezTo>
                <a:cubicBezTo>
                  <a:pt x="117" y="35"/>
                  <a:pt x="117" y="35"/>
                  <a:pt x="117" y="35"/>
                </a:cubicBezTo>
                <a:cubicBezTo>
                  <a:pt x="117" y="34"/>
                  <a:pt x="117" y="34"/>
                  <a:pt x="117" y="34"/>
                </a:cubicBezTo>
                <a:cubicBezTo>
                  <a:pt x="116" y="34"/>
                  <a:pt x="116" y="34"/>
                  <a:pt x="116" y="34"/>
                </a:cubicBezTo>
                <a:cubicBezTo>
                  <a:pt x="117" y="34"/>
                  <a:pt x="117" y="34"/>
                  <a:pt x="117" y="34"/>
                </a:cubicBezTo>
                <a:cubicBezTo>
                  <a:pt x="116" y="34"/>
                  <a:pt x="117" y="33"/>
                  <a:pt x="116" y="33"/>
                </a:cubicBezTo>
                <a:cubicBezTo>
                  <a:pt x="117" y="33"/>
                  <a:pt x="116" y="33"/>
                  <a:pt x="116" y="33"/>
                </a:cubicBezTo>
                <a:cubicBezTo>
                  <a:pt x="116" y="32"/>
                  <a:pt x="117" y="32"/>
                  <a:pt x="117" y="32"/>
                </a:cubicBezTo>
                <a:cubicBezTo>
                  <a:pt x="116" y="32"/>
                  <a:pt x="116" y="31"/>
                  <a:pt x="116" y="31"/>
                </a:cubicBezTo>
                <a:cubicBezTo>
                  <a:pt x="115" y="32"/>
                  <a:pt x="115" y="33"/>
                  <a:pt x="114" y="33"/>
                </a:cubicBezTo>
                <a:cubicBezTo>
                  <a:pt x="113" y="34"/>
                  <a:pt x="114" y="34"/>
                  <a:pt x="114" y="34"/>
                </a:cubicBezTo>
                <a:cubicBezTo>
                  <a:pt x="113" y="34"/>
                  <a:pt x="112" y="35"/>
                  <a:pt x="111" y="36"/>
                </a:cubicBezTo>
                <a:cubicBezTo>
                  <a:pt x="110" y="35"/>
                  <a:pt x="109" y="37"/>
                  <a:pt x="108" y="37"/>
                </a:cubicBezTo>
                <a:cubicBezTo>
                  <a:pt x="108" y="36"/>
                  <a:pt x="108" y="36"/>
                  <a:pt x="108" y="36"/>
                </a:cubicBezTo>
                <a:cubicBezTo>
                  <a:pt x="107" y="37"/>
                  <a:pt x="107" y="37"/>
                  <a:pt x="108" y="36"/>
                </a:cubicBezTo>
                <a:cubicBezTo>
                  <a:pt x="107" y="36"/>
                  <a:pt x="107" y="36"/>
                  <a:pt x="107" y="35"/>
                </a:cubicBezTo>
                <a:cubicBezTo>
                  <a:pt x="106" y="35"/>
                  <a:pt x="106" y="35"/>
                  <a:pt x="105" y="35"/>
                </a:cubicBezTo>
                <a:cubicBezTo>
                  <a:pt x="106" y="35"/>
                  <a:pt x="105" y="34"/>
                  <a:pt x="106" y="35"/>
                </a:cubicBezTo>
                <a:cubicBezTo>
                  <a:pt x="106" y="34"/>
                  <a:pt x="105" y="35"/>
                  <a:pt x="106" y="34"/>
                </a:cubicBezTo>
                <a:cubicBezTo>
                  <a:pt x="106" y="34"/>
                  <a:pt x="107" y="33"/>
                  <a:pt x="106" y="33"/>
                </a:cubicBezTo>
                <a:cubicBezTo>
                  <a:pt x="107" y="32"/>
                  <a:pt x="108" y="31"/>
                  <a:pt x="108" y="30"/>
                </a:cubicBezTo>
                <a:cubicBezTo>
                  <a:pt x="108" y="30"/>
                  <a:pt x="108" y="31"/>
                  <a:pt x="107" y="31"/>
                </a:cubicBezTo>
                <a:cubicBezTo>
                  <a:pt x="107" y="30"/>
                  <a:pt x="107" y="30"/>
                  <a:pt x="107" y="30"/>
                </a:cubicBezTo>
                <a:cubicBezTo>
                  <a:pt x="106" y="30"/>
                  <a:pt x="105" y="30"/>
                  <a:pt x="105" y="30"/>
                </a:cubicBezTo>
                <a:cubicBezTo>
                  <a:pt x="105" y="29"/>
                  <a:pt x="105" y="29"/>
                  <a:pt x="105" y="29"/>
                </a:cubicBezTo>
                <a:cubicBezTo>
                  <a:pt x="105" y="29"/>
                  <a:pt x="105" y="29"/>
                  <a:pt x="105" y="29"/>
                </a:cubicBezTo>
                <a:cubicBezTo>
                  <a:pt x="105" y="28"/>
                  <a:pt x="104" y="28"/>
                  <a:pt x="104" y="28"/>
                </a:cubicBezTo>
                <a:cubicBezTo>
                  <a:pt x="103" y="28"/>
                  <a:pt x="103" y="27"/>
                  <a:pt x="103" y="27"/>
                </a:cubicBezTo>
                <a:cubicBezTo>
                  <a:pt x="100" y="29"/>
                  <a:pt x="95" y="24"/>
                  <a:pt x="94" y="28"/>
                </a:cubicBezTo>
                <a:cubicBezTo>
                  <a:pt x="94" y="29"/>
                  <a:pt x="94" y="29"/>
                  <a:pt x="94" y="29"/>
                </a:cubicBezTo>
                <a:cubicBezTo>
                  <a:pt x="94" y="30"/>
                  <a:pt x="92" y="30"/>
                  <a:pt x="92" y="31"/>
                </a:cubicBezTo>
                <a:cubicBezTo>
                  <a:pt x="92" y="31"/>
                  <a:pt x="92" y="31"/>
                  <a:pt x="92" y="31"/>
                </a:cubicBezTo>
                <a:cubicBezTo>
                  <a:pt x="92" y="32"/>
                  <a:pt x="92" y="32"/>
                  <a:pt x="92" y="33"/>
                </a:cubicBezTo>
                <a:cubicBezTo>
                  <a:pt x="92" y="33"/>
                  <a:pt x="92" y="33"/>
                  <a:pt x="92" y="33"/>
                </a:cubicBezTo>
                <a:cubicBezTo>
                  <a:pt x="91" y="34"/>
                  <a:pt x="89" y="34"/>
                  <a:pt x="88" y="36"/>
                </a:cubicBezTo>
                <a:cubicBezTo>
                  <a:pt x="93" y="40"/>
                  <a:pt x="84" y="45"/>
                  <a:pt x="80" y="46"/>
                </a:cubicBezTo>
                <a:cubicBezTo>
                  <a:pt x="80" y="46"/>
                  <a:pt x="79" y="46"/>
                  <a:pt x="80" y="47"/>
                </a:cubicBezTo>
                <a:cubicBezTo>
                  <a:pt x="80" y="47"/>
                  <a:pt x="80" y="47"/>
                  <a:pt x="80" y="47"/>
                </a:cubicBezTo>
                <a:cubicBezTo>
                  <a:pt x="80" y="48"/>
                  <a:pt x="78" y="50"/>
                  <a:pt x="79" y="51"/>
                </a:cubicBezTo>
                <a:cubicBezTo>
                  <a:pt x="78" y="52"/>
                  <a:pt x="77" y="53"/>
                  <a:pt x="77" y="54"/>
                </a:cubicBezTo>
                <a:cubicBezTo>
                  <a:pt x="77" y="54"/>
                  <a:pt x="76" y="54"/>
                  <a:pt x="76" y="53"/>
                </a:cubicBezTo>
                <a:cubicBezTo>
                  <a:pt x="76" y="53"/>
                  <a:pt x="75" y="54"/>
                  <a:pt x="75" y="55"/>
                </a:cubicBezTo>
                <a:cubicBezTo>
                  <a:pt x="74" y="54"/>
                  <a:pt x="74" y="54"/>
                  <a:pt x="73" y="54"/>
                </a:cubicBezTo>
                <a:cubicBezTo>
                  <a:pt x="74" y="53"/>
                  <a:pt x="73" y="52"/>
                  <a:pt x="72" y="52"/>
                </a:cubicBezTo>
                <a:cubicBezTo>
                  <a:pt x="73" y="52"/>
                  <a:pt x="73" y="52"/>
                  <a:pt x="73" y="51"/>
                </a:cubicBezTo>
                <a:cubicBezTo>
                  <a:pt x="73" y="51"/>
                  <a:pt x="72" y="50"/>
                  <a:pt x="72" y="50"/>
                </a:cubicBezTo>
                <a:cubicBezTo>
                  <a:pt x="74" y="48"/>
                  <a:pt x="74" y="46"/>
                  <a:pt x="75" y="44"/>
                </a:cubicBezTo>
                <a:cubicBezTo>
                  <a:pt x="74" y="44"/>
                  <a:pt x="72" y="44"/>
                  <a:pt x="70" y="44"/>
                </a:cubicBezTo>
                <a:cubicBezTo>
                  <a:pt x="70" y="43"/>
                  <a:pt x="68" y="43"/>
                  <a:pt x="67" y="42"/>
                </a:cubicBezTo>
                <a:cubicBezTo>
                  <a:pt x="66" y="39"/>
                  <a:pt x="62" y="39"/>
                  <a:pt x="59" y="40"/>
                </a:cubicBezTo>
                <a:cubicBezTo>
                  <a:pt x="60" y="39"/>
                  <a:pt x="60" y="37"/>
                  <a:pt x="61" y="36"/>
                </a:cubicBezTo>
                <a:cubicBezTo>
                  <a:pt x="60" y="36"/>
                  <a:pt x="59" y="35"/>
                  <a:pt x="58" y="36"/>
                </a:cubicBezTo>
                <a:cubicBezTo>
                  <a:pt x="58" y="34"/>
                  <a:pt x="59" y="34"/>
                  <a:pt x="60" y="33"/>
                </a:cubicBezTo>
                <a:cubicBezTo>
                  <a:pt x="59" y="33"/>
                  <a:pt x="59" y="32"/>
                  <a:pt x="59" y="32"/>
                </a:cubicBezTo>
                <a:cubicBezTo>
                  <a:pt x="60" y="32"/>
                  <a:pt x="60" y="32"/>
                  <a:pt x="61" y="32"/>
                </a:cubicBezTo>
                <a:cubicBezTo>
                  <a:pt x="62" y="31"/>
                  <a:pt x="64" y="29"/>
                  <a:pt x="66" y="29"/>
                </a:cubicBezTo>
                <a:cubicBezTo>
                  <a:pt x="65" y="28"/>
                  <a:pt x="68" y="28"/>
                  <a:pt x="67" y="27"/>
                </a:cubicBezTo>
                <a:cubicBezTo>
                  <a:pt x="68" y="27"/>
                  <a:pt x="67" y="28"/>
                  <a:pt x="68" y="28"/>
                </a:cubicBezTo>
                <a:cubicBezTo>
                  <a:pt x="68" y="26"/>
                  <a:pt x="69" y="27"/>
                  <a:pt x="70" y="26"/>
                </a:cubicBezTo>
                <a:cubicBezTo>
                  <a:pt x="69" y="26"/>
                  <a:pt x="69" y="26"/>
                  <a:pt x="69" y="26"/>
                </a:cubicBezTo>
                <a:cubicBezTo>
                  <a:pt x="71" y="26"/>
                  <a:pt x="73" y="26"/>
                  <a:pt x="73" y="25"/>
                </a:cubicBezTo>
                <a:cubicBezTo>
                  <a:pt x="73" y="24"/>
                  <a:pt x="71" y="24"/>
                  <a:pt x="71" y="24"/>
                </a:cubicBezTo>
                <a:cubicBezTo>
                  <a:pt x="72" y="24"/>
                  <a:pt x="71" y="24"/>
                  <a:pt x="71" y="23"/>
                </a:cubicBezTo>
                <a:cubicBezTo>
                  <a:pt x="73" y="24"/>
                  <a:pt x="76" y="24"/>
                  <a:pt x="76" y="23"/>
                </a:cubicBezTo>
                <a:cubicBezTo>
                  <a:pt x="78" y="24"/>
                  <a:pt x="82" y="22"/>
                  <a:pt x="83" y="20"/>
                </a:cubicBezTo>
                <a:cubicBezTo>
                  <a:pt x="83" y="20"/>
                  <a:pt x="83" y="20"/>
                  <a:pt x="83" y="20"/>
                </a:cubicBezTo>
                <a:cubicBezTo>
                  <a:pt x="84" y="20"/>
                  <a:pt x="86" y="19"/>
                  <a:pt x="87" y="18"/>
                </a:cubicBezTo>
                <a:cubicBezTo>
                  <a:pt x="86" y="18"/>
                  <a:pt x="86" y="18"/>
                  <a:pt x="86" y="18"/>
                </a:cubicBezTo>
                <a:cubicBezTo>
                  <a:pt x="86" y="17"/>
                  <a:pt x="86" y="17"/>
                  <a:pt x="86" y="17"/>
                </a:cubicBezTo>
                <a:cubicBezTo>
                  <a:pt x="87" y="17"/>
                  <a:pt x="88" y="18"/>
                  <a:pt x="88" y="17"/>
                </a:cubicBezTo>
                <a:cubicBezTo>
                  <a:pt x="88" y="18"/>
                  <a:pt x="88" y="18"/>
                  <a:pt x="88" y="18"/>
                </a:cubicBezTo>
                <a:cubicBezTo>
                  <a:pt x="89" y="18"/>
                  <a:pt x="89" y="18"/>
                  <a:pt x="89" y="18"/>
                </a:cubicBezTo>
                <a:cubicBezTo>
                  <a:pt x="89" y="19"/>
                  <a:pt x="90" y="19"/>
                  <a:pt x="89" y="19"/>
                </a:cubicBezTo>
                <a:cubicBezTo>
                  <a:pt x="90" y="19"/>
                  <a:pt x="90" y="20"/>
                  <a:pt x="91" y="19"/>
                </a:cubicBezTo>
                <a:cubicBezTo>
                  <a:pt x="91" y="19"/>
                  <a:pt x="90" y="19"/>
                  <a:pt x="90" y="18"/>
                </a:cubicBezTo>
                <a:cubicBezTo>
                  <a:pt x="90" y="18"/>
                  <a:pt x="89" y="18"/>
                  <a:pt x="90" y="18"/>
                </a:cubicBezTo>
                <a:cubicBezTo>
                  <a:pt x="90" y="18"/>
                  <a:pt x="91" y="18"/>
                  <a:pt x="91" y="18"/>
                </a:cubicBezTo>
                <a:cubicBezTo>
                  <a:pt x="91" y="18"/>
                  <a:pt x="91" y="17"/>
                  <a:pt x="91" y="17"/>
                </a:cubicBezTo>
                <a:cubicBezTo>
                  <a:pt x="91" y="17"/>
                  <a:pt x="92" y="17"/>
                  <a:pt x="91" y="18"/>
                </a:cubicBezTo>
                <a:cubicBezTo>
                  <a:pt x="94" y="17"/>
                  <a:pt x="96" y="16"/>
                  <a:pt x="97" y="15"/>
                </a:cubicBezTo>
                <a:cubicBezTo>
                  <a:pt x="97" y="15"/>
                  <a:pt x="97" y="14"/>
                  <a:pt x="97" y="14"/>
                </a:cubicBezTo>
                <a:cubicBezTo>
                  <a:pt x="97" y="14"/>
                  <a:pt x="97" y="14"/>
                  <a:pt x="97" y="13"/>
                </a:cubicBezTo>
                <a:cubicBezTo>
                  <a:pt x="97" y="13"/>
                  <a:pt x="97" y="14"/>
                  <a:pt x="97" y="13"/>
                </a:cubicBezTo>
                <a:cubicBezTo>
                  <a:pt x="97" y="13"/>
                  <a:pt x="97" y="13"/>
                  <a:pt x="97" y="13"/>
                </a:cubicBezTo>
                <a:cubicBezTo>
                  <a:pt x="98" y="13"/>
                  <a:pt x="99" y="13"/>
                  <a:pt x="100" y="12"/>
                </a:cubicBezTo>
                <a:cubicBezTo>
                  <a:pt x="99" y="12"/>
                  <a:pt x="99" y="12"/>
                  <a:pt x="99" y="12"/>
                </a:cubicBezTo>
                <a:cubicBezTo>
                  <a:pt x="100" y="12"/>
                  <a:pt x="100" y="12"/>
                  <a:pt x="100" y="11"/>
                </a:cubicBezTo>
                <a:cubicBezTo>
                  <a:pt x="100" y="11"/>
                  <a:pt x="100" y="11"/>
                  <a:pt x="99" y="11"/>
                </a:cubicBezTo>
                <a:cubicBezTo>
                  <a:pt x="99" y="11"/>
                  <a:pt x="99" y="11"/>
                  <a:pt x="99" y="10"/>
                </a:cubicBezTo>
                <a:cubicBezTo>
                  <a:pt x="99" y="10"/>
                  <a:pt x="99" y="10"/>
                  <a:pt x="99" y="10"/>
                </a:cubicBezTo>
                <a:cubicBezTo>
                  <a:pt x="98" y="10"/>
                  <a:pt x="96" y="10"/>
                  <a:pt x="94" y="10"/>
                </a:cubicBezTo>
                <a:cubicBezTo>
                  <a:pt x="94" y="11"/>
                  <a:pt x="93" y="11"/>
                  <a:pt x="93" y="11"/>
                </a:cubicBezTo>
                <a:cubicBezTo>
                  <a:pt x="94" y="11"/>
                  <a:pt x="94" y="11"/>
                  <a:pt x="94" y="12"/>
                </a:cubicBezTo>
                <a:cubicBezTo>
                  <a:pt x="94" y="12"/>
                  <a:pt x="93" y="12"/>
                  <a:pt x="94" y="12"/>
                </a:cubicBezTo>
                <a:cubicBezTo>
                  <a:pt x="91" y="12"/>
                  <a:pt x="91" y="14"/>
                  <a:pt x="90" y="14"/>
                </a:cubicBezTo>
                <a:cubicBezTo>
                  <a:pt x="90" y="13"/>
                  <a:pt x="90" y="13"/>
                  <a:pt x="90" y="13"/>
                </a:cubicBezTo>
                <a:cubicBezTo>
                  <a:pt x="89" y="13"/>
                  <a:pt x="89" y="14"/>
                  <a:pt x="88" y="14"/>
                </a:cubicBezTo>
                <a:cubicBezTo>
                  <a:pt x="88" y="15"/>
                  <a:pt x="89" y="14"/>
                  <a:pt x="89" y="15"/>
                </a:cubicBezTo>
                <a:cubicBezTo>
                  <a:pt x="88" y="15"/>
                  <a:pt x="87" y="16"/>
                  <a:pt x="86" y="16"/>
                </a:cubicBezTo>
                <a:cubicBezTo>
                  <a:pt x="87" y="15"/>
                  <a:pt x="86" y="15"/>
                  <a:pt x="86" y="14"/>
                </a:cubicBezTo>
                <a:cubicBezTo>
                  <a:pt x="86" y="14"/>
                  <a:pt x="87" y="14"/>
                  <a:pt x="87" y="13"/>
                </a:cubicBezTo>
                <a:cubicBezTo>
                  <a:pt x="87" y="13"/>
                  <a:pt x="87" y="14"/>
                  <a:pt x="87" y="14"/>
                </a:cubicBezTo>
                <a:cubicBezTo>
                  <a:pt x="88" y="13"/>
                  <a:pt x="88" y="13"/>
                  <a:pt x="88" y="12"/>
                </a:cubicBezTo>
                <a:cubicBezTo>
                  <a:pt x="88" y="12"/>
                  <a:pt x="87" y="12"/>
                  <a:pt x="88" y="11"/>
                </a:cubicBezTo>
                <a:cubicBezTo>
                  <a:pt x="86" y="11"/>
                  <a:pt x="85" y="13"/>
                  <a:pt x="84" y="13"/>
                </a:cubicBezTo>
                <a:cubicBezTo>
                  <a:pt x="83" y="12"/>
                  <a:pt x="84" y="13"/>
                  <a:pt x="84" y="12"/>
                </a:cubicBezTo>
                <a:cubicBezTo>
                  <a:pt x="84" y="11"/>
                  <a:pt x="83" y="11"/>
                  <a:pt x="84" y="11"/>
                </a:cubicBezTo>
                <a:cubicBezTo>
                  <a:pt x="84" y="11"/>
                  <a:pt x="85" y="11"/>
                  <a:pt x="86" y="11"/>
                </a:cubicBezTo>
                <a:cubicBezTo>
                  <a:pt x="85" y="11"/>
                  <a:pt x="84" y="11"/>
                  <a:pt x="85" y="10"/>
                </a:cubicBezTo>
                <a:cubicBezTo>
                  <a:pt x="84" y="10"/>
                  <a:pt x="84" y="11"/>
                  <a:pt x="83" y="11"/>
                </a:cubicBezTo>
                <a:cubicBezTo>
                  <a:pt x="82" y="10"/>
                  <a:pt x="82" y="10"/>
                  <a:pt x="82" y="10"/>
                </a:cubicBezTo>
                <a:cubicBezTo>
                  <a:pt x="83" y="10"/>
                  <a:pt x="84" y="9"/>
                  <a:pt x="84" y="9"/>
                </a:cubicBezTo>
                <a:cubicBezTo>
                  <a:pt x="84" y="9"/>
                  <a:pt x="85" y="10"/>
                  <a:pt x="85" y="9"/>
                </a:cubicBezTo>
                <a:cubicBezTo>
                  <a:pt x="84" y="9"/>
                  <a:pt x="85" y="8"/>
                  <a:pt x="84" y="8"/>
                </a:cubicBezTo>
                <a:cubicBezTo>
                  <a:pt x="84" y="7"/>
                  <a:pt x="85" y="7"/>
                  <a:pt x="85" y="6"/>
                </a:cubicBezTo>
                <a:cubicBezTo>
                  <a:pt x="84" y="6"/>
                  <a:pt x="84" y="6"/>
                  <a:pt x="84" y="6"/>
                </a:cubicBezTo>
                <a:cubicBezTo>
                  <a:pt x="84" y="5"/>
                  <a:pt x="84" y="5"/>
                  <a:pt x="84" y="5"/>
                </a:cubicBezTo>
                <a:cubicBezTo>
                  <a:pt x="85" y="5"/>
                  <a:pt x="87" y="5"/>
                  <a:pt x="87" y="4"/>
                </a:cubicBezTo>
                <a:cubicBezTo>
                  <a:pt x="91" y="4"/>
                  <a:pt x="92" y="2"/>
                  <a:pt x="95" y="1"/>
                </a:cubicBezTo>
                <a:cubicBezTo>
                  <a:pt x="92" y="1"/>
                  <a:pt x="90" y="0"/>
                  <a:pt x="87" y="1"/>
                </a:cubicBezTo>
                <a:cubicBezTo>
                  <a:pt x="87" y="2"/>
                  <a:pt x="87" y="2"/>
                  <a:pt x="87" y="2"/>
                </a:cubicBezTo>
                <a:cubicBezTo>
                  <a:pt x="85" y="1"/>
                  <a:pt x="84" y="4"/>
                  <a:pt x="83" y="6"/>
                </a:cubicBezTo>
                <a:cubicBezTo>
                  <a:pt x="82" y="6"/>
                  <a:pt x="81" y="6"/>
                  <a:pt x="81" y="6"/>
                </a:cubicBezTo>
                <a:cubicBezTo>
                  <a:pt x="82" y="7"/>
                  <a:pt x="80" y="7"/>
                  <a:pt x="79" y="7"/>
                </a:cubicBezTo>
                <a:cubicBezTo>
                  <a:pt x="79" y="7"/>
                  <a:pt x="78" y="8"/>
                  <a:pt x="78" y="8"/>
                </a:cubicBezTo>
                <a:cubicBezTo>
                  <a:pt x="78" y="8"/>
                  <a:pt x="78" y="8"/>
                  <a:pt x="78" y="8"/>
                </a:cubicBezTo>
                <a:cubicBezTo>
                  <a:pt x="77" y="8"/>
                  <a:pt x="77" y="9"/>
                  <a:pt x="77" y="10"/>
                </a:cubicBezTo>
                <a:cubicBezTo>
                  <a:pt x="77" y="10"/>
                  <a:pt x="78" y="11"/>
                  <a:pt x="79" y="10"/>
                </a:cubicBezTo>
                <a:cubicBezTo>
                  <a:pt x="79" y="11"/>
                  <a:pt x="79" y="10"/>
                  <a:pt x="79" y="11"/>
                </a:cubicBezTo>
                <a:cubicBezTo>
                  <a:pt x="78" y="12"/>
                  <a:pt x="78" y="12"/>
                  <a:pt x="77" y="12"/>
                </a:cubicBezTo>
                <a:cubicBezTo>
                  <a:pt x="78" y="13"/>
                  <a:pt x="78" y="12"/>
                  <a:pt x="79" y="12"/>
                </a:cubicBezTo>
                <a:cubicBezTo>
                  <a:pt x="77" y="14"/>
                  <a:pt x="73" y="13"/>
                  <a:pt x="72" y="16"/>
                </a:cubicBezTo>
                <a:cubicBezTo>
                  <a:pt x="72" y="15"/>
                  <a:pt x="72" y="15"/>
                  <a:pt x="72" y="15"/>
                </a:cubicBezTo>
                <a:cubicBezTo>
                  <a:pt x="72" y="16"/>
                  <a:pt x="72" y="16"/>
                  <a:pt x="71" y="16"/>
                </a:cubicBezTo>
                <a:cubicBezTo>
                  <a:pt x="72" y="15"/>
                  <a:pt x="72" y="15"/>
                  <a:pt x="71" y="15"/>
                </a:cubicBezTo>
                <a:cubicBezTo>
                  <a:pt x="72" y="15"/>
                  <a:pt x="73" y="14"/>
                  <a:pt x="74" y="13"/>
                </a:cubicBezTo>
                <a:cubicBezTo>
                  <a:pt x="73" y="13"/>
                  <a:pt x="72" y="14"/>
                  <a:pt x="72" y="13"/>
                </a:cubicBezTo>
                <a:cubicBezTo>
                  <a:pt x="73" y="13"/>
                  <a:pt x="75" y="13"/>
                  <a:pt x="76" y="12"/>
                </a:cubicBezTo>
                <a:cubicBezTo>
                  <a:pt x="75" y="12"/>
                  <a:pt x="75" y="12"/>
                  <a:pt x="75" y="12"/>
                </a:cubicBezTo>
                <a:cubicBezTo>
                  <a:pt x="75" y="11"/>
                  <a:pt x="76" y="12"/>
                  <a:pt x="76" y="11"/>
                </a:cubicBezTo>
                <a:cubicBezTo>
                  <a:pt x="75" y="10"/>
                  <a:pt x="73" y="9"/>
                  <a:pt x="72" y="11"/>
                </a:cubicBezTo>
                <a:cubicBezTo>
                  <a:pt x="72" y="10"/>
                  <a:pt x="72" y="10"/>
                  <a:pt x="72" y="10"/>
                </a:cubicBezTo>
                <a:cubicBezTo>
                  <a:pt x="72" y="12"/>
                  <a:pt x="69" y="11"/>
                  <a:pt x="69" y="12"/>
                </a:cubicBezTo>
                <a:cubicBezTo>
                  <a:pt x="70" y="12"/>
                  <a:pt x="70" y="12"/>
                  <a:pt x="70" y="12"/>
                </a:cubicBezTo>
                <a:cubicBezTo>
                  <a:pt x="70" y="12"/>
                  <a:pt x="70" y="12"/>
                  <a:pt x="70" y="12"/>
                </a:cubicBezTo>
                <a:cubicBezTo>
                  <a:pt x="71" y="12"/>
                  <a:pt x="71" y="12"/>
                  <a:pt x="71" y="13"/>
                </a:cubicBezTo>
                <a:cubicBezTo>
                  <a:pt x="71" y="13"/>
                  <a:pt x="70" y="13"/>
                  <a:pt x="69" y="13"/>
                </a:cubicBezTo>
                <a:cubicBezTo>
                  <a:pt x="69" y="14"/>
                  <a:pt x="69" y="14"/>
                  <a:pt x="69" y="14"/>
                </a:cubicBezTo>
                <a:cubicBezTo>
                  <a:pt x="71" y="14"/>
                  <a:pt x="71" y="14"/>
                  <a:pt x="71" y="14"/>
                </a:cubicBezTo>
                <a:cubicBezTo>
                  <a:pt x="70" y="15"/>
                  <a:pt x="70" y="15"/>
                  <a:pt x="70" y="15"/>
                </a:cubicBezTo>
                <a:cubicBezTo>
                  <a:pt x="69" y="15"/>
                  <a:pt x="69" y="14"/>
                  <a:pt x="68" y="14"/>
                </a:cubicBezTo>
                <a:cubicBezTo>
                  <a:pt x="67" y="14"/>
                  <a:pt x="62" y="15"/>
                  <a:pt x="61" y="14"/>
                </a:cubicBezTo>
                <a:cubicBezTo>
                  <a:pt x="60" y="14"/>
                  <a:pt x="59" y="14"/>
                  <a:pt x="59" y="14"/>
                </a:cubicBezTo>
                <a:cubicBezTo>
                  <a:pt x="59" y="13"/>
                  <a:pt x="58" y="13"/>
                  <a:pt x="58" y="13"/>
                </a:cubicBezTo>
                <a:cubicBezTo>
                  <a:pt x="58" y="13"/>
                  <a:pt x="58" y="13"/>
                  <a:pt x="58" y="12"/>
                </a:cubicBezTo>
                <a:cubicBezTo>
                  <a:pt x="56" y="11"/>
                  <a:pt x="54" y="13"/>
                  <a:pt x="52" y="14"/>
                </a:cubicBezTo>
                <a:cubicBezTo>
                  <a:pt x="52" y="14"/>
                  <a:pt x="53" y="13"/>
                  <a:pt x="53" y="14"/>
                </a:cubicBezTo>
                <a:cubicBezTo>
                  <a:pt x="53" y="14"/>
                  <a:pt x="53" y="14"/>
                  <a:pt x="53" y="14"/>
                </a:cubicBezTo>
                <a:cubicBezTo>
                  <a:pt x="52" y="14"/>
                  <a:pt x="52" y="14"/>
                  <a:pt x="52" y="14"/>
                </a:cubicBezTo>
                <a:cubicBezTo>
                  <a:pt x="52" y="15"/>
                  <a:pt x="51" y="15"/>
                  <a:pt x="52" y="16"/>
                </a:cubicBezTo>
                <a:cubicBezTo>
                  <a:pt x="51" y="16"/>
                  <a:pt x="52" y="17"/>
                  <a:pt x="51" y="16"/>
                </a:cubicBezTo>
                <a:cubicBezTo>
                  <a:pt x="51" y="17"/>
                  <a:pt x="51" y="17"/>
                  <a:pt x="51" y="17"/>
                </a:cubicBezTo>
                <a:cubicBezTo>
                  <a:pt x="51" y="16"/>
                  <a:pt x="51" y="16"/>
                  <a:pt x="51" y="16"/>
                </a:cubicBezTo>
                <a:cubicBezTo>
                  <a:pt x="50" y="16"/>
                  <a:pt x="50" y="17"/>
                  <a:pt x="50" y="17"/>
                </a:cubicBezTo>
                <a:cubicBezTo>
                  <a:pt x="50" y="16"/>
                  <a:pt x="50" y="16"/>
                  <a:pt x="50" y="16"/>
                </a:cubicBezTo>
                <a:cubicBezTo>
                  <a:pt x="50" y="16"/>
                  <a:pt x="51" y="16"/>
                  <a:pt x="51" y="16"/>
                </a:cubicBezTo>
                <a:cubicBezTo>
                  <a:pt x="50" y="15"/>
                  <a:pt x="51" y="15"/>
                  <a:pt x="51" y="15"/>
                </a:cubicBezTo>
                <a:cubicBezTo>
                  <a:pt x="50" y="15"/>
                  <a:pt x="50" y="15"/>
                  <a:pt x="50" y="15"/>
                </a:cubicBezTo>
                <a:cubicBezTo>
                  <a:pt x="50" y="14"/>
                  <a:pt x="50" y="14"/>
                  <a:pt x="50" y="14"/>
                </a:cubicBezTo>
                <a:cubicBezTo>
                  <a:pt x="47" y="14"/>
                  <a:pt x="43" y="15"/>
                  <a:pt x="40" y="14"/>
                </a:cubicBezTo>
                <a:cubicBezTo>
                  <a:pt x="41" y="14"/>
                  <a:pt x="42" y="13"/>
                  <a:pt x="43" y="13"/>
                </a:cubicBezTo>
                <a:cubicBezTo>
                  <a:pt x="42" y="11"/>
                  <a:pt x="38" y="12"/>
                  <a:pt x="36" y="12"/>
                </a:cubicBezTo>
                <a:cubicBezTo>
                  <a:pt x="33" y="16"/>
                  <a:pt x="30" y="21"/>
                  <a:pt x="27" y="27"/>
                </a:cubicBezTo>
                <a:cubicBezTo>
                  <a:pt x="28" y="27"/>
                  <a:pt x="29" y="27"/>
                  <a:pt x="29" y="28"/>
                </a:cubicBezTo>
                <a:cubicBezTo>
                  <a:pt x="33" y="28"/>
                  <a:pt x="35" y="26"/>
                  <a:pt x="38" y="26"/>
                </a:cubicBezTo>
                <a:cubicBezTo>
                  <a:pt x="38" y="27"/>
                  <a:pt x="35" y="26"/>
                  <a:pt x="36" y="27"/>
                </a:cubicBezTo>
                <a:cubicBezTo>
                  <a:pt x="33" y="27"/>
                  <a:pt x="29" y="30"/>
                  <a:pt x="25" y="30"/>
                </a:cubicBezTo>
                <a:cubicBezTo>
                  <a:pt x="9" y="62"/>
                  <a:pt x="0" y="99"/>
                  <a:pt x="0" y="138"/>
                </a:cubicBezTo>
                <a:cubicBezTo>
                  <a:pt x="0" y="139"/>
                  <a:pt x="0" y="141"/>
                  <a:pt x="0" y="143"/>
                </a:cubicBezTo>
                <a:cubicBezTo>
                  <a:pt x="1" y="144"/>
                  <a:pt x="3" y="145"/>
                  <a:pt x="5" y="145"/>
                </a:cubicBezTo>
                <a:cubicBezTo>
                  <a:pt x="7" y="147"/>
                  <a:pt x="11" y="148"/>
                  <a:pt x="14" y="146"/>
                </a:cubicBezTo>
                <a:cubicBezTo>
                  <a:pt x="13" y="146"/>
                  <a:pt x="13" y="146"/>
                  <a:pt x="13" y="146"/>
                </a:cubicBezTo>
                <a:cubicBezTo>
                  <a:pt x="14" y="145"/>
                  <a:pt x="14" y="146"/>
                  <a:pt x="14" y="146"/>
                </a:cubicBezTo>
                <a:cubicBezTo>
                  <a:pt x="14" y="146"/>
                  <a:pt x="14" y="146"/>
                  <a:pt x="14" y="146"/>
                </a:cubicBezTo>
                <a:cubicBezTo>
                  <a:pt x="14" y="146"/>
                  <a:pt x="15" y="146"/>
                  <a:pt x="15" y="146"/>
                </a:cubicBezTo>
                <a:cubicBezTo>
                  <a:pt x="14" y="146"/>
                  <a:pt x="15" y="147"/>
                  <a:pt x="16" y="146"/>
                </a:cubicBezTo>
                <a:cubicBezTo>
                  <a:pt x="17" y="149"/>
                  <a:pt x="20" y="152"/>
                  <a:pt x="24" y="153"/>
                </a:cubicBezTo>
                <a:cubicBezTo>
                  <a:pt x="26" y="153"/>
                  <a:pt x="27" y="154"/>
                  <a:pt x="28" y="154"/>
                </a:cubicBezTo>
                <a:cubicBezTo>
                  <a:pt x="29" y="153"/>
                  <a:pt x="29" y="153"/>
                  <a:pt x="29" y="153"/>
                </a:cubicBezTo>
                <a:cubicBezTo>
                  <a:pt x="29" y="154"/>
                  <a:pt x="29" y="154"/>
                  <a:pt x="29" y="153"/>
                </a:cubicBezTo>
                <a:cubicBezTo>
                  <a:pt x="29" y="154"/>
                  <a:pt x="30" y="154"/>
                  <a:pt x="30" y="154"/>
                </a:cubicBezTo>
                <a:cubicBezTo>
                  <a:pt x="29" y="155"/>
                  <a:pt x="29" y="154"/>
                  <a:pt x="29" y="154"/>
                </a:cubicBezTo>
                <a:cubicBezTo>
                  <a:pt x="30" y="156"/>
                  <a:pt x="32" y="158"/>
                  <a:pt x="33" y="160"/>
                </a:cubicBezTo>
                <a:cubicBezTo>
                  <a:pt x="33" y="160"/>
                  <a:pt x="33" y="159"/>
                  <a:pt x="32" y="160"/>
                </a:cubicBezTo>
                <a:cubicBezTo>
                  <a:pt x="33" y="160"/>
                  <a:pt x="33" y="160"/>
                  <a:pt x="33" y="160"/>
                </a:cubicBezTo>
                <a:cubicBezTo>
                  <a:pt x="33" y="161"/>
                  <a:pt x="33" y="161"/>
                  <a:pt x="32" y="162"/>
                </a:cubicBezTo>
                <a:cubicBezTo>
                  <a:pt x="33" y="163"/>
                  <a:pt x="34" y="163"/>
                  <a:pt x="34" y="163"/>
                </a:cubicBezTo>
                <a:cubicBezTo>
                  <a:pt x="35" y="163"/>
                  <a:pt x="35" y="163"/>
                  <a:pt x="35" y="163"/>
                </a:cubicBezTo>
                <a:cubicBezTo>
                  <a:pt x="35" y="162"/>
                  <a:pt x="34" y="162"/>
                  <a:pt x="34" y="162"/>
                </a:cubicBezTo>
                <a:cubicBezTo>
                  <a:pt x="35" y="162"/>
                  <a:pt x="35" y="162"/>
                  <a:pt x="35" y="163"/>
                </a:cubicBezTo>
                <a:cubicBezTo>
                  <a:pt x="37" y="164"/>
                  <a:pt x="38" y="165"/>
                  <a:pt x="37" y="166"/>
                </a:cubicBezTo>
                <a:cubicBezTo>
                  <a:pt x="37" y="166"/>
                  <a:pt x="38" y="167"/>
                  <a:pt x="38" y="167"/>
                </a:cubicBezTo>
                <a:cubicBezTo>
                  <a:pt x="38" y="166"/>
                  <a:pt x="38" y="166"/>
                  <a:pt x="38" y="166"/>
                </a:cubicBezTo>
                <a:cubicBezTo>
                  <a:pt x="39" y="166"/>
                  <a:pt x="39" y="168"/>
                  <a:pt x="39" y="167"/>
                </a:cubicBezTo>
                <a:cubicBezTo>
                  <a:pt x="39" y="167"/>
                  <a:pt x="39" y="167"/>
                  <a:pt x="39" y="167"/>
                </a:cubicBezTo>
                <a:cubicBezTo>
                  <a:pt x="40" y="167"/>
                  <a:pt x="40" y="167"/>
                  <a:pt x="41" y="167"/>
                </a:cubicBezTo>
                <a:cubicBezTo>
                  <a:pt x="40" y="167"/>
                  <a:pt x="41" y="167"/>
                  <a:pt x="42" y="167"/>
                </a:cubicBezTo>
                <a:cubicBezTo>
                  <a:pt x="42" y="168"/>
                  <a:pt x="43" y="169"/>
                  <a:pt x="43" y="168"/>
                </a:cubicBezTo>
                <a:cubicBezTo>
                  <a:pt x="44" y="169"/>
                  <a:pt x="43" y="169"/>
                  <a:pt x="43" y="169"/>
                </a:cubicBezTo>
                <a:cubicBezTo>
                  <a:pt x="43" y="169"/>
                  <a:pt x="43" y="169"/>
                  <a:pt x="43" y="169"/>
                </a:cubicBezTo>
                <a:cubicBezTo>
                  <a:pt x="44" y="169"/>
                  <a:pt x="43" y="169"/>
                  <a:pt x="44" y="170"/>
                </a:cubicBezTo>
                <a:cubicBezTo>
                  <a:pt x="44" y="170"/>
                  <a:pt x="45" y="169"/>
                  <a:pt x="46" y="169"/>
                </a:cubicBezTo>
                <a:cubicBezTo>
                  <a:pt x="46" y="168"/>
                  <a:pt x="45" y="168"/>
                  <a:pt x="45" y="167"/>
                </a:cubicBezTo>
                <a:cubicBezTo>
                  <a:pt x="46" y="166"/>
                  <a:pt x="48" y="163"/>
                  <a:pt x="49" y="167"/>
                </a:cubicBezTo>
                <a:cubicBezTo>
                  <a:pt x="50" y="167"/>
                  <a:pt x="50" y="166"/>
                  <a:pt x="50" y="167"/>
                </a:cubicBezTo>
                <a:cubicBezTo>
                  <a:pt x="50" y="167"/>
                  <a:pt x="50" y="167"/>
                  <a:pt x="49" y="167"/>
                </a:cubicBezTo>
                <a:cubicBezTo>
                  <a:pt x="50" y="169"/>
                  <a:pt x="51" y="170"/>
                  <a:pt x="52" y="171"/>
                </a:cubicBezTo>
                <a:cubicBezTo>
                  <a:pt x="51" y="172"/>
                  <a:pt x="51" y="172"/>
                  <a:pt x="52" y="173"/>
                </a:cubicBezTo>
                <a:cubicBezTo>
                  <a:pt x="52" y="174"/>
                  <a:pt x="51" y="174"/>
                  <a:pt x="51" y="174"/>
                </a:cubicBezTo>
                <a:cubicBezTo>
                  <a:pt x="52" y="175"/>
                  <a:pt x="51" y="177"/>
                  <a:pt x="52" y="177"/>
                </a:cubicBezTo>
                <a:cubicBezTo>
                  <a:pt x="51" y="178"/>
                  <a:pt x="51" y="178"/>
                  <a:pt x="51" y="178"/>
                </a:cubicBezTo>
                <a:cubicBezTo>
                  <a:pt x="52" y="179"/>
                  <a:pt x="52" y="179"/>
                  <a:pt x="52" y="179"/>
                </a:cubicBezTo>
                <a:cubicBezTo>
                  <a:pt x="51" y="179"/>
                  <a:pt x="51" y="180"/>
                  <a:pt x="50" y="181"/>
                </a:cubicBezTo>
                <a:cubicBezTo>
                  <a:pt x="50" y="181"/>
                  <a:pt x="50" y="181"/>
                  <a:pt x="50" y="182"/>
                </a:cubicBezTo>
                <a:cubicBezTo>
                  <a:pt x="50" y="181"/>
                  <a:pt x="49" y="182"/>
                  <a:pt x="48" y="182"/>
                </a:cubicBezTo>
                <a:cubicBezTo>
                  <a:pt x="48" y="183"/>
                  <a:pt x="48" y="183"/>
                  <a:pt x="48" y="184"/>
                </a:cubicBezTo>
                <a:cubicBezTo>
                  <a:pt x="48" y="184"/>
                  <a:pt x="47" y="184"/>
                  <a:pt x="47" y="184"/>
                </a:cubicBezTo>
                <a:cubicBezTo>
                  <a:pt x="48" y="184"/>
                  <a:pt x="48" y="185"/>
                  <a:pt x="48" y="185"/>
                </a:cubicBezTo>
                <a:cubicBezTo>
                  <a:pt x="47" y="186"/>
                  <a:pt x="46" y="186"/>
                  <a:pt x="45" y="186"/>
                </a:cubicBezTo>
                <a:cubicBezTo>
                  <a:pt x="45" y="188"/>
                  <a:pt x="45" y="189"/>
                  <a:pt x="44" y="189"/>
                </a:cubicBezTo>
                <a:cubicBezTo>
                  <a:pt x="44" y="190"/>
                  <a:pt x="44" y="191"/>
                  <a:pt x="43" y="191"/>
                </a:cubicBezTo>
                <a:cubicBezTo>
                  <a:pt x="43" y="192"/>
                  <a:pt x="44" y="194"/>
                  <a:pt x="43" y="194"/>
                </a:cubicBezTo>
                <a:cubicBezTo>
                  <a:pt x="43" y="195"/>
                  <a:pt x="45" y="195"/>
                  <a:pt x="45" y="197"/>
                </a:cubicBezTo>
                <a:cubicBezTo>
                  <a:pt x="45" y="197"/>
                  <a:pt x="45" y="196"/>
                  <a:pt x="45" y="196"/>
                </a:cubicBezTo>
                <a:cubicBezTo>
                  <a:pt x="45" y="195"/>
                  <a:pt x="45" y="195"/>
                  <a:pt x="45" y="195"/>
                </a:cubicBezTo>
                <a:cubicBezTo>
                  <a:pt x="45" y="196"/>
                  <a:pt x="46" y="195"/>
                  <a:pt x="46" y="195"/>
                </a:cubicBezTo>
                <a:cubicBezTo>
                  <a:pt x="46" y="198"/>
                  <a:pt x="41" y="199"/>
                  <a:pt x="43" y="202"/>
                </a:cubicBezTo>
                <a:cubicBezTo>
                  <a:pt x="43" y="202"/>
                  <a:pt x="43" y="202"/>
                  <a:pt x="43" y="202"/>
                </a:cubicBezTo>
                <a:cubicBezTo>
                  <a:pt x="43" y="203"/>
                  <a:pt x="44" y="203"/>
                  <a:pt x="43" y="204"/>
                </a:cubicBezTo>
                <a:cubicBezTo>
                  <a:pt x="43" y="204"/>
                  <a:pt x="43" y="204"/>
                  <a:pt x="43" y="204"/>
                </a:cubicBezTo>
                <a:cubicBezTo>
                  <a:pt x="43" y="205"/>
                  <a:pt x="43" y="205"/>
                  <a:pt x="43" y="205"/>
                </a:cubicBezTo>
                <a:cubicBezTo>
                  <a:pt x="48" y="207"/>
                  <a:pt x="49" y="214"/>
                  <a:pt x="52" y="218"/>
                </a:cubicBezTo>
                <a:cubicBezTo>
                  <a:pt x="53" y="220"/>
                  <a:pt x="55" y="223"/>
                  <a:pt x="55" y="225"/>
                </a:cubicBezTo>
                <a:cubicBezTo>
                  <a:pt x="57" y="231"/>
                  <a:pt x="64" y="231"/>
                  <a:pt x="68" y="235"/>
                </a:cubicBezTo>
                <a:cubicBezTo>
                  <a:pt x="72" y="237"/>
                  <a:pt x="72" y="245"/>
                  <a:pt x="72" y="249"/>
                </a:cubicBezTo>
                <a:cubicBezTo>
                  <a:pt x="71" y="249"/>
                  <a:pt x="71" y="249"/>
                  <a:pt x="71" y="249"/>
                </a:cubicBezTo>
                <a:cubicBezTo>
                  <a:pt x="71" y="250"/>
                  <a:pt x="71" y="250"/>
                  <a:pt x="71" y="250"/>
                </a:cubicBezTo>
                <a:cubicBezTo>
                  <a:pt x="71" y="251"/>
                  <a:pt x="72" y="250"/>
                  <a:pt x="72" y="251"/>
                </a:cubicBezTo>
                <a:cubicBezTo>
                  <a:pt x="72" y="254"/>
                  <a:pt x="72" y="257"/>
                  <a:pt x="72" y="261"/>
                </a:cubicBezTo>
                <a:cubicBezTo>
                  <a:pt x="71" y="264"/>
                  <a:pt x="73" y="267"/>
                  <a:pt x="72" y="268"/>
                </a:cubicBezTo>
                <a:cubicBezTo>
                  <a:pt x="75" y="274"/>
                  <a:pt x="74" y="279"/>
                  <a:pt x="74" y="285"/>
                </a:cubicBezTo>
                <a:cubicBezTo>
                  <a:pt x="73" y="285"/>
                  <a:pt x="73" y="285"/>
                  <a:pt x="73" y="285"/>
                </a:cubicBezTo>
                <a:cubicBezTo>
                  <a:pt x="73" y="286"/>
                  <a:pt x="74" y="286"/>
                  <a:pt x="74" y="286"/>
                </a:cubicBezTo>
                <a:cubicBezTo>
                  <a:pt x="73" y="287"/>
                  <a:pt x="73" y="286"/>
                  <a:pt x="73" y="286"/>
                </a:cubicBezTo>
                <a:cubicBezTo>
                  <a:pt x="73" y="289"/>
                  <a:pt x="76" y="292"/>
                  <a:pt x="75" y="294"/>
                </a:cubicBezTo>
                <a:cubicBezTo>
                  <a:pt x="75" y="296"/>
                  <a:pt x="75" y="297"/>
                  <a:pt x="77" y="299"/>
                </a:cubicBezTo>
                <a:cubicBezTo>
                  <a:pt x="76" y="299"/>
                  <a:pt x="77" y="298"/>
                  <a:pt x="76" y="298"/>
                </a:cubicBezTo>
                <a:cubicBezTo>
                  <a:pt x="76" y="300"/>
                  <a:pt x="77" y="301"/>
                  <a:pt x="77" y="302"/>
                </a:cubicBezTo>
                <a:cubicBezTo>
                  <a:pt x="77" y="303"/>
                  <a:pt x="78" y="303"/>
                  <a:pt x="78" y="303"/>
                </a:cubicBezTo>
                <a:cubicBezTo>
                  <a:pt x="78" y="302"/>
                  <a:pt x="78" y="302"/>
                  <a:pt x="78" y="302"/>
                </a:cubicBezTo>
                <a:cubicBezTo>
                  <a:pt x="78" y="302"/>
                  <a:pt x="78" y="301"/>
                  <a:pt x="78" y="301"/>
                </a:cubicBezTo>
                <a:cubicBezTo>
                  <a:pt x="78" y="301"/>
                  <a:pt x="77" y="301"/>
                  <a:pt x="77" y="300"/>
                </a:cubicBezTo>
                <a:cubicBezTo>
                  <a:pt x="78" y="300"/>
                  <a:pt x="77" y="300"/>
                  <a:pt x="77" y="300"/>
                </a:cubicBezTo>
                <a:cubicBezTo>
                  <a:pt x="78" y="300"/>
                  <a:pt x="78" y="300"/>
                  <a:pt x="78" y="300"/>
                </a:cubicBezTo>
                <a:cubicBezTo>
                  <a:pt x="78" y="299"/>
                  <a:pt x="77" y="299"/>
                  <a:pt x="77" y="299"/>
                </a:cubicBezTo>
                <a:cubicBezTo>
                  <a:pt x="78" y="299"/>
                  <a:pt x="78" y="298"/>
                  <a:pt x="78" y="298"/>
                </a:cubicBezTo>
                <a:cubicBezTo>
                  <a:pt x="79" y="298"/>
                  <a:pt x="79" y="298"/>
                  <a:pt x="79" y="298"/>
                </a:cubicBezTo>
                <a:cubicBezTo>
                  <a:pt x="79" y="299"/>
                  <a:pt x="79" y="299"/>
                  <a:pt x="79" y="299"/>
                </a:cubicBezTo>
                <a:cubicBezTo>
                  <a:pt x="79" y="299"/>
                  <a:pt x="79" y="299"/>
                  <a:pt x="79" y="299"/>
                </a:cubicBezTo>
                <a:cubicBezTo>
                  <a:pt x="79" y="299"/>
                  <a:pt x="80" y="299"/>
                  <a:pt x="80" y="300"/>
                </a:cubicBezTo>
                <a:cubicBezTo>
                  <a:pt x="79" y="299"/>
                  <a:pt x="79" y="300"/>
                  <a:pt x="79" y="300"/>
                </a:cubicBezTo>
                <a:cubicBezTo>
                  <a:pt x="79" y="301"/>
                  <a:pt x="80" y="301"/>
                  <a:pt x="79" y="303"/>
                </a:cubicBezTo>
                <a:cubicBezTo>
                  <a:pt x="80" y="303"/>
                  <a:pt x="80" y="303"/>
                  <a:pt x="80" y="304"/>
                </a:cubicBezTo>
                <a:cubicBezTo>
                  <a:pt x="80" y="305"/>
                  <a:pt x="80" y="305"/>
                  <a:pt x="80" y="305"/>
                </a:cubicBezTo>
                <a:cubicBezTo>
                  <a:pt x="81" y="305"/>
                  <a:pt x="81" y="305"/>
                  <a:pt x="81" y="305"/>
                </a:cubicBezTo>
                <a:cubicBezTo>
                  <a:pt x="80" y="305"/>
                  <a:pt x="81" y="306"/>
                  <a:pt x="80" y="306"/>
                </a:cubicBezTo>
                <a:cubicBezTo>
                  <a:pt x="81" y="306"/>
                  <a:pt x="81" y="308"/>
                  <a:pt x="81" y="308"/>
                </a:cubicBezTo>
                <a:cubicBezTo>
                  <a:pt x="81" y="308"/>
                  <a:pt x="80" y="308"/>
                  <a:pt x="79" y="308"/>
                </a:cubicBezTo>
                <a:cubicBezTo>
                  <a:pt x="80" y="308"/>
                  <a:pt x="80" y="309"/>
                  <a:pt x="80" y="309"/>
                </a:cubicBezTo>
                <a:cubicBezTo>
                  <a:pt x="80" y="308"/>
                  <a:pt x="80" y="308"/>
                  <a:pt x="80" y="308"/>
                </a:cubicBezTo>
                <a:cubicBezTo>
                  <a:pt x="80" y="309"/>
                  <a:pt x="81" y="309"/>
                  <a:pt x="81" y="309"/>
                </a:cubicBezTo>
                <a:cubicBezTo>
                  <a:pt x="81" y="309"/>
                  <a:pt x="81" y="310"/>
                  <a:pt x="81" y="310"/>
                </a:cubicBezTo>
                <a:cubicBezTo>
                  <a:pt x="80" y="310"/>
                  <a:pt x="80" y="309"/>
                  <a:pt x="79" y="309"/>
                </a:cubicBezTo>
                <a:cubicBezTo>
                  <a:pt x="80" y="308"/>
                  <a:pt x="79" y="307"/>
                  <a:pt x="79" y="307"/>
                </a:cubicBezTo>
                <a:cubicBezTo>
                  <a:pt x="78" y="308"/>
                  <a:pt x="79" y="308"/>
                  <a:pt x="79" y="308"/>
                </a:cubicBezTo>
                <a:cubicBezTo>
                  <a:pt x="79" y="308"/>
                  <a:pt x="78" y="308"/>
                  <a:pt x="78" y="309"/>
                </a:cubicBezTo>
                <a:cubicBezTo>
                  <a:pt x="79" y="308"/>
                  <a:pt x="79" y="308"/>
                  <a:pt x="79" y="308"/>
                </a:cubicBezTo>
                <a:cubicBezTo>
                  <a:pt x="79" y="309"/>
                  <a:pt x="79" y="309"/>
                  <a:pt x="79" y="309"/>
                </a:cubicBezTo>
                <a:cubicBezTo>
                  <a:pt x="79" y="309"/>
                  <a:pt x="78" y="309"/>
                  <a:pt x="78" y="309"/>
                </a:cubicBezTo>
                <a:cubicBezTo>
                  <a:pt x="78" y="310"/>
                  <a:pt x="79" y="310"/>
                  <a:pt x="79" y="310"/>
                </a:cubicBezTo>
                <a:cubicBezTo>
                  <a:pt x="78" y="310"/>
                  <a:pt x="78" y="310"/>
                  <a:pt x="77" y="311"/>
                </a:cubicBezTo>
                <a:cubicBezTo>
                  <a:pt x="78" y="312"/>
                  <a:pt x="78" y="312"/>
                  <a:pt x="78" y="312"/>
                </a:cubicBezTo>
                <a:cubicBezTo>
                  <a:pt x="79" y="312"/>
                  <a:pt x="78" y="311"/>
                  <a:pt x="78" y="311"/>
                </a:cubicBezTo>
                <a:cubicBezTo>
                  <a:pt x="79" y="311"/>
                  <a:pt x="79" y="311"/>
                  <a:pt x="79" y="311"/>
                </a:cubicBezTo>
                <a:cubicBezTo>
                  <a:pt x="79" y="312"/>
                  <a:pt x="80" y="311"/>
                  <a:pt x="80" y="312"/>
                </a:cubicBezTo>
                <a:cubicBezTo>
                  <a:pt x="80" y="311"/>
                  <a:pt x="80" y="311"/>
                  <a:pt x="80" y="311"/>
                </a:cubicBezTo>
                <a:cubicBezTo>
                  <a:pt x="81" y="312"/>
                  <a:pt x="81" y="312"/>
                  <a:pt x="82" y="312"/>
                </a:cubicBezTo>
                <a:cubicBezTo>
                  <a:pt x="81" y="313"/>
                  <a:pt x="81" y="313"/>
                  <a:pt x="81" y="314"/>
                </a:cubicBezTo>
                <a:cubicBezTo>
                  <a:pt x="81" y="314"/>
                  <a:pt x="81" y="314"/>
                  <a:pt x="82" y="314"/>
                </a:cubicBezTo>
                <a:cubicBezTo>
                  <a:pt x="82" y="314"/>
                  <a:pt x="81" y="314"/>
                  <a:pt x="81" y="315"/>
                </a:cubicBezTo>
                <a:cubicBezTo>
                  <a:pt x="82" y="315"/>
                  <a:pt x="82" y="315"/>
                  <a:pt x="83" y="316"/>
                </a:cubicBezTo>
                <a:cubicBezTo>
                  <a:pt x="82" y="316"/>
                  <a:pt x="83" y="316"/>
                  <a:pt x="82" y="317"/>
                </a:cubicBezTo>
                <a:cubicBezTo>
                  <a:pt x="82" y="316"/>
                  <a:pt x="81" y="315"/>
                  <a:pt x="81" y="315"/>
                </a:cubicBezTo>
                <a:cubicBezTo>
                  <a:pt x="81" y="315"/>
                  <a:pt x="81" y="315"/>
                  <a:pt x="81" y="314"/>
                </a:cubicBezTo>
                <a:cubicBezTo>
                  <a:pt x="81" y="314"/>
                  <a:pt x="80" y="314"/>
                  <a:pt x="80" y="315"/>
                </a:cubicBezTo>
                <a:cubicBezTo>
                  <a:pt x="80" y="315"/>
                  <a:pt x="80" y="315"/>
                  <a:pt x="79" y="315"/>
                </a:cubicBezTo>
                <a:cubicBezTo>
                  <a:pt x="80" y="315"/>
                  <a:pt x="80" y="315"/>
                  <a:pt x="80" y="315"/>
                </a:cubicBezTo>
                <a:cubicBezTo>
                  <a:pt x="80" y="316"/>
                  <a:pt x="80" y="316"/>
                  <a:pt x="81" y="316"/>
                </a:cubicBezTo>
                <a:cubicBezTo>
                  <a:pt x="81" y="316"/>
                  <a:pt x="81" y="316"/>
                  <a:pt x="81" y="316"/>
                </a:cubicBezTo>
                <a:cubicBezTo>
                  <a:pt x="81" y="317"/>
                  <a:pt x="81" y="317"/>
                  <a:pt x="81" y="317"/>
                </a:cubicBezTo>
                <a:cubicBezTo>
                  <a:pt x="88" y="323"/>
                  <a:pt x="96" y="329"/>
                  <a:pt x="104" y="334"/>
                </a:cubicBezTo>
                <a:cubicBezTo>
                  <a:pt x="103" y="333"/>
                  <a:pt x="103" y="333"/>
                  <a:pt x="102" y="332"/>
                </a:cubicBezTo>
                <a:close/>
                <a:moveTo>
                  <a:pt x="56" y="79"/>
                </a:moveTo>
                <a:cubicBezTo>
                  <a:pt x="56" y="78"/>
                  <a:pt x="57" y="78"/>
                  <a:pt x="57" y="78"/>
                </a:cubicBezTo>
                <a:cubicBezTo>
                  <a:pt x="59" y="79"/>
                  <a:pt x="61" y="76"/>
                  <a:pt x="64" y="77"/>
                </a:cubicBezTo>
                <a:cubicBezTo>
                  <a:pt x="63" y="77"/>
                  <a:pt x="63" y="77"/>
                  <a:pt x="63" y="77"/>
                </a:cubicBezTo>
                <a:cubicBezTo>
                  <a:pt x="64" y="76"/>
                  <a:pt x="66" y="76"/>
                  <a:pt x="67" y="76"/>
                </a:cubicBezTo>
                <a:cubicBezTo>
                  <a:pt x="65" y="77"/>
                  <a:pt x="59" y="80"/>
                  <a:pt x="56" y="79"/>
                </a:cubicBezTo>
                <a:close/>
                <a:moveTo>
                  <a:pt x="61" y="67"/>
                </a:moveTo>
                <a:cubicBezTo>
                  <a:pt x="63" y="67"/>
                  <a:pt x="64" y="68"/>
                  <a:pt x="66" y="68"/>
                </a:cubicBezTo>
                <a:cubicBezTo>
                  <a:pt x="66" y="68"/>
                  <a:pt x="67" y="69"/>
                  <a:pt x="67" y="69"/>
                </a:cubicBezTo>
                <a:cubicBezTo>
                  <a:pt x="67" y="70"/>
                  <a:pt x="67" y="70"/>
                  <a:pt x="67" y="71"/>
                </a:cubicBezTo>
                <a:cubicBezTo>
                  <a:pt x="67" y="70"/>
                  <a:pt x="66" y="71"/>
                  <a:pt x="66" y="72"/>
                </a:cubicBezTo>
                <a:cubicBezTo>
                  <a:pt x="66" y="72"/>
                  <a:pt x="65" y="71"/>
                  <a:pt x="65" y="71"/>
                </a:cubicBezTo>
                <a:cubicBezTo>
                  <a:pt x="65" y="71"/>
                  <a:pt x="65" y="71"/>
                  <a:pt x="65" y="71"/>
                </a:cubicBezTo>
                <a:cubicBezTo>
                  <a:pt x="65" y="71"/>
                  <a:pt x="64" y="70"/>
                  <a:pt x="64" y="70"/>
                </a:cubicBezTo>
                <a:cubicBezTo>
                  <a:pt x="64" y="69"/>
                  <a:pt x="64" y="70"/>
                  <a:pt x="64" y="70"/>
                </a:cubicBezTo>
                <a:cubicBezTo>
                  <a:pt x="64" y="72"/>
                  <a:pt x="61" y="74"/>
                  <a:pt x="60" y="75"/>
                </a:cubicBezTo>
                <a:cubicBezTo>
                  <a:pt x="59" y="75"/>
                  <a:pt x="60" y="74"/>
                  <a:pt x="60" y="73"/>
                </a:cubicBezTo>
                <a:cubicBezTo>
                  <a:pt x="59" y="72"/>
                  <a:pt x="58" y="74"/>
                  <a:pt x="57" y="74"/>
                </a:cubicBezTo>
                <a:cubicBezTo>
                  <a:pt x="58" y="72"/>
                  <a:pt x="60" y="72"/>
                  <a:pt x="60" y="70"/>
                </a:cubicBezTo>
                <a:cubicBezTo>
                  <a:pt x="60" y="69"/>
                  <a:pt x="59" y="69"/>
                  <a:pt x="57" y="68"/>
                </a:cubicBezTo>
                <a:cubicBezTo>
                  <a:pt x="57" y="69"/>
                  <a:pt x="55" y="70"/>
                  <a:pt x="55" y="71"/>
                </a:cubicBezTo>
                <a:cubicBezTo>
                  <a:pt x="55" y="71"/>
                  <a:pt x="55" y="70"/>
                  <a:pt x="55" y="70"/>
                </a:cubicBezTo>
                <a:cubicBezTo>
                  <a:pt x="51" y="71"/>
                  <a:pt x="52" y="78"/>
                  <a:pt x="47" y="79"/>
                </a:cubicBezTo>
                <a:cubicBezTo>
                  <a:pt x="47" y="75"/>
                  <a:pt x="50" y="72"/>
                  <a:pt x="53" y="70"/>
                </a:cubicBezTo>
                <a:cubicBezTo>
                  <a:pt x="52" y="70"/>
                  <a:pt x="51" y="71"/>
                  <a:pt x="50" y="71"/>
                </a:cubicBezTo>
                <a:cubicBezTo>
                  <a:pt x="51" y="70"/>
                  <a:pt x="52" y="69"/>
                  <a:pt x="53" y="68"/>
                </a:cubicBezTo>
                <a:cubicBezTo>
                  <a:pt x="53" y="69"/>
                  <a:pt x="53" y="68"/>
                  <a:pt x="54" y="68"/>
                </a:cubicBezTo>
                <a:cubicBezTo>
                  <a:pt x="54" y="69"/>
                  <a:pt x="54" y="69"/>
                  <a:pt x="54" y="69"/>
                </a:cubicBezTo>
                <a:cubicBezTo>
                  <a:pt x="56" y="67"/>
                  <a:pt x="61" y="68"/>
                  <a:pt x="64" y="69"/>
                </a:cubicBezTo>
                <a:cubicBezTo>
                  <a:pt x="64" y="69"/>
                  <a:pt x="64" y="69"/>
                  <a:pt x="64" y="68"/>
                </a:cubicBezTo>
                <a:cubicBezTo>
                  <a:pt x="64" y="68"/>
                  <a:pt x="64" y="69"/>
                  <a:pt x="64" y="68"/>
                </a:cubicBezTo>
                <a:cubicBezTo>
                  <a:pt x="63" y="68"/>
                  <a:pt x="63" y="68"/>
                  <a:pt x="62" y="68"/>
                </a:cubicBezTo>
                <a:cubicBezTo>
                  <a:pt x="62" y="68"/>
                  <a:pt x="62" y="68"/>
                  <a:pt x="62" y="68"/>
                </a:cubicBezTo>
                <a:cubicBezTo>
                  <a:pt x="61" y="68"/>
                  <a:pt x="61" y="67"/>
                  <a:pt x="60" y="68"/>
                </a:cubicBezTo>
                <a:lnTo>
                  <a:pt x="61" y="67"/>
                </a:lnTo>
                <a:close/>
                <a:moveTo>
                  <a:pt x="53" y="61"/>
                </a:moveTo>
                <a:cubicBezTo>
                  <a:pt x="52" y="62"/>
                  <a:pt x="52" y="62"/>
                  <a:pt x="52" y="62"/>
                </a:cubicBezTo>
                <a:cubicBezTo>
                  <a:pt x="53" y="62"/>
                  <a:pt x="53" y="61"/>
                  <a:pt x="54" y="61"/>
                </a:cubicBezTo>
                <a:cubicBezTo>
                  <a:pt x="53" y="61"/>
                  <a:pt x="53" y="61"/>
                  <a:pt x="53" y="61"/>
                </a:cubicBezTo>
                <a:cubicBezTo>
                  <a:pt x="54" y="61"/>
                  <a:pt x="55" y="61"/>
                  <a:pt x="55" y="60"/>
                </a:cubicBezTo>
                <a:cubicBezTo>
                  <a:pt x="55" y="60"/>
                  <a:pt x="55" y="61"/>
                  <a:pt x="55" y="60"/>
                </a:cubicBezTo>
                <a:cubicBezTo>
                  <a:pt x="55" y="60"/>
                  <a:pt x="57" y="61"/>
                  <a:pt x="58" y="61"/>
                </a:cubicBezTo>
                <a:cubicBezTo>
                  <a:pt x="58" y="63"/>
                  <a:pt x="58" y="63"/>
                  <a:pt x="60" y="63"/>
                </a:cubicBezTo>
                <a:cubicBezTo>
                  <a:pt x="60" y="63"/>
                  <a:pt x="60" y="63"/>
                  <a:pt x="60" y="63"/>
                </a:cubicBezTo>
                <a:cubicBezTo>
                  <a:pt x="59" y="64"/>
                  <a:pt x="60" y="64"/>
                  <a:pt x="60" y="64"/>
                </a:cubicBezTo>
                <a:cubicBezTo>
                  <a:pt x="60" y="65"/>
                  <a:pt x="60" y="65"/>
                  <a:pt x="59" y="65"/>
                </a:cubicBezTo>
                <a:cubicBezTo>
                  <a:pt x="60" y="65"/>
                  <a:pt x="60" y="65"/>
                  <a:pt x="60" y="65"/>
                </a:cubicBezTo>
                <a:cubicBezTo>
                  <a:pt x="59" y="66"/>
                  <a:pt x="60" y="66"/>
                  <a:pt x="59" y="66"/>
                </a:cubicBezTo>
                <a:cubicBezTo>
                  <a:pt x="60" y="66"/>
                  <a:pt x="60" y="66"/>
                  <a:pt x="60" y="66"/>
                </a:cubicBezTo>
                <a:cubicBezTo>
                  <a:pt x="60" y="67"/>
                  <a:pt x="59" y="68"/>
                  <a:pt x="60" y="66"/>
                </a:cubicBezTo>
                <a:cubicBezTo>
                  <a:pt x="59" y="66"/>
                  <a:pt x="58" y="67"/>
                  <a:pt x="58" y="66"/>
                </a:cubicBezTo>
                <a:cubicBezTo>
                  <a:pt x="58" y="66"/>
                  <a:pt x="59" y="66"/>
                  <a:pt x="59" y="66"/>
                </a:cubicBezTo>
                <a:cubicBezTo>
                  <a:pt x="57" y="65"/>
                  <a:pt x="54" y="68"/>
                  <a:pt x="53" y="65"/>
                </a:cubicBezTo>
                <a:cubicBezTo>
                  <a:pt x="52" y="66"/>
                  <a:pt x="52" y="65"/>
                  <a:pt x="52" y="66"/>
                </a:cubicBezTo>
                <a:cubicBezTo>
                  <a:pt x="52" y="65"/>
                  <a:pt x="53" y="64"/>
                  <a:pt x="54" y="64"/>
                </a:cubicBezTo>
                <a:cubicBezTo>
                  <a:pt x="51" y="64"/>
                  <a:pt x="49" y="66"/>
                  <a:pt x="46" y="66"/>
                </a:cubicBezTo>
                <a:cubicBezTo>
                  <a:pt x="46" y="66"/>
                  <a:pt x="47" y="66"/>
                  <a:pt x="47" y="65"/>
                </a:cubicBezTo>
                <a:cubicBezTo>
                  <a:pt x="46" y="65"/>
                  <a:pt x="45" y="66"/>
                  <a:pt x="44" y="66"/>
                </a:cubicBezTo>
                <a:cubicBezTo>
                  <a:pt x="46" y="64"/>
                  <a:pt x="50" y="63"/>
                  <a:pt x="53" y="61"/>
                </a:cubicBezTo>
                <a:close/>
                <a:moveTo>
                  <a:pt x="39" y="50"/>
                </a:moveTo>
                <a:cubicBezTo>
                  <a:pt x="40" y="49"/>
                  <a:pt x="40" y="48"/>
                  <a:pt x="41" y="48"/>
                </a:cubicBezTo>
                <a:cubicBezTo>
                  <a:pt x="41" y="48"/>
                  <a:pt x="42" y="48"/>
                  <a:pt x="42" y="48"/>
                </a:cubicBezTo>
                <a:cubicBezTo>
                  <a:pt x="43" y="50"/>
                  <a:pt x="41" y="51"/>
                  <a:pt x="42" y="53"/>
                </a:cubicBezTo>
                <a:cubicBezTo>
                  <a:pt x="41" y="53"/>
                  <a:pt x="41" y="53"/>
                  <a:pt x="40" y="54"/>
                </a:cubicBezTo>
                <a:cubicBezTo>
                  <a:pt x="40" y="53"/>
                  <a:pt x="41" y="53"/>
                  <a:pt x="41" y="53"/>
                </a:cubicBezTo>
                <a:cubicBezTo>
                  <a:pt x="41" y="52"/>
                  <a:pt x="41" y="52"/>
                  <a:pt x="41" y="52"/>
                </a:cubicBezTo>
                <a:cubicBezTo>
                  <a:pt x="40" y="52"/>
                  <a:pt x="40" y="53"/>
                  <a:pt x="40" y="53"/>
                </a:cubicBezTo>
                <a:cubicBezTo>
                  <a:pt x="40" y="51"/>
                  <a:pt x="39" y="51"/>
                  <a:pt x="39" y="50"/>
                </a:cubicBezTo>
                <a:cubicBezTo>
                  <a:pt x="40" y="50"/>
                  <a:pt x="40" y="50"/>
                  <a:pt x="40" y="50"/>
                </a:cubicBezTo>
                <a:lnTo>
                  <a:pt x="39" y="5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87" name="Freeform 62"/>
          <p:cNvSpPr>
            <a:spLocks/>
          </p:cNvSpPr>
          <p:nvPr/>
        </p:nvSpPr>
        <p:spPr bwMode="auto">
          <a:xfrm>
            <a:off x="4057650" y="5230813"/>
            <a:ext cx="1588" cy="1587"/>
          </a:xfrm>
          <a:custGeom>
            <a:avLst/>
            <a:gdLst>
              <a:gd name="T0" fmla="*/ 0 w 1628"/>
              <a:gd name="T1" fmla="*/ 0 h 1628"/>
              <a:gd name="T2" fmla="*/ 0 w 1628"/>
              <a:gd name="T3" fmla="*/ 0 h 1628"/>
              <a:gd name="T4" fmla="*/ 0 w 1628"/>
              <a:gd name="T5" fmla="*/ 0 h 1628"/>
              <a:gd name="T6" fmla="*/ 0 60000 65536"/>
              <a:gd name="T7" fmla="*/ 0 60000 65536"/>
              <a:gd name="T8" fmla="*/ 0 60000 65536"/>
              <a:gd name="T9" fmla="*/ 0 w 1628"/>
              <a:gd name="T10" fmla="*/ 0 h 1628"/>
              <a:gd name="T11" fmla="*/ 1628 w 1628"/>
              <a:gd name="T12" fmla="*/ 1628 h 162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628" h="1628">
                <a:moveTo>
                  <a:pt x="0" y="0"/>
                </a:move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88" name="Freeform 63"/>
          <p:cNvSpPr>
            <a:spLocks/>
          </p:cNvSpPr>
          <p:nvPr/>
        </p:nvSpPr>
        <p:spPr bwMode="auto">
          <a:xfrm>
            <a:off x="5049838" y="5254625"/>
            <a:ext cx="47625" cy="63500"/>
          </a:xfrm>
          <a:custGeom>
            <a:avLst/>
            <a:gdLst>
              <a:gd name="T0" fmla="*/ 15 w 17"/>
              <a:gd name="T1" fmla="*/ 10 h 23"/>
              <a:gd name="T2" fmla="*/ 13 w 17"/>
              <a:gd name="T3" fmla="*/ 9 h 23"/>
              <a:gd name="T4" fmla="*/ 13 w 17"/>
              <a:gd name="T5" fmla="*/ 9 h 23"/>
              <a:gd name="T6" fmla="*/ 12 w 17"/>
              <a:gd name="T7" fmla="*/ 7 h 23"/>
              <a:gd name="T8" fmla="*/ 11 w 17"/>
              <a:gd name="T9" fmla="*/ 7 h 23"/>
              <a:gd name="T10" fmla="*/ 7 w 17"/>
              <a:gd name="T11" fmla="*/ 3 h 23"/>
              <a:gd name="T12" fmla="*/ 0 w 17"/>
              <a:gd name="T13" fmla="*/ 0 h 23"/>
              <a:gd name="T14" fmla="*/ 6 w 17"/>
              <a:gd name="T15" fmla="*/ 8 h 23"/>
              <a:gd name="T16" fmla="*/ 9 w 17"/>
              <a:gd name="T17" fmla="*/ 10 h 23"/>
              <a:gd name="T18" fmla="*/ 9 w 17"/>
              <a:gd name="T19" fmla="*/ 14 h 23"/>
              <a:gd name="T20" fmla="*/ 15 w 17"/>
              <a:gd name="T21" fmla="*/ 23 h 23"/>
              <a:gd name="T22" fmla="*/ 17 w 17"/>
              <a:gd name="T23" fmla="*/ 12 h 23"/>
              <a:gd name="T24" fmla="*/ 15 w 17"/>
              <a:gd name="T25" fmla="*/ 10 h 2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7"/>
              <a:gd name="T40" fmla="*/ 0 h 23"/>
              <a:gd name="T41" fmla="*/ 17 w 17"/>
              <a:gd name="T42" fmla="*/ 23 h 2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7" h="23">
                <a:moveTo>
                  <a:pt x="15" y="10"/>
                </a:moveTo>
                <a:cubicBezTo>
                  <a:pt x="15" y="9"/>
                  <a:pt x="14" y="9"/>
                  <a:pt x="13" y="9"/>
                </a:cubicBezTo>
                <a:cubicBezTo>
                  <a:pt x="13" y="8"/>
                  <a:pt x="14" y="9"/>
                  <a:pt x="13" y="9"/>
                </a:cubicBezTo>
                <a:cubicBezTo>
                  <a:pt x="13" y="9"/>
                  <a:pt x="12" y="8"/>
                  <a:pt x="12" y="7"/>
                </a:cubicBezTo>
                <a:cubicBezTo>
                  <a:pt x="12" y="7"/>
                  <a:pt x="12" y="8"/>
                  <a:pt x="11" y="7"/>
                </a:cubicBezTo>
                <a:cubicBezTo>
                  <a:pt x="11" y="5"/>
                  <a:pt x="8" y="5"/>
                  <a:pt x="7" y="3"/>
                </a:cubicBezTo>
                <a:cubicBezTo>
                  <a:pt x="7" y="0"/>
                  <a:pt x="2" y="1"/>
                  <a:pt x="0" y="0"/>
                </a:cubicBezTo>
                <a:cubicBezTo>
                  <a:pt x="0" y="4"/>
                  <a:pt x="5" y="4"/>
                  <a:pt x="6" y="8"/>
                </a:cubicBezTo>
                <a:cubicBezTo>
                  <a:pt x="7" y="9"/>
                  <a:pt x="8" y="9"/>
                  <a:pt x="9" y="10"/>
                </a:cubicBezTo>
                <a:cubicBezTo>
                  <a:pt x="8" y="11"/>
                  <a:pt x="10" y="12"/>
                  <a:pt x="9" y="14"/>
                </a:cubicBezTo>
                <a:cubicBezTo>
                  <a:pt x="13" y="16"/>
                  <a:pt x="13" y="20"/>
                  <a:pt x="15" y="23"/>
                </a:cubicBezTo>
                <a:cubicBezTo>
                  <a:pt x="16" y="19"/>
                  <a:pt x="16" y="16"/>
                  <a:pt x="17" y="12"/>
                </a:cubicBezTo>
                <a:cubicBezTo>
                  <a:pt x="17" y="11"/>
                  <a:pt x="16" y="10"/>
                  <a:pt x="15" y="1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89" name="Freeform 64"/>
          <p:cNvSpPr>
            <a:spLocks/>
          </p:cNvSpPr>
          <p:nvPr/>
        </p:nvSpPr>
        <p:spPr bwMode="auto">
          <a:xfrm>
            <a:off x="3917950" y="4778375"/>
            <a:ext cx="80963" cy="36513"/>
          </a:xfrm>
          <a:custGeom>
            <a:avLst/>
            <a:gdLst>
              <a:gd name="T0" fmla="*/ 7 w 30"/>
              <a:gd name="T1" fmla="*/ 4 h 13"/>
              <a:gd name="T2" fmla="*/ 7 w 30"/>
              <a:gd name="T3" fmla="*/ 5 h 13"/>
              <a:gd name="T4" fmla="*/ 4 w 30"/>
              <a:gd name="T5" fmla="*/ 6 h 13"/>
              <a:gd name="T6" fmla="*/ 5 w 30"/>
              <a:gd name="T7" fmla="*/ 6 h 13"/>
              <a:gd name="T8" fmla="*/ 5 w 30"/>
              <a:gd name="T9" fmla="*/ 7 h 13"/>
              <a:gd name="T10" fmla="*/ 8 w 30"/>
              <a:gd name="T11" fmla="*/ 6 h 13"/>
              <a:gd name="T12" fmla="*/ 3 w 30"/>
              <a:gd name="T13" fmla="*/ 8 h 13"/>
              <a:gd name="T14" fmla="*/ 4 w 30"/>
              <a:gd name="T15" fmla="*/ 8 h 13"/>
              <a:gd name="T16" fmla="*/ 12 w 30"/>
              <a:gd name="T17" fmla="*/ 9 h 13"/>
              <a:gd name="T18" fmla="*/ 3 w 30"/>
              <a:gd name="T19" fmla="*/ 11 h 13"/>
              <a:gd name="T20" fmla="*/ 7 w 30"/>
              <a:gd name="T21" fmla="*/ 11 h 13"/>
              <a:gd name="T22" fmla="*/ 6 w 30"/>
              <a:gd name="T23" fmla="*/ 12 h 13"/>
              <a:gd name="T24" fmla="*/ 6 w 30"/>
              <a:gd name="T25" fmla="*/ 13 h 13"/>
              <a:gd name="T26" fmla="*/ 19 w 30"/>
              <a:gd name="T27" fmla="*/ 11 h 13"/>
              <a:gd name="T28" fmla="*/ 19 w 30"/>
              <a:gd name="T29" fmla="*/ 11 h 13"/>
              <a:gd name="T30" fmla="*/ 21 w 30"/>
              <a:gd name="T31" fmla="*/ 12 h 13"/>
              <a:gd name="T32" fmla="*/ 20 w 30"/>
              <a:gd name="T33" fmla="*/ 12 h 13"/>
              <a:gd name="T34" fmla="*/ 27 w 30"/>
              <a:gd name="T35" fmla="*/ 11 h 13"/>
              <a:gd name="T36" fmla="*/ 27 w 30"/>
              <a:gd name="T37" fmla="*/ 11 h 13"/>
              <a:gd name="T38" fmla="*/ 26 w 30"/>
              <a:gd name="T39" fmla="*/ 11 h 13"/>
              <a:gd name="T40" fmla="*/ 25 w 30"/>
              <a:gd name="T41" fmla="*/ 10 h 13"/>
              <a:gd name="T42" fmla="*/ 26 w 30"/>
              <a:gd name="T43" fmla="*/ 11 h 13"/>
              <a:gd name="T44" fmla="*/ 28 w 30"/>
              <a:gd name="T45" fmla="*/ 10 h 13"/>
              <a:gd name="T46" fmla="*/ 29 w 30"/>
              <a:gd name="T47" fmla="*/ 10 h 13"/>
              <a:gd name="T48" fmla="*/ 30 w 30"/>
              <a:gd name="T49" fmla="*/ 9 h 13"/>
              <a:gd name="T50" fmla="*/ 29 w 30"/>
              <a:gd name="T51" fmla="*/ 9 h 13"/>
              <a:gd name="T52" fmla="*/ 28 w 30"/>
              <a:gd name="T53" fmla="*/ 8 h 13"/>
              <a:gd name="T54" fmla="*/ 28 w 30"/>
              <a:gd name="T55" fmla="*/ 8 h 13"/>
              <a:gd name="T56" fmla="*/ 26 w 30"/>
              <a:gd name="T57" fmla="*/ 7 h 13"/>
              <a:gd name="T58" fmla="*/ 28 w 30"/>
              <a:gd name="T59" fmla="*/ 6 h 13"/>
              <a:gd name="T60" fmla="*/ 29 w 30"/>
              <a:gd name="T61" fmla="*/ 3 h 13"/>
              <a:gd name="T62" fmla="*/ 28 w 30"/>
              <a:gd name="T63" fmla="*/ 2 h 13"/>
              <a:gd name="T64" fmla="*/ 22 w 30"/>
              <a:gd name="T65" fmla="*/ 6 h 13"/>
              <a:gd name="T66" fmla="*/ 23 w 30"/>
              <a:gd name="T67" fmla="*/ 4 h 13"/>
              <a:gd name="T68" fmla="*/ 21 w 30"/>
              <a:gd name="T69" fmla="*/ 3 h 13"/>
              <a:gd name="T70" fmla="*/ 21 w 30"/>
              <a:gd name="T71" fmla="*/ 4 h 13"/>
              <a:gd name="T72" fmla="*/ 21 w 30"/>
              <a:gd name="T73" fmla="*/ 4 h 13"/>
              <a:gd name="T74" fmla="*/ 21 w 30"/>
              <a:gd name="T75" fmla="*/ 4 h 13"/>
              <a:gd name="T76" fmla="*/ 19 w 30"/>
              <a:gd name="T77" fmla="*/ 4 h 13"/>
              <a:gd name="T78" fmla="*/ 19 w 30"/>
              <a:gd name="T79" fmla="*/ 4 h 13"/>
              <a:gd name="T80" fmla="*/ 14 w 30"/>
              <a:gd name="T81" fmla="*/ 4 h 13"/>
              <a:gd name="T82" fmla="*/ 16 w 30"/>
              <a:gd name="T83" fmla="*/ 2 h 13"/>
              <a:gd name="T84" fmla="*/ 10 w 30"/>
              <a:gd name="T85" fmla="*/ 3 h 13"/>
              <a:gd name="T86" fmla="*/ 15 w 30"/>
              <a:gd name="T87" fmla="*/ 2 h 13"/>
              <a:gd name="T88" fmla="*/ 11 w 30"/>
              <a:gd name="T89" fmla="*/ 1 h 13"/>
              <a:gd name="T90" fmla="*/ 5 w 30"/>
              <a:gd name="T91" fmla="*/ 0 h 13"/>
              <a:gd name="T92" fmla="*/ 0 w 30"/>
              <a:gd name="T93" fmla="*/ 6 h 13"/>
              <a:gd name="T94" fmla="*/ 10 w 30"/>
              <a:gd name="T95" fmla="*/ 3 h 13"/>
              <a:gd name="T96" fmla="*/ 7 w 30"/>
              <a:gd name="T97" fmla="*/ 4 h 1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0"/>
              <a:gd name="T148" fmla="*/ 0 h 13"/>
              <a:gd name="T149" fmla="*/ 30 w 30"/>
              <a:gd name="T150" fmla="*/ 13 h 13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0" h="13">
                <a:moveTo>
                  <a:pt x="7" y="4"/>
                </a:moveTo>
                <a:cubicBezTo>
                  <a:pt x="6" y="5"/>
                  <a:pt x="7" y="4"/>
                  <a:pt x="7" y="5"/>
                </a:cubicBezTo>
                <a:cubicBezTo>
                  <a:pt x="6" y="5"/>
                  <a:pt x="4" y="5"/>
                  <a:pt x="4" y="6"/>
                </a:cubicBezTo>
                <a:cubicBezTo>
                  <a:pt x="4" y="6"/>
                  <a:pt x="5" y="6"/>
                  <a:pt x="5" y="6"/>
                </a:cubicBezTo>
                <a:cubicBezTo>
                  <a:pt x="5" y="7"/>
                  <a:pt x="5" y="7"/>
                  <a:pt x="5" y="7"/>
                </a:cubicBezTo>
                <a:cubicBezTo>
                  <a:pt x="6" y="7"/>
                  <a:pt x="8" y="6"/>
                  <a:pt x="8" y="6"/>
                </a:cubicBezTo>
                <a:cubicBezTo>
                  <a:pt x="7" y="7"/>
                  <a:pt x="4" y="7"/>
                  <a:pt x="3" y="8"/>
                </a:cubicBezTo>
                <a:cubicBezTo>
                  <a:pt x="3" y="8"/>
                  <a:pt x="4" y="8"/>
                  <a:pt x="4" y="8"/>
                </a:cubicBezTo>
                <a:cubicBezTo>
                  <a:pt x="7" y="9"/>
                  <a:pt x="10" y="7"/>
                  <a:pt x="12" y="9"/>
                </a:cubicBezTo>
                <a:cubicBezTo>
                  <a:pt x="9" y="9"/>
                  <a:pt x="1" y="8"/>
                  <a:pt x="3" y="11"/>
                </a:cubicBezTo>
                <a:cubicBezTo>
                  <a:pt x="4" y="11"/>
                  <a:pt x="5" y="11"/>
                  <a:pt x="7" y="11"/>
                </a:cubicBezTo>
                <a:cubicBezTo>
                  <a:pt x="7" y="12"/>
                  <a:pt x="6" y="12"/>
                  <a:pt x="6" y="12"/>
                </a:cubicBezTo>
                <a:cubicBezTo>
                  <a:pt x="6" y="13"/>
                  <a:pt x="6" y="13"/>
                  <a:pt x="6" y="13"/>
                </a:cubicBezTo>
                <a:cubicBezTo>
                  <a:pt x="11" y="13"/>
                  <a:pt x="15" y="12"/>
                  <a:pt x="19" y="11"/>
                </a:cubicBezTo>
                <a:cubicBezTo>
                  <a:pt x="19" y="11"/>
                  <a:pt x="19" y="11"/>
                  <a:pt x="19" y="11"/>
                </a:cubicBezTo>
                <a:cubicBezTo>
                  <a:pt x="20" y="11"/>
                  <a:pt x="21" y="11"/>
                  <a:pt x="21" y="12"/>
                </a:cubicBezTo>
                <a:cubicBezTo>
                  <a:pt x="20" y="12"/>
                  <a:pt x="20" y="12"/>
                  <a:pt x="20" y="12"/>
                </a:cubicBezTo>
                <a:cubicBezTo>
                  <a:pt x="22" y="12"/>
                  <a:pt x="25" y="12"/>
                  <a:pt x="27" y="11"/>
                </a:cubicBezTo>
                <a:cubicBezTo>
                  <a:pt x="26" y="11"/>
                  <a:pt x="27" y="11"/>
                  <a:pt x="27" y="11"/>
                </a:cubicBezTo>
                <a:cubicBezTo>
                  <a:pt x="27" y="10"/>
                  <a:pt x="26" y="11"/>
                  <a:pt x="26" y="11"/>
                </a:cubicBezTo>
                <a:cubicBezTo>
                  <a:pt x="25" y="10"/>
                  <a:pt x="25" y="10"/>
                  <a:pt x="25" y="10"/>
                </a:cubicBezTo>
                <a:cubicBezTo>
                  <a:pt x="26" y="10"/>
                  <a:pt x="26" y="11"/>
                  <a:pt x="26" y="11"/>
                </a:cubicBezTo>
                <a:cubicBezTo>
                  <a:pt x="27" y="10"/>
                  <a:pt x="27" y="10"/>
                  <a:pt x="28" y="10"/>
                </a:cubicBezTo>
                <a:cubicBezTo>
                  <a:pt x="28" y="11"/>
                  <a:pt x="28" y="10"/>
                  <a:pt x="29" y="10"/>
                </a:cubicBezTo>
                <a:cubicBezTo>
                  <a:pt x="30" y="10"/>
                  <a:pt x="30" y="10"/>
                  <a:pt x="30" y="9"/>
                </a:cubicBezTo>
                <a:cubicBezTo>
                  <a:pt x="30" y="9"/>
                  <a:pt x="29" y="10"/>
                  <a:pt x="29" y="9"/>
                </a:cubicBezTo>
                <a:cubicBezTo>
                  <a:pt x="28" y="9"/>
                  <a:pt x="28" y="8"/>
                  <a:pt x="28" y="8"/>
                </a:cubicBezTo>
                <a:cubicBezTo>
                  <a:pt x="28" y="8"/>
                  <a:pt x="28" y="8"/>
                  <a:pt x="28" y="8"/>
                </a:cubicBezTo>
                <a:cubicBezTo>
                  <a:pt x="27" y="8"/>
                  <a:pt x="27" y="8"/>
                  <a:pt x="26" y="7"/>
                </a:cubicBezTo>
                <a:cubicBezTo>
                  <a:pt x="27" y="7"/>
                  <a:pt x="27" y="6"/>
                  <a:pt x="28" y="6"/>
                </a:cubicBezTo>
                <a:cubicBezTo>
                  <a:pt x="28" y="5"/>
                  <a:pt x="29" y="4"/>
                  <a:pt x="29" y="3"/>
                </a:cubicBezTo>
                <a:cubicBezTo>
                  <a:pt x="29" y="3"/>
                  <a:pt x="28" y="3"/>
                  <a:pt x="28" y="2"/>
                </a:cubicBezTo>
                <a:cubicBezTo>
                  <a:pt x="25" y="1"/>
                  <a:pt x="24" y="6"/>
                  <a:pt x="22" y="6"/>
                </a:cubicBezTo>
                <a:cubicBezTo>
                  <a:pt x="23" y="5"/>
                  <a:pt x="23" y="5"/>
                  <a:pt x="23" y="4"/>
                </a:cubicBezTo>
                <a:cubicBezTo>
                  <a:pt x="23" y="3"/>
                  <a:pt x="22" y="3"/>
                  <a:pt x="21" y="3"/>
                </a:cubicBezTo>
                <a:cubicBezTo>
                  <a:pt x="21" y="4"/>
                  <a:pt x="21" y="3"/>
                  <a:pt x="21" y="4"/>
                </a:cubicBezTo>
                <a:cubicBezTo>
                  <a:pt x="21" y="4"/>
                  <a:pt x="21" y="5"/>
                  <a:pt x="21" y="4"/>
                </a:cubicBezTo>
                <a:cubicBezTo>
                  <a:pt x="21" y="4"/>
                  <a:pt x="21" y="4"/>
                  <a:pt x="21" y="4"/>
                </a:cubicBezTo>
                <a:cubicBezTo>
                  <a:pt x="20" y="4"/>
                  <a:pt x="19" y="4"/>
                  <a:pt x="19" y="4"/>
                </a:cubicBezTo>
                <a:cubicBezTo>
                  <a:pt x="19" y="4"/>
                  <a:pt x="20" y="4"/>
                  <a:pt x="19" y="4"/>
                </a:cubicBezTo>
                <a:cubicBezTo>
                  <a:pt x="18" y="2"/>
                  <a:pt x="16" y="4"/>
                  <a:pt x="14" y="4"/>
                </a:cubicBezTo>
                <a:cubicBezTo>
                  <a:pt x="15" y="3"/>
                  <a:pt x="16" y="3"/>
                  <a:pt x="16" y="2"/>
                </a:cubicBezTo>
                <a:cubicBezTo>
                  <a:pt x="15" y="2"/>
                  <a:pt x="12" y="3"/>
                  <a:pt x="10" y="3"/>
                </a:cubicBezTo>
                <a:cubicBezTo>
                  <a:pt x="12" y="3"/>
                  <a:pt x="14" y="2"/>
                  <a:pt x="15" y="2"/>
                </a:cubicBezTo>
                <a:cubicBezTo>
                  <a:pt x="15" y="0"/>
                  <a:pt x="12" y="0"/>
                  <a:pt x="11" y="1"/>
                </a:cubicBezTo>
                <a:cubicBezTo>
                  <a:pt x="10" y="0"/>
                  <a:pt x="7" y="0"/>
                  <a:pt x="5" y="0"/>
                </a:cubicBezTo>
                <a:cubicBezTo>
                  <a:pt x="3" y="2"/>
                  <a:pt x="2" y="4"/>
                  <a:pt x="0" y="6"/>
                </a:cubicBezTo>
                <a:cubicBezTo>
                  <a:pt x="4" y="5"/>
                  <a:pt x="6" y="3"/>
                  <a:pt x="10" y="3"/>
                </a:cubicBezTo>
                <a:cubicBezTo>
                  <a:pt x="9" y="3"/>
                  <a:pt x="8" y="4"/>
                  <a:pt x="7" y="4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90" name="Freeform 65"/>
          <p:cNvSpPr>
            <a:spLocks/>
          </p:cNvSpPr>
          <p:nvPr/>
        </p:nvSpPr>
        <p:spPr bwMode="auto">
          <a:xfrm>
            <a:off x="4495800" y="4997450"/>
            <a:ext cx="11113" cy="17463"/>
          </a:xfrm>
          <a:custGeom>
            <a:avLst/>
            <a:gdLst>
              <a:gd name="T0" fmla="*/ 1 w 4"/>
              <a:gd name="T1" fmla="*/ 3 h 6"/>
              <a:gd name="T2" fmla="*/ 1 w 4"/>
              <a:gd name="T3" fmla="*/ 4 h 6"/>
              <a:gd name="T4" fmla="*/ 1 w 4"/>
              <a:gd name="T5" fmla="*/ 6 h 6"/>
              <a:gd name="T6" fmla="*/ 1 w 4"/>
              <a:gd name="T7" fmla="*/ 6 h 6"/>
              <a:gd name="T8" fmla="*/ 2 w 4"/>
              <a:gd name="T9" fmla="*/ 6 h 6"/>
              <a:gd name="T10" fmla="*/ 2 w 4"/>
              <a:gd name="T11" fmla="*/ 5 h 6"/>
              <a:gd name="T12" fmla="*/ 3 w 4"/>
              <a:gd name="T13" fmla="*/ 6 h 6"/>
              <a:gd name="T14" fmla="*/ 3 w 4"/>
              <a:gd name="T15" fmla="*/ 0 h 6"/>
              <a:gd name="T16" fmla="*/ 2 w 4"/>
              <a:gd name="T17" fmla="*/ 0 h 6"/>
              <a:gd name="T18" fmla="*/ 0 w 4"/>
              <a:gd name="T19" fmla="*/ 1 h 6"/>
              <a:gd name="T20" fmla="*/ 0 w 4"/>
              <a:gd name="T21" fmla="*/ 2 h 6"/>
              <a:gd name="T22" fmla="*/ 1 w 4"/>
              <a:gd name="T23" fmla="*/ 3 h 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"/>
              <a:gd name="T37" fmla="*/ 0 h 6"/>
              <a:gd name="T38" fmla="*/ 4 w 4"/>
              <a:gd name="T39" fmla="*/ 6 h 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" h="6">
                <a:moveTo>
                  <a:pt x="1" y="3"/>
                </a:moveTo>
                <a:cubicBezTo>
                  <a:pt x="1" y="4"/>
                  <a:pt x="1" y="3"/>
                  <a:pt x="1" y="4"/>
                </a:cubicBezTo>
                <a:cubicBezTo>
                  <a:pt x="1" y="5"/>
                  <a:pt x="1" y="5"/>
                  <a:pt x="1" y="6"/>
                </a:cubicBezTo>
                <a:cubicBezTo>
                  <a:pt x="1" y="6"/>
                  <a:pt x="1" y="6"/>
                  <a:pt x="1" y="6"/>
                </a:cubicBezTo>
                <a:cubicBezTo>
                  <a:pt x="2" y="6"/>
                  <a:pt x="2" y="6"/>
                  <a:pt x="2" y="6"/>
                </a:cubicBezTo>
                <a:cubicBezTo>
                  <a:pt x="2" y="6"/>
                  <a:pt x="2" y="6"/>
                  <a:pt x="2" y="5"/>
                </a:cubicBezTo>
                <a:cubicBezTo>
                  <a:pt x="3" y="5"/>
                  <a:pt x="3" y="6"/>
                  <a:pt x="3" y="6"/>
                </a:cubicBezTo>
                <a:cubicBezTo>
                  <a:pt x="4" y="4"/>
                  <a:pt x="4" y="2"/>
                  <a:pt x="3" y="0"/>
                </a:cubicBezTo>
                <a:cubicBezTo>
                  <a:pt x="3" y="0"/>
                  <a:pt x="3" y="0"/>
                  <a:pt x="2" y="0"/>
                </a:cubicBezTo>
                <a:cubicBezTo>
                  <a:pt x="2" y="1"/>
                  <a:pt x="1" y="2"/>
                  <a:pt x="0" y="1"/>
                </a:cubicBezTo>
                <a:cubicBezTo>
                  <a:pt x="0" y="1"/>
                  <a:pt x="0" y="1"/>
                  <a:pt x="0" y="2"/>
                </a:cubicBezTo>
                <a:cubicBezTo>
                  <a:pt x="1" y="2"/>
                  <a:pt x="1" y="3"/>
                  <a:pt x="1" y="3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91" name="Freeform 66"/>
          <p:cNvSpPr>
            <a:spLocks noEditPoints="1"/>
          </p:cNvSpPr>
          <p:nvPr/>
        </p:nvSpPr>
        <p:spPr bwMode="auto">
          <a:xfrm>
            <a:off x="4333875" y="4759325"/>
            <a:ext cx="776288" cy="787400"/>
          </a:xfrm>
          <a:custGeom>
            <a:avLst/>
            <a:gdLst>
              <a:gd name="T0" fmla="*/ 224 w 283"/>
              <a:gd name="T1" fmla="*/ 4 h 287"/>
              <a:gd name="T2" fmla="*/ 196 w 283"/>
              <a:gd name="T3" fmla="*/ 3 h 287"/>
              <a:gd name="T4" fmla="*/ 174 w 283"/>
              <a:gd name="T5" fmla="*/ 12 h 287"/>
              <a:gd name="T6" fmla="*/ 172 w 283"/>
              <a:gd name="T7" fmla="*/ 24 h 287"/>
              <a:gd name="T8" fmla="*/ 158 w 283"/>
              <a:gd name="T9" fmla="*/ 17 h 287"/>
              <a:gd name="T10" fmla="*/ 138 w 283"/>
              <a:gd name="T11" fmla="*/ 19 h 287"/>
              <a:gd name="T12" fmla="*/ 110 w 283"/>
              <a:gd name="T13" fmla="*/ 28 h 287"/>
              <a:gd name="T14" fmla="*/ 99 w 283"/>
              <a:gd name="T15" fmla="*/ 17 h 287"/>
              <a:gd name="T16" fmla="*/ 87 w 283"/>
              <a:gd name="T17" fmla="*/ 15 h 287"/>
              <a:gd name="T18" fmla="*/ 72 w 283"/>
              <a:gd name="T19" fmla="*/ 22 h 287"/>
              <a:gd name="T20" fmla="*/ 59 w 283"/>
              <a:gd name="T21" fmla="*/ 33 h 287"/>
              <a:gd name="T22" fmla="*/ 56 w 283"/>
              <a:gd name="T23" fmla="*/ 42 h 287"/>
              <a:gd name="T24" fmla="*/ 66 w 283"/>
              <a:gd name="T25" fmla="*/ 50 h 287"/>
              <a:gd name="T26" fmla="*/ 69 w 283"/>
              <a:gd name="T27" fmla="*/ 51 h 287"/>
              <a:gd name="T28" fmla="*/ 77 w 283"/>
              <a:gd name="T29" fmla="*/ 36 h 287"/>
              <a:gd name="T30" fmla="*/ 85 w 283"/>
              <a:gd name="T31" fmla="*/ 38 h 287"/>
              <a:gd name="T32" fmla="*/ 83 w 283"/>
              <a:gd name="T33" fmla="*/ 52 h 287"/>
              <a:gd name="T34" fmla="*/ 65 w 283"/>
              <a:gd name="T35" fmla="*/ 52 h 287"/>
              <a:gd name="T36" fmla="*/ 60 w 283"/>
              <a:gd name="T37" fmla="*/ 51 h 287"/>
              <a:gd name="T38" fmla="*/ 51 w 283"/>
              <a:gd name="T39" fmla="*/ 61 h 287"/>
              <a:gd name="T40" fmla="*/ 36 w 283"/>
              <a:gd name="T41" fmla="*/ 71 h 287"/>
              <a:gd name="T42" fmla="*/ 22 w 283"/>
              <a:gd name="T43" fmla="*/ 98 h 287"/>
              <a:gd name="T44" fmla="*/ 70 w 283"/>
              <a:gd name="T45" fmla="*/ 87 h 287"/>
              <a:gd name="T46" fmla="*/ 75 w 283"/>
              <a:gd name="T47" fmla="*/ 99 h 287"/>
              <a:gd name="T48" fmla="*/ 76 w 283"/>
              <a:gd name="T49" fmla="*/ 85 h 287"/>
              <a:gd name="T50" fmla="*/ 73 w 283"/>
              <a:gd name="T51" fmla="*/ 77 h 287"/>
              <a:gd name="T52" fmla="*/ 86 w 283"/>
              <a:gd name="T53" fmla="*/ 93 h 287"/>
              <a:gd name="T54" fmla="*/ 92 w 283"/>
              <a:gd name="T55" fmla="*/ 96 h 287"/>
              <a:gd name="T56" fmla="*/ 93 w 283"/>
              <a:gd name="T57" fmla="*/ 90 h 287"/>
              <a:gd name="T58" fmla="*/ 99 w 283"/>
              <a:gd name="T59" fmla="*/ 94 h 287"/>
              <a:gd name="T60" fmla="*/ 105 w 283"/>
              <a:gd name="T61" fmla="*/ 99 h 287"/>
              <a:gd name="T62" fmla="*/ 112 w 283"/>
              <a:gd name="T63" fmla="*/ 112 h 287"/>
              <a:gd name="T64" fmla="*/ 63 w 283"/>
              <a:gd name="T65" fmla="*/ 106 h 287"/>
              <a:gd name="T66" fmla="*/ 19 w 283"/>
              <a:gd name="T67" fmla="*/ 115 h 287"/>
              <a:gd name="T68" fmla="*/ 1 w 283"/>
              <a:gd name="T69" fmla="*/ 163 h 287"/>
              <a:gd name="T70" fmla="*/ 35 w 283"/>
              <a:gd name="T71" fmla="*/ 183 h 287"/>
              <a:gd name="T72" fmla="*/ 62 w 283"/>
              <a:gd name="T73" fmla="*/ 195 h 287"/>
              <a:gd name="T74" fmla="*/ 81 w 283"/>
              <a:gd name="T75" fmla="*/ 282 h 287"/>
              <a:gd name="T76" fmla="*/ 115 w 283"/>
              <a:gd name="T77" fmla="*/ 265 h 287"/>
              <a:gd name="T78" fmla="*/ 134 w 283"/>
              <a:gd name="T79" fmla="*/ 223 h 287"/>
              <a:gd name="T80" fmla="*/ 134 w 283"/>
              <a:gd name="T81" fmla="*/ 156 h 287"/>
              <a:gd name="T82" fmla="*/ 120 w 283"/>
              <a:gd name="T83" fmla="*/ 122 h 287"/>
              <a:gd name="T84" fmla="*/ 173 w 283"/>
              <a:gd name="T85" fmla="*/ 142 h 287"/>
              <a:gd name="T86" fmla="*/ 157 w 283"/>
              <a:gd name="T87" fmla="*/ 128 h 287"/>
              <a:gd name="T88" fmla="*/ 151 w 283"/>
              <a:gd name="T89" fmla="*/ 117 h 287"/>
              <a:gd name="T90" fmla="*/ 187 w 283"/>
              <a:gd name="T91" fmla="*/ 129 h 287"/>
              <a:gd name="T92" fmla="*/ 207 w 283"/>
              <a:gd name="T93" fmla="*/ 146 h 287"/>
              <a:gd name="T94" fmla="*/ 239 w 283"/>
              <a:gd name="T95" fmla="*/ 141 h 287"/>
              <a:gd name="T96" fmla="*/ 247 w 283"/>
              <a:gd name="T97" fmla="*/ 136 h 287"/>
              <a:gd name="T98" fmla="*/ 267 w 283"/>
              <a:gd name="T99" fmla="*/ 160 h 287"/>
              <a:gd name="T100" fmla="*/ 275 w 283"/>
              <a:gd name="T101" fmla="*/ 177 h 287"/>
              <a:gd name="T102" fmla="*/ 282 w 283"/>
              <a:gd name="T103" fmla="*/ 168 h 287"/>
              <a:gd name="T104" fmla="*/ 121 w 283"/>
              <a:gd name="T105" fmla="*/ 233 h 287"/>
              <a:gd name="T106" fmla="*/ 121 w 283"/>
              <a:gd name="T107" fmla="*/ 196 h 287"/>
              <a:gd name="T108" fmla="*/ 101 w 283"/>
              <a:gd name="T109" fmla="*/ 36 h 287"/>
              <a:gd name="T110" fmla="*/ 103 w 283"/>
              <a:gd name="T111" fmla="*/ 77 h 287"/>
              <a:gd name="T112" fmla="*/ 116 w 283"/>
              <a:gd name="T113" fmla="*/ 77 h 287"/>
              <a:gd name="T114" fmla="*/ 119 w 283"/>
              <a:gd name="T115" fmla="*/ 87 h 287"/>
              <a:gd name="T116" fmla="*/ 150 w 283"/>
              <a:gd name="T117" fmla="*/ 73 h 287"/>
              <a:gd name="T118" fmla="*/ 156 w 283"/>
              <a:gd name="T119" fmla="*/ 91 h 287"/>
              <a:gd name="T120" fmla="*/ 254 w 283"/>
              <a:gd name="T121" fmla="*/ 60 h 28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83"/>
              <a:gd name="T184" fmla="*/ 0 h 287"/>
              <a:gd name="T185" fmla="*/ 283 w 283"/>
              <a:gd name="T186" fmla="*/ 287 h 28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83" h="287">
                <a:moveTo>
                  <a:pt x="237" y="9"/>
                </a:moveTo>
                <a:cubicBezTo>
                  <a:pt x="234" y="9"/>
                  <a:pt x="231" y="8"/>
                  <a:pt x="229" y="9"/>
                </a:cubicBezTo>
                <a:cubicBezTo>
                  <a:pt x="228" y="9"/>
                  <a:pt x="227" y="8"/>
                  <a:pt x="227" y="8"/>
                </a:cubicBezTo>
                <a:cubicBezTo>
                  <a:pt x="227" y="8"/>
                  <a:pt x="227" y="8"/>
                  <a:pt x="227" y="8"/>
                </a:cubicBezTo>
                <a:cubicBezTo>
                  <a:pt x="226" y="9"/>
                  <a:pt x="224" y="8"/>
                  <a:pt x="224" y="8"/>
                </a:cubicBezTo>
                <a:cubicBezTo>
                  <a:pt x="224" y="8"/>
                  <a:pt x="222" y="7"/>
                  <a:pt x="222" y="9"/>
                </a:cubicBezTo>
                <a:cubicBezTo>
                  <a:pt x="222" y="9"/>
                  <a:pt x="223" y="8"/>
                  <a:pt x="224" y="9"/>
                </a:cubicBezTo>
                <a:cubicBezTo>
                  <a:pt x="222" y="9"/>
                  <a:pt x="220" y="10"/>
                  <a:pt x="218" y="10"/>
                </a:cubicBezTo>
                <a:cubicBezTo>
                  <a:pt x="218" y="10"/>
                  <a:pt x="218" y="10"/>
                  <a:pt x="218" y="10"/>
                </a:cubicBezTo>
                <a:cubicBezTo>
                  <a:pt x="217" y="10"/>
                  <a:pt x="217" y="11"/>
                  <a:pt x="217" y="11"/>
                </a:cubicBezTo>
                <a:cubicBezTo>
                  <a:pt x="217" y="10"/>
                  <a:pt x="217" y="10"/>
                  <a:pt x="217" y="9"/>
                </a:cubicBezTo>
                <a:cubicBezTo>
                  <a:pt x="219" y="9"/>
                  <a:pt x="220" y="8"/>
                  <a:pt x="222" y="8"/>
                </a:cubicBezTo>
                <a:cubicBezTo>
                  <a:pt x="222" y="7"/>
                  <a:pt x="221" y="8"/>
                  <a:pt x="221" y="7"/>
                </a:cubicBezTo>
                <a:cubicBezTo>
                  <a:pt x="222" y="7"/>
                  <a:pt x="224" y="7"/>
                  <a:pt x="225" y="5"/>
                </a:cubicBezTo>
                <a:cubicBezTo>
                  <a:pt x="224" y="5"/>
                  <a:pt x="224" y="4"/>
                  <a:pt x="224" y="4"/>
                </a:cubicBezTo>
                <a:cubicBezTo>
                  <a:pt x="223" y="4"/>
                  <a:pt x="222" y="3"/>
                  <a:pt x="221" y="3"/>
                </a:cubicBezTo>
                <a:cubicBezTo>
                  <a:pt x="222" y="4"/>
                  <a:pt x="222" y="4"/>
                  <a:pt x="222" y="4"/>
                </a:cubicBezTo>
                <a:cubicBezTo>
                  <a:pt x="220" y="2"/>
                  <a:pt x="214" y="2"/>
                  <a:pt x="213" y="3"/>
                </a:cubicBezTo>
                <a:cubicBezTo>
                  <a:pt x="212" y="3"/>
                  <a:pt x="211" y="3"/>
                  <a:pt x="211" y="3"/>
                </a:cubicBezTo>
                <a:cubicBezTo>
                  <a:pt x="211" y="2"/>
                  <a:pt x="211" y="2"/>
                  <a:pt x="211" y="2"/>
                </a:cubicBezTo>
                <a:cubicBezTo>
                  <a:pt x="210" y="2"/>
                  <a:pt x="208" y="2"/>
                  <a:pt x="207" y="1"/>
                </a:cubicBezTo>
                <a:cubicBezTo>
                  <a:pt x="207" y="1"/>
                  <a:pt x="208" y="2"/>
                  <a:pt x="208" y="1"/>
                </a:cubicBezTo>
                <a:cubicBezTo>
                  <a:pt x="206" y="1"/>
                  <a:pt x="204" y="0"/>
                  <a:pt x="202" y="1"/>
                </a:cubicBezTo>
                <a:cubicBezTo>
                  <a:pt x="201" y="2"/>
                  <a:pt x="201" y="2"/>
                  <a:pt x="201" y="2"/>
                </a:cubicBezTo>
                <a:cubicBezTo>
                  <a:pt x="202" y="2"/>
                  <a:pt x="202" y="3"/>
                  <a:pt x="203" y="3"/>
                </a:cubicBezTo>
                <a:cubicBezTo>
                  <a:pt x="202" y="3"/>
                  <a:pt x="200" y="3"/>
                  <a:pt x="199" y="3"/>
                </a:cubicBezTo>
                <a:cubicBezTo>
                  <a:pt x="200" y="3"/>
                  <a:pt x="200" y="3"/>
                  <a:pt x="200" y="3"/>
                </a:cubicBezTo>
                <a:cubicBezTo>
                  <a:pt x="200" y="3"/>
                  <a:pt x="198" y="3"/>
                  <a:pt x="198" y="4"/>
                </a:cubicBezTo>
                <a:cubicBezTo>
                  <a:pt x="197" y="4"/>
                  <a:pt x="197" y="4"/>
                  <a:pt x="196" y="4"/>
                </a:cubicBezTo>
                <a:cubicBezTo>
                  <a:pt x="196" y="3"/>
                  <a:pt x="196" y="3"/>
                  <a:pt x="196" y="3"/>
                </a:cubicBezTo>
                <a:cubicBezTo>
                  <a:pt x="194" y="4"/>
                  <a:pt x="192" y="3"/>
                  <a:pt x="191" y="4"/>
                </a:cubicBezTo>
                <a:cubicBezTo>
                  <a:pt x="192" y="4"/>
                  <a:pt x="192" y="3"/>
                  <a:pt x="192" y="4"/>
                </a:cubicBezTo>
                <a:cubicBezTo>
                  <a:pt x="188" y="4"/>
                  <a:pt x="186" y="5"/>
                  <a:pt x="184" y="6"/>
                </a:cubicBezTo>
                <a:cubicBezTo>
                  <a:pt x="184" y="6"/>
                  <a:pt x="184" y="6"/>
                  <a:pt x="184" y="6"/>
                </a:cubicBezTo>
                <a:cubicBezTo>
                  <a:pt x="184" y="6"/>
                  <a:pt x="184" y="7"/>
                  <a:pt x="184" y="7"/>
                </a:cubicBezTo>
                <a:cubicBezTo>
                  <a:pt x="183" y="7"/>
                  <a:pt x="183" y="6"/>
                  <a:pt x="183" y="6"/>
                </a:cubicBezTo>
                <a:cubicBezTo>
                  <a:pt x="183" y="7"/>
                  <a:pt x="183" y="7"/>
                  <a:pt x="183" y="7"/>
                </a:cubicBezTo>
                <a:cubicBezTo>
                  <a:pt x="183" y="7"/>
                  <a:pt x="184" y="7"/>
                  <a:pt x="184" y="7"/>
                </a:cubicBezTo>
                <a:cubicBezTo>
                  <a:pt x="184" y="7"/>
                  <a:pt x="183" y="7"/>
                  <a:pt x="183" y="7"/>
                </a:cubicBezTo>
                <a:cubicBezTo>
                  <a:pt x="184" y="8"/>
                  <a:pt x="185" y="7"/>
                  <a:pt x="186" y="8"/>
                </a:cubicBezTo>
                <a:cubicBezTo>
                  <a:pt x="183" y="9"/>
                  <a:pt x="179" y="9"/>
                  <a:pt x="176" y="9"/>
                </a:cubicBezTo>
                <a:cubicBezTo>
                  <a:pt x="176" y="9"/>
                  <a:pt x="176" y="9"/>
                  <a:pt x="176" y="9"/>
                </a:cubicBezTo>
                <a:cubicBezTo>
                  <a:pt x="177" y="11"/>
                  <a:pt x="180" y="12"/>
                  <a:pt x="182" y="13"/>
                </a:cubicBezTo>
                <a:cubicBezTo>
                  <a:pt x="178" y="13"/>
                  <a:pt x="176" y="10"/>
                  <a:pt x="173" y="12"/>
                </a:cubicBezTo>
                <a:cubicBezTo>
                  <a:pt x="173" y="12"/>
                  <a:pt x="174" y="12"/>
                  <a:pt x="174" y="12"/>
                </a:cubicBezTo>
                <a:cubicBezTo>
                  <a:pt x="173" y="13"/>
                  <a:pt x="172" y="12"/>
                  <a:pt x="171" y="12"/>
                </a:cubicBezTo>
                <a:cubicBezTo>
                  <a:pt x="172" y="14"/>
                  <a:pt x="175" y="13"/>
                  <a:pt x="176" y="14"/>
                </a:cubicBezTo>
                <a:cubicBezTo>
                  <a:pt x="174" y="14"/>
                  <a:pt x="172" y="14"/>
                  <a:pt x="171" y="14"/>
                </a:cubicBezTo>
                <a:cubicBezTo>
                  <a:pt x="170" y="13"/>
                  <a:pt x="170" y="10"/>
                  <a:pt x="168" y="11"/>
                </a:cubicBezTo>
                <a:cubicBezTo>
                  <a:pt x="168" y="11"/>
                  <a:pt x="169" y="11"/>
                  <a:pt x="169" y="12"/>
                </a:cubicBezTo>
                <a:cubicBezTo>
                  <a:pt x="168" y="12"/>
                  <a:pt x="167" y="12"/>
                  <a:pt x="167" y="14"/>
                </a:cubicBezTo>
                <a:cubicBezTo>
                  <a:pt x="168" y="14"/>
                  <a:pt x="169" y="14"/>
                  <a:pt x="170" y="15"/>
                </a:cubicBezTo>
                <a:cubicBezTo>
                  <a:pt x="169" y="21"/>
                  <a:pt x="177" y="17"/>
                  <a:pt x="179" y="20"/>
                </a:cubicBezTo>
                <a:cubicBezTo>
                  <a:pt x="179" y="21"/>
                  <a:pt x="178" y="21"/>
                  <a:pt x="178" y="21"/>
                </a:cubicBezTo>
                <a:cubicBezTo>
                  <a:pt x="179" y="22"/>
                  <a:pt x="180" y="22"/>
                  <a:pt x="181" y="22"/>
                </a:cubicBezTo>
                <a:cubicBezTo>
                  <a:pt x="180" y="22"/>
                  <a:pt x="179" y="22"/>
                  <a:pt x="178" y="21"/>
                </a:cubicBezTo>
                <a:cubicBezTo>
                  <a:pt x="179" y="19"/>
                  <a:pt x="174" y="18"/>
                  <a:pt x="173" y="20"/>
                </a:cubicBezTo>
                <a:cubicBezTo>
                  <a:pt x="173" y="21"/>
                  <a:pt x="174" y="20"/>
                  <a:pt x="174" y="21"/>
                </a:cubicBezTo>
                <a:cubicBezTo>
                  <a:pt x="174" y="22"/>
                  <a:pt x="173" y="22"/>
                  <a:pt x="174" y="23"/>
                </a:cubicBezTo>
                <a:cubicBezTo>
                  <a:pt x="173" y="24"/>
                  <a:pt x="172" y="24"/>
                  <a:pt x="172" y="24"/>
                </a:cubicBezTo>
                <a:cubicBezTo>
                  <a:pt x="172" y="24"/>
                  <a:pt x="172" y="25"/>
                  <a:pt x="172" y="25"/>
                </a:cubicBezTo>
                <a:cubicBezTo>
                  <a:pt x="169" y="25"/>
                  <a:pt x="167" y="25"/>
                  <a:pt x="166" y="24"/>
                </a:cubicBezTo>
                <a:cubicBezTo>
                  <a:pt x="168" y="24"/>
                  <a:pt x="169" y="24"/>
                  <a:pt x="170" y="23"/>
                </a:cubicBezTo>
                <a:cubicBezTo>
                  <a:pt x="170" y="23"/>
                  <a:pt x="171" y="23"/>
                  <a:pt x="171" y="22"/>
                </a:cubicBezTo>
                <a:cubicBezTo>
                  <a:pt x="172" y="22"/>
                  <a:pt x="172" y="22"/>
                  <a:pt x="172" y="22"/>
                </a:cubicBezTo>
                <a:cubicBezTo>
                  <a:pt x="171" y="21"/>
                  <a:pt x="171" y="20"/>
                  <a:pt x="171" y="20"/>
                </a:cubicBezTo>
                <a:cubicBezTo>
                  <a:pt x="169" y="19"/>
                  <a:pt x="168" y="17"/>
                  <a:pt x="167" y="16"/>
                </a:cubicBezTo>
                <a:cubicBezTo>
                  <a:pt x="168" y="14"/>
                  <a:pt x="166" y="14"/>
                  <a:pt x="165" y="13"/>
                </a:cubicBezTo>
                <a:cubicBezTo>
                  <a:pt x="166" y="13"/>
                  <a:pt x="165" y="11"/>
                  <a:pt x="165" y="11"/>
                </a:cubicBezTo>
                <a:cubicBezTo>
                  <a:pt x="163" y="10"/>
                  <a:pt x="161" y="10"/>
                  <a:pt x="159" y="10"/>
                </a:cubicBezTo>
                <a:cubicBezTo>
                  <a:pt x="159" y="12"/>
                  <a:pt x="157" y="13"/>
                  <a:pt x="157" y="15"/>
                </a:cubicBezTo>
                <a:cubicBezTo>
                  <a:pt x="158" y="15"/>
                  <a:pt x="158" y="15"/>
                  <a:pt x="158" y="15"/>
                </a:cubicBezTo>
                <a:cubicBezTo>
                  <a:pt x="158" y="16"/>
                  <a:pt x="159" y="16"/>
                  <a:pt x="159" y="17"/>
                </a:cubicBezTo>
                <a:cubicBezTo>
                  <a:pt x="158" y="17"/>
                  <a:pt x="158" y="16"/>
                  <a:pt x="158" y="16"/>
                </a:cubicBezTo>
                <a:cubicBezTo>
                  <a:pt x="158" y="17"/>
                  <a:pt x="158" y="17"/>
                  <a:pt x="158" y="17"/>
                </a:cubicBezTo>
                <a:cubicBezTo>
                  <a:pt x="161" y="17"/>
                  <a:pt x="161" y="19"/>
                  <a:pt x="163" y="19"/>
                </a:cubicBezTo>
                <a:cubicBezTo>
                  <a:pt x="163" y="20"/>
                  <a:pt x="163" y="20"/>
                  <a:pt x="163" y="20"/>
                </a:cubicBezTo>
                <a:cubicBezTo>
                  <a:pt x="161" y="20"/>
                  <a:pt x="160" y="19"/>
                  <a:pt x="158" y="19"/>
                </a:cubicBezTo>
                <a:cubicBezTo>
                  <a:pt x="158" y="18"/>
                  <a:pt x="158" y="18"/>
                  <a:pt x="158" y="18"/>
                </a:cubicBezTo>
                <a:cubicBezTo>
                  <a:pt x="157" y="18"/>
                  <a:pt x="156" y="18"/>
                  <a:pt x="156" y="18"/>
                </a:cubicBezTo>
                <a:cubicBezTo>
                  <a:pt x="155" y="17"/>
                  <a:pt x="150" y="17"/>
                  <a:pt x="148" y="17"/>
                </a:cubicBezTo>
                <a:cubicBezTo>
                  <a:pt x="148" y="18"/>
                  <a:pt x="149" y="18"/>
                  <a:pt x="149" y="19"/>
                </a:cubicBezTo>
                <a:cubicBezTo>
                  <a:pt x="149" y="19"/>
                  <a:pt x="148" y="19"/>
                  <a:pt x="148" y="20"/>
                </a:cubicBezTo>
                <a:cubicBezTo>
                  <a:pt x="148" y="20"/>
                  <a:pt x="148" y="20"/>
                  <a:pt x="148" y="20"/>
                </a:cubicBezTo>
                <a:cubicBezTo>
                  <a:pt x="148" y="20"/>
                  <a:pt x="147" y="20"/>
                  <a:pt x="147" y="20"/>
                </a:cubicBezTo>
                <a:cubicBezTo>
                  <a:pt x="147" y="19"/>
                  <a:pt x="147" y="19"/>
                  <a:pt x="147" y="19"/>
                </a:cubicBezTo>
                <a:cubicBezTo>
                  <a:pt x="145" y="19"/>
                  <a:pt x="141" y="19"/>
                  <a:pt x="140" y="20"/>
                </a:cubicBezTo>
                <a:cubicBezTo>
                  <a:pt x="139" y="20"/>
                  <a:pt x="138" y="21"/>
                  <a:pt x="138" y="20"/>
                </a:cubicBezTo>
                <a:cubicBezTo>
                  <a:pt x="139" y="20"/>
                  <a:pt x="137" y="20"/>
                  <a:pt x="138" y="19"/>
                </a:cubicBezTo>
                <a:cubicBezTo>
                  <a:pt x="138" y="19"/>
                  <a:pt x="138" y="19"/>
                  <a:pt x="138" y="19"/>
                </a:cubicBezTo>
                <a:cubicBezTo>
                  <a:pt x="135" y="19"/>
                  <a:pt x="133" y="21"/>
                  <a:pt x="129" y="21"/>
                </a:cubicBezTo>
                <a:cubicBezTo>
                  <a:pt x="129" y="21"/>
                  <a:pt x="130" y="21"/>
                  <a:pt x="130" y="22"/>
                </a:cubicBezTo>
                <a:cubicBezTo>
                  <a:pt x="129" y="22"/>
                  <a:pt x="129" y="22"/>
                  <a:pt x="128" y="22"/>
                </a:cubicBezTo>
                <a:cubicBezTo>
                  <a:pt x="128" y="22"/>
                  <a:pt x="128" y="23"/>
                  <a:pt x="128" y="23"/>
                </a:cubicBezTo>
                <a:cubicBezTo>
                  <a:pt x="126" y="24"/>
                  <a:pt x="125" y="23"/>
                  <a:pt x="123" y="22"/>
                </a:cubicBezTo>
                <a:cubicBezTo>
                  <a:pt x="124" y="22"/>
                  <a:pt x="125" y="21"/>
                  <a:pt x="126" y="21"/>
                </a:cubicBezTo>
                <a:cubicBezTo>
                  <a:pt x="125" y="19"/>
                  <a:pt x="122" y="20"/>
                  <a:pt x="120" y="20"/>
                </a:cubicBezTo>
                <a:cubicBezTo>
                  <a:pt x="121" y="20"/>
                  <a:pt x="122" y="21"/>
                  <a:pt x="122" y="23"/>
                </a:cubicBezTo>
                <a:cubicBezTo>
                  <a:pt x="123" y="23"/>
                  <a:pt x="123" y="25"/>
                  <a:pt x="123" y="26"/>
                </a:cubicBezTo>
                <a:cubicBezTo>
                  <a:pt x="122" y="24"/>
                  <a:pt x="120" y="25"/>
                  <a:pt x="119" y="24"/>
                </a:cubicBezTo>
                <a:cubicBezTo>
                  <a:pt x="118" y="25"/>
                  <a:pt x="116" y="26"/>
                  <a:pt x="116" y="27"/>
                </a:cubicBezTo>
                <a:cubicBezTo>
                  <a:pt x="116" y="28"/>
                  <a:pt x="117" y="28"/>
                  <a:pt x="117" y="29"/>
                </a:cubicBezTo>
                <a:cubicBezTo>
                  <a:pt x="116" y="29"/>
                  <a:pt x="115" y="28"/>
                  <a:pt x="113" y="28"/>
                </a:cubicBezTo>
                <a:cubicBezTo>
                  <a:pt x="114" y="28"/>
                  <a:pt x="112" y="27"/>
                  <a:pt x="111" y="27"/>
                </a:cubicBezTo>
                <a:cubicBezTo>
                  <a:pt x="111" y="28"/>
                  <a:pt x="111" y="28"/>
                  <a:pt x="110" y="28"/>
                </a:cubicBezTo>
                <a:cubicBezTo>
                  <a:pt x="110" y="29"/>
                  <a:pt x="112" y="30"/>
                  <a:pt x="113" y="29"/>
                </a:cubicBezTo>
                <a:cubicBezTo>
                  <a:pt x="113" y="30"/>
                  <a:pt x="113" y="30"/>
                  <a:pt x="113" y="30"/>
                </a:cubicBezTo>
                <a:cubicBezTo>
                  <a:pt x="111" y="31"/>
                  <a:pt x="109" y="29"/>
                  <a:pt x="107" y="29"/>
                </a:cubicBezTo>
                <a:cubicBezTo>
                  <a:pt x="108" y="28"/>
                  <a:pt x="107" y="27"/>
                  <a:pt x="106" y="27"/>
                </a:cubicBezTo>
                <a:cubicBezTo>
                  <a:pt x="107" y="27"/>
                  <a:pt x="107" y="26"/>
                  <a:pt x="107" y="26"/>
                </a:cubicBezTo>
                <a:cubicBezTo>
                  <a:pt x="107" y="25"/>
                  <a:pt x="106" y="25"/>
                  <a:pt x="104" y="25"/>
                </a:cubicBezTo>
                <a:cubicBezTo>
                  <a:pt x="104" y="24"/>
                  <a:pt x="102" y="24"/>
                  <a:pt x="102" y="23"/>
                </a:cubicBezTo>
                <a:cubicBezTo>
                  <a:pt x="105" y="24"/>
                  <a:pt x="115" y="28"/>
                  <a:pt x="118" y="23"/>
                </a:cubicBezTo>
                <a:cubicBezTo>
                  <a:pt x="117" y="22"/>
                  <a:pt x="115" y="20"/>
                  <a:pt x="114" y="21"/>
                </a:cubicBezTo>
                <a:cubicBezTo>
                  <a:pt x="110" y="20"/>
                  <a:pt x="107" y="17"/>
                  <a:pt x="103" y="18"/>
                </a:cubicBezTo>
                <a:cubicBezTo>
                  <a:pt x="103" y="18"/>
                  <a:pt x="103" y="18"/>
                  <a:pt x="103" y="18"/>
                </a:cubicBezTo>
                <a:cubicBezTo>
                  <a:pt x="102" y="18"/>
                  <a:pt x="102" y="18"/>
                  <a:pt x="102" y="18"/>
                </a:cubicBezTo>
                <a:cubicBezTo>
                  <a:pt x="102" y="17"/>
                  <a:pt x="101" y="18"/>
                  <a:pt x="101" y="17"/>
                </a:cubicBezTo>
                <a:cubicBezTo>
                  <a:pt x="101" y="17"/>
                  <a:pt x="102" y="17"/>
                  <a:pt x="102" y="17"/>
                </a:cubicBezTo>
                <a:cubicBezTo>
                  <a:pt x="101" y="16"/>
                  <a:pt x="100" y="17"/>
                  <a:pt x="99" y="17"/>
                </a:cubicBezTo>
                <a:cubicBezTo>
                  <a:pt x="99" y="17"/>
                  <a:pt x="97" y="17"/>
                  <a:pt x="97" y="17"/>
                </a:cubicBezTo>
                <a:cubicBezTo>
                  <a:pt x="96" y="17"/>
                  <a:pt x="96" y="17"/>
                  <a:pt x="96" y="16"/>
                </a:cubicBezTo>
                <a:cubicBezTo>
                  <a:pt x="97" y="17"/>
                  <a:pt x="97" y="16"/>
                  <a:pt x="98" y="16"/>
                </a:cubicBezTo>
                <a:cubicBezTo>
                  <a:pt x="98" y="15"/>
                  <a:pt x="96" y="15"/>
                  <a:pt x="95" y="15"/>
                </a:cubicBezTo>
                <a:cubicBezTo>
                  <a:pt x="94" y="15"/>
                  <a:pt x="94" y="15"/>
                  <a:pt x="94" y="15"/>
                </a:cubicBezTo>
                <a:cubicBezTo>
                  <a:pt x="93" y="15"/>
                  <a:pt x="94" y="15"/>
                  <a:pt x="93" y="15"/>
                </a:cubicBezTo>
                <a:cubicBezTo>
                  <a:pt x="94" y="15"/>
                  <a:pt x="94" y="15"/>
                  <a:pt x="94" y="14"/>
                </a:cubicBezTo>
                <a:cubicBezTo>
                  <a:pt x="93" y="14"/>
                  <a:pt x="92" y="14"/>
                  <a:pt x="92" y="15"/>
                </a:cubicBezTo>
                <a:cubicBezTo>
                  <a:pt x="92" y="15"/>
                  <a:pt x="92" y="15"/>
                  <a:pt x="92" y="15"/>
                </a:cubicBezTo>
                <a:cubicBezTo>
                  <a:pt x="91" y="15"/>
                  <a:pt x="92" y="16"/>
                  <a:pt x="91" y="16"/>
                </a:cubicBezTo>
                <a:cubicBezTo>
                  <a:pt x="91" y="15"/>
                  <a:pt x="91" y="15"/>
                  <a:pt x="91" y="14"/>
                </a:cubicBezTo>
                <a:cubicBezTo>
                  <a:pt x="90" y="15"/>
                  <a:pt x="89" y="16"/>
                  <a:pt x="88" y="16"/>
                </a:cubicBezTo>
                <a:cubicBezTo>
                  <a:pt x="89" y="15"/>
                  <a:pt x="89" y="15"/>
                  <a:pt x="90" y="15"/>
                </a:cubicBezTo>
                <a:cubicBezTo>
                  <a:pt x="89" y="14"/>
                  <a:pt x="88" y="15"/>
                  <a:pt x="87" y="14"/>
                </a:cubicBezTo>
                <a:cubicBezTo>
                  <a:pt x="88" y="15"/>
                  <a:pt x="87" y="15"/>
                  <a:pt x="87" y="15"/>
                </a:cubicBezTo>
                <a:cubicBezTo>
                  <a:pt x="87" y="16"/>
                  <a:pt x="85" y="16"/>
                  <a:pt x="85" y="17"/>
                </a:cubicBezTo>
                <a:cubicBezTo>
                  <a:pt x="85" y="16"/>
                  <a:pt x="82" y="16"/>
                  <a:pt x="82" y="16"/>
                </a:cubicBezTo>
                <a:cubicBezTo>
                  <a:pt x="82" y="16"/>
                  <a:pt x="83" y="16"/>
                  <a:pt x="83" y="17"/>
                </a:cubicBezTo>
                <a:cubicBezTo>
                  <a:pt x="82" y="16"/>
                  <a:pt x="82" y="16"/>
                  <a:pt x="81" y="17"/>
                </a:cubicBezTo>
                <a:cubicBezTo>
                  <a:pt x="80" y="17"/>
                  <a:pt x="81" y="17"/>
                  <a:pt x="81" y="17"/>
                </a:cubicBezTo>
                <a:cubicBezTo>
                  <a:pt x="80" y="17"/>
                  <a:pt x="78" y="17"/>
                  <a:pt x="77" y="18"/>
                </a:cubicBezTo>
                <a:cubicBezTo>
                  <a:pt x="77" y="17"/>
                  <a:pt x="76" y="17"/>
                  <a:pt x="75" y="18"/>
                </a:cubicBezTo>
                <a:cubicBezTo>
                  <a:pt x="75" y="18"/>
                  <a:pt x="75" y="18"/>
                  <a:pt x="75" y="19"/>
                </a:cubicBezTo>
                <a:cubicBezTo>
                  <a:pt x="76" y="19"/>
                  <a:pt x="76" y="18"/>
                  <a:pt x="76" y="18"/>
                </a:cubicBezTo>
                <a:cubicBezTo>
                  <a:pt x="76" y="19"/>
                  <a:pt x="74" y="19"/>
                  <a:pt x="74" y="20"/>
                </a:cubicBezTo>
                <a:cubicBezTo>
                  <a:pt x="74" y="21"/>
                  <a:pt x="74" y="21"/>
                  <a:pt x="74" y="21"/>
                </a:cubicBezTo>
                <a:cubicBezTo>
                  <a:pt x="74" y="21"/>
                  <a:pt x="74" y="20"/>
                  <a:pt x="74" y="20"/>
                </a:cubicBezTo>
                <a:cubicBezTo>
                  <a:pt x="73" y="21"/>
                  <a:pt x="73" y="20"/>
                  <a:pt x="72" y="21"/>
                </a:cubicBezTo>
                <a:cubicBezTo>
                  <a:pt x="73" y="21"/>
                  <a:pt x="73" y="21"/>
                  <a:pt x="73" y="21"/>
                </a:cubicBezTo>
                <a:cubicBezTo>
                  <a:pt x="73" y="21"/>
                  <a:pt x="71" y="21"/>
                  <a:pt x="72" y="22"/>
                </a:cubicBezTo>
                <a:cubicBezTo>
                  <a:pt x="72" y="22"/>
                  <a:pt x="72" y="21"/>
                  <a:pt x="73" y="22"/>
                </a:cubicBezTo>
                <a:cubicBezTo>
                  <a:pt x="72" y="22"/>
                  <a:pt x="71" y="22"/>
                  <a:pt x="71" y="23"/>
                </a:cubicBezTo>
                <a:cubicBezTo>
                  <a:pt x="69" y="23"/>
                  <a:pt x="69" y="23"/>
                  <a:pt x="69" y="23"/>
                </a:cubicBezTo>
                <a:cubicBezTo>
                  <a:pt x="70" y="23"/>
                  <a:pt x="69" y="24"/>
                  <a:pt x="70" y="24"/>
                </a:cubicBezTo>
                <a:cubicBezTo>
                  <a:pt x="69" y="23"/>
                  <a:pt x="69" y="24"/>
                  <a:pt x="69" y="24"/>
                </a:cubicBezTo>
                <a:cubicBezTo>
                  <a:pt x="69" y="24"/>
                  <a:pt x="69" y="25"/>
                  <a:pt x="68" y="25"/>
                </a:cubicBezTo>
                <a:cubicBezTo>
                  <a:pt x="68" y="26"/>
                  <a:pt x="68" y="26"/>
                  <a:pt x="68" y="26"/>
                </a:cubicBezTo>
                <a:cubicBezTo>
                  <a:pt x="68" y="26"/>
                  <a:pt x="67" y="27"/>
                  <a:pt x="67" y="27"/>
                </a:cubicBezTo>
                <a:cubicBezTo>
                  <a:pt x="66" y="28"/>
                  <a:pt x="66" y="28"/>
                  <a:pt x="65" y="28"/>
                </a:cubicBezTo>
                <a:cubicBezTo>
                  <a:pt x="66" y="28"/>
                  <a:pt x="66" y="29"/>
                  <a:pt x="66" y="29"/>
                </a:cubicBezTo>
                <a:cubicBezTo>
                  <a:pt x="65" y="29"/>
                  <a:pt x="65" y="29"/>
                  <a:pt x="65" y="29"/>
                </a:cubicBezTo>
                <a:cubicBezTo>
                  <a:pt x="63" y="30"/>
                  <a:pt x="63" y="32"/>
                  <a:pt x="61" y="32"/>
                </a:cubicBezTo>
                <a:cubicBezTo>
                  <a:pt x="61" y="32"/>
                  <a:pt x="61" y="32"/>
                  <a:pt x="61" y="32"/>
                </a:cubicBezTo>
                <a:cubicBezTo>
                  <a:pt x="60" y="33"/>
                  <a:pt x="58" y="32"/>
                  <a:pt x="58" y="33"/>
                </a:cubicBezTo>
                <a:cubicBezTo>
                  <a:pt x="58" y="33"/>
                  <a:pt x="59" y="33"/>
                  <a:pt x="59" y="33"/>
                </a:cubicBezTo>
                <a:cubicBezTo>
                  <a:pt x="58" y="33"/>
                  <a:pt x="58" y="33"/>
                  <a:pt x="57" y="33"/>
                </a:cubicBezTo>
                <a:cubicBezTo>
                  <a:pt x="56" y="34"/>
                  <a:pt x="57" y="34"/>
                  <a:pt x="57" y="34"/>
                </a:cubicBezTo>
                <a:cubicBezTo>
                  <a:pt x="56" y="34"/>
                  <a:pt x="56" y="34"/>
                  <a:pt x="56" y="35"/>
                </a:cubicBezTo>
                <a:cubicBezTo>
                  <a:pt x="55" y="34"/>
                  <a:pt x="55" y="34"/>
                  <a:pt x="54" y="35"/>
                </a:cubicBezTo>
                <a:cubicBezTo>
                  <a:pt x="55" y="35"/>
                  <a:pt x="55" y="35"/>
                  <a:pt x="55" y="35"/>
                </a:cubicBezTo>
                <a:cubicBezTo>
                  <a:pt x="54" y="35"/>
                  <a:pt x="54" y="35"/>
                  <a:pt x="55" y="35"/>
                </a:cubicBezTo>
                <a:cubicBezTo>
                  <a:pt x="54" y="35"/>
                  <a:pt x="54" y="35"/>
                  <a:pt x="54" y="35"/>
                </a:cubicBezTo>
                <a:cubicBezTo>
                  <a:pt x="54" y="36"/>
                  <a:pt x="55" y="36"/>
                  <a:pt x="55" y="36"/>
                </a:cubicBezTo>
                <a:cubicBezTo>
                  <a:pt x="54" y="37"/>
                  <a:pt x="54" y="38"/>
                  <a:pt x="55" y="39"/>
                </a:cubicBezTo>
                <a:cubicBezTo>
                  <a:pt x="55" y="40"/>
                  <a:pt x="55" y="39"/>
                  <a:pt x="55" y="39"/>
                </a:cubicBezTo>
                <a:cubicBezTo>
                  <a:pt x="56" y="39"/>
                  <a:pt x="55" y="40"/>
                  <a:pt x="56" y="40"/>
                </a:cubicBezTo>
                <a:cubicBezTo>
                  <a:pt x="55" y="40"/>
                  <a:pt x="55" y="40"/>
                  <a:pt x="55" y="40"/>
                </a:cubicBezTo>
                <a:cubicBezTo>
                  <a:pt x="55" y="41"/>
                  <a:pt x="54" y="41"/>
                  <a:pt x="54" y="41"/>
                </a:cubicBezTo>
                <a:cubicBezTo>
                  <a:pt x="55" y="42"/>
                  <a:pt x="55" y="41"/>
                  <a:pt x="56" y="41"/>
                </a:cubicBezTo>
                <a:cubicBezTo>
                  <a:pt x="56" y="42"/>
                  <a:pt x="56" y="42"/>
                  <a:pt x="56" y="42"/>
                </a:cubicBezTo>
                <a:cubicBezTo>
                  <a:pt x="55" y="42"/>
                  <a:pt x="55" y="42"/>
                  <a:pt x="55" y="42"/>
                </a:cubicBezTo>
                <a:cubicBezTo>
                  <a:pt x="55" y="42"/>
                  <a:pt x="55" y="42"/>
                  <a:pt x="55" y="43"/>
                </a:cubicBezTo>
                <a:cubicBezTo>
                  <a:pt x="55" y="43"/>
                  <a:pt x="56" y="44"/>
                  <a:pt x="57" y="44"/>
                </a:cubicBezTo>
                <a:cubicBezTo>
                  <a:pt x="57" y="44"/>
                  <a:pt x="57" y="44"/>
                  <a:pt x="57" y="44"/>
                </a:cubicBezTo>
                <a:cubicBezTo>
                  <a:pt x="60" y="45"/>
                  <a:pt x="62" y="43"/>
                  <a:pt x="63" y="42"/>
                </a:cubicBezTo>
                <a:cubicBezTo>
                  <a:pt x="63" y="42"/>
                  <a:pt x="64" y="42"/>
                  <a:pt x="64" y="42"/>
                </a:cubicBezTo>
                <a:cubicBezTo>
                  <a:pt x="65" y="41"/>
                  <a:pt x="64" y="41"/>
                  <a:pt x="64" y="41"/>
                </a:cubicBezTo>
                <a:cubicBezTo>
                  <a:pt x="65" y="41"/>
                  <a:pt x="65" y="41"/>
                  <a:pt x="65" y="42"/>
                </a:cubicBezTo>
                <a:cubicBezTo>
                  <a:pt x="66" y="42"/>
                  <a:pt x="66" y="42"/>
                  <a:pt x="66" y="42"/>
                </a:cubicBezTo>
                <a:cubicBezTo>
                  <a:pt x="65" y="44"/>
                  <a:pt x="67" y="46"/>
                  <a:pt x="69" y="48"/>
                </a:cubicBezTo>
                <a:cubicBezTo>
                  <a:pt x="68" y="48"/>
                  <a:pt x="69" y="49"/>
                  <a:pt x="69" y="49"/>
                </a:cubicBezTo>
                <a:cubicBezTo>
                  <a:pt x="68" y="49"/>
                  <a:pt x="68" y="49"/>
                  <a:pt x="68" y="49"/>
                </a:cubicBezTo>
                <a:cubicBezTo>
                  <a:pt x="68" y="49"/>
                  <a:pt x="68" y="49"/>
                  <a:pt x="68" y="49"/>
                </a:cubicBezTo>
                <a:cubicBezTo>
                  <a:pt x="68" y="49"/>
                  <a:pt x="66" y="50"/>
                  <a:pt x="66" y="49"/>
                </a:cubicBezTo>
                <a:cubicBezTo>
                  <a:pt x="66" y="50"/>
                  <a:pt x="66" y="50"/>
                  <a:pt x="66" y="50"/>
                </a:cubicBezTo>
                <a:cubicBezTo>
                  <a:pt x="65" y="50"/>
                  <a:pt x="65" y="50"/>
                  <a:pt x="65" y="50"/>
                </a:cubicBezTo>
                <a:cubicBezTo>
                  <a:pt x="65" y="50"/>
                  <a:pt x="66" y="51"/>
                  <a:pt x="65" y="51"/>
                </a:cubicBezTo>
                <a:cubicBezTo>
                  <a:pt x="66" y="52"/>
                  <a:pt x="66" y="51"/>
                  <a:pt x="67" y="52"/>
                </a:cubicBezTo>
                <a:cubicBezTo>
                  <a:pt x="67" y="52"/>
                  <a:pt x="67" y="52"/>
                  <a:pt x="67" y="52"/>
                </a:cubicBezTo>
                <a:cubicBezTo>
                  <a:pt x="66" y="52"/>
                  <a:pt x="66" y="52"/>
                  <a:pt x="66" y="52"/>
                </a:cubicBezTo>
                <a:cubicBezTo>
                  <a:pt x="66" y="52"/>
                  <a:pt x="65" y="52"/>
                  <a:pt x="65" y="52"/>
                </a:cubicBezTo>
                <a:cubicBezTo>
                  <a:pt x="65" y="52"/>
                  <a:pt x="65" y="52"/>
                  <a:pt x="65" y="52"/>
                </a:cubicBezTo>
                <a:cubicBezTo>
                  <a:pt x="66" y="53"/>
                  <a:pt x="67" y="53"/>
                  <a:pt x="67" y="53"/>
                </a:cubicBezTo>
                <a:cubicBezTo>
                  <a:pt x="67" y="52"/>
                  <a:pt x="68" y="52"/>
                  <a:pt x="68" y="52"/>
                </a:cubicBezTo>
                <a:cubicBezTo>
                  <a:pt x="68" y="51"/>
                  <a:pt x="67" y="52"/>
                  <a:pt x="68" y="52"/>
                </a:cubicBezTo>
                <a:cubicBezTo>
                  <a:pt x="67" y="51"/>
                  <a:pt x="68" y="52"/>
                  <a:pt x="68" y="51"/>
                </a:cubicBezTo>
                <a:cubicBezTo>
                  <a:pt x="68" y="51"/>
                  <a:pt x="68" y="51"/>
                  <a:pt x="68" y="50"/>
                </a:cubicBezTo>
                <a:cubicBezTo>
                  <a:pt x="69" y="51"/>
                  <a:pt x="68" y="50"/>
                  <a:pt x="69" y="49"/>
                </a:cubicBezTo>
                <a:cubicBezTo>
                  <a:pt x="69" y="50"/>
                  <a:pt x="69" y="50"/>
                  <a:pt x="69" y="50"/>
                </a:cubicBezTo>
                <a:cubicBezTo>
                  <a:pt x="69" y="50"/>
                  <a:pt x="69" y="51"/>
                  <a:pt x="69" y="51"/>
                </a:cubicBezTo>
                <a:cubicBezTo>
                  <a:pt x="70" y="51"/>
                  <a:pt x="71" y="51"/>
                  <a:pt x="72" y="51"/>
                </a:cubicBezTo>
                <a:cubicBezTo>
                  <a:pt x="72" y="50"/>
                  <a:pt x="71" y="50"/>
                  <a:pt x="72" y="50"/>
                </a:cubicBezTo>
                <a:cubicBezTo>
                  <a:pt x="72" y="49"/>
                  <a:pt x="72" y="49"/>
                  <a:pt x="73" y="49"/>
                </a:cubicBezTo>
                <a:cubicBezTo>
                  <a:pt x="73" y="49"/>
                  <a:pt x="73" y="49"/>
                  <a:pt x="73" y="49"/>
                </a:cubicBezTo>
                <a:cubicBezTo>
                  <a:pt x="73" y="49"/>
                  <a:pt x="74" y="49"/>
                  <a:pt x="75" y="49"/>
                </a:cubicBezTo>
                <a:cubicBezTo>
                  <a:pt x="76" y="48"/>
                  <a:pt x="76" y="46"/>
                  <a:pt x="76" y="45"/>
                </a:cubicBezTo>
                <a:cubicBezTo>
                  <a:pt x="76" y="45"/>
                  <a:pt x="76" y="44"/>
                  <a:pt x="76" y="43"/>
                </a:cubicBezTo>
                <a:cubicBezTo>
                  <a:pt x="77" y="44"/>
                  <a:pt x="76" y="43"/>
                  <a:pt x="76" y="43"/>
                </a:cubicBezTo>
                <a:cubicBezTo>
                  <a:pt x="77" y="43"/>
                  <a:pt x="78" y="42"/>
                  <a:pt x="78" y="43"/>
                </a:cubicBezTo>
                <a:cubicBezTo>
                  <a:pt x="78" y="42"/>
                  <a:pt x="79" y="42"/>
                  <a:pt x="80" y="41"/>
                </a:cubicBezTo>
                <a:cubicBezTo>
                  <a:pt x="79" y="41"/>
                  <a:pt x="79" y="41"/>
                  <a:pt x="79" y="41"/>
                </a:cubicBezTo>
                <a:cubicBezTo>
                  <a:pt x="79" y="41"/>
                  <a:pt x="80" y="40"/>
                  <a:pt x="80" y="40"/>
                </a:cubicBezTo>
                <a:cubicBezTo>
                  <a:pt x="80" y="39"/>
                  <a:pt x="79" y="39"/>
                  <a:pt x="78" y="38"/>
                </a:cubicBezTo>
                <a:cubicBezTo>
                  <a:pt x="77" y="38"/>
                  <a:pt x="78" y="38"/>
                  <a:pt x="77" y="38"/>
                </a:cubicBezTo>
                <a:cubicBezTo>
                  <a:pt x="77" y="37"/>
                  <a:pt x="76" y="36"/>
                  <a:pt x="77" y="36"/>
                </a:cubicBezTo>
                <a:cubicBezTo>
                  <a:pt x="77" y="36"/>
                  <a:pt x="77" y="35"/>
                  <a:pt x="77" y="35"/>
                </a:cubicBezTo>
                <a:cubicBezTo>
                  <a:pt x="77" y="35"/>
                  <a:pt x="77" y="34"/>
                  <a:pt x="77" y="34"/>
                </a:cubicBezTo>
                <a:cubicBezTo>
                  <a:pt x="77" y="34"/>
                  <a:pt x="77" y="34"/>
                  <a:pt x="77" y="34"/>
                </a:cubicBezTo>
                <a:cubicBezTo>
                  <a:pt x="77" y="34"/>
                  <a:pt x="77" y="34"/>
                  <a:pt x="78" y="34"/>
                </a:cubicBezTo>
                <a:cubicBezTo>
                  <a:pt x="78" y="33"/>
                  <a:pt x="78" y="33"/>
                  <a:pt x="78" y="33"/>
                </a:cubicBezTo>
                <a:cubicBezTo>
                  <a:pt x="78" y="33"/>
                  <a:pt x="78" y="33"/>
                  <a:pt x="79" y="33"/>
                </a:cubicBezTo>
                <a:cubicBezTo>
                  <a:pt x="80" y="31"/>
                  <a:pt x="83" y="31"/>
                  <a:pt x="84" y="29"/>
                </a:cubicBezTo>
                <a:cubicBezTo>
                  <a:pt x="84" y="29"/>
                  <a:pt x="83" y="29"/>
                  <a:pt x="83" y="28"/>
                </a:cubicBezTo>
                <a:cubicBezTo>
                  <a:pt x="84" y="28"/>
                  <a:pt x="84" y="27"/>
                  <a:pt x="85" y="27"/>
                </a:cubicBezTo>
                <a:cubicBezTo>
                  <a:pt x="85" y="26"/>
                  <a:pt x="85" y="26"/>
                  <a:pt x="85" y="26"/>
                </a:cubicBezTo>
                <a:cubicBezTo>
                  <a:pt x="87" y="26"/>
                  <a:pt x="91" y="25"/>
                  <a:pt x="90" y="28"/>
                </a:cubicBezTo>
                <a:cubicBezTo>
                  <a:pt x="88" y="29"/>
                  <a:pt x="86" y="31"/>
                  <a:pt x="85" y="32"/>
                </a:cubicBezTo>
                <a:cubicBezTo>
                  <a:pt x="85" y="32"/>
                  <a:pt x="84" y="32"/>
                  <a:pt x="84" y="32"/>
                </a:cubicBezTo>
                <a:cubicBezTo>
                  <a:pt x="84" y="33"/>
                  <a:pt x="84" y="33"/>
                  <a:pt x="83" y="33"/>
                </a:cubicBezTo>
                <a:cubicBezTo>
                  <a:pt x="85" y="34"/>
                  <a:pt x="84" y="37"/>
                  <a:pt x="85" y="38"/>
                </a:cubicBezTo>
                <a:cubicBezTo>
                  <a:pt x="85" y="38"/>
                  <a:pt x="86" y="39"/>
                  <a:pt x="87" y="39"/>
                </a:cubicBezTo>
                <a:cubicBezTo>
                  <a:pt x="88" y="40"/>
                  <a:pt x="87" y="40"/>
                  <a:pt x="88" y="40"/>
                </a:cubicBezTo>
                <a:cubicBezTo>
                  <a:pt x="92" y="39"/>
                  <a:pt x="94" y="39"/>
                  <a:pt x="98" y="38"/>
                </a:cubicBezTo>
                <a:cubicBezTo>
                  <a:pt x="97" y="39"/>
                  <a:pt x="97" y="39"/>
                  <a:pt x="97" y="39"/>
                </a:cubicBezTo>
                <a:cubicBezTo>
                  <a:pt x="98" y="40"/>
                  <a:pt x="100" y="39"/>
                  <a:pt x="101" y="40"/>
                </a:cubicBezTo>
                <a:cubicBezTo>
                  <a:pt x="100" y="40"/>
                  <a:pt x="100" y="40"/>
                  <a:pt x="99" y="40"/>
                </a:cubicBezTo>
                <a:cubicBezTo>
                  <a:pt x="98" y="40"/>
                  <a:pt x="98" y="40"/>
                  <a:pt x="97" y="40"/>
                </a:cubicBezTo>
                <a:cubicBezTo>
                  <a:pt x="97" y="41"/>
                  <a:pt x="97" y="41"/>
                  <a:pt x="97" y="41"/>
                </a:cubicBezTo>
                <a:cubicBezTo>
                  <a:pt x="93" y="40"/>
                  <a:pt x="90" y="40"/>
                  <a:pt x="88" y="42"/>
                </a:cubicBezTo>
                <a:cubicBezTo>
                  <a:pt x="89" y="42"/>
                  <a:pt x="89" y="43"/>
                  <a:pt x="89" y="44"/>
                </a:cubicBezTo>
                <a:cubicBezTo>
                  <a:pt x="90" y="44"/>
                  <a:pt x="90" y="44"/>
                  <a:pt x="91" y="44"/>
                </a:cubicBezTo>
                <a:cubicBezTo>
                  <a:pt x="90" y="45"/>
                  <a:pt x="90" y="45"/>
                  <a:pt x="91" y="46"/>
                </a:cubicBezTo>
                <a:cubicBezTo>
                  <a:pt x="89" y="48"/>
                  <a:pt x="88" y="46"/>
                  <a:pt x="87" y="45"/>
                </a:cubicBezTo>
                <a:cubicBezTo>
                  <a:pt x="85" y="45"/>
                  <a:pt x="85" y="47"/>
                  <a:pt x="84" y="47"/>
                </a:cubicBezTo>
                <a:cubicBezTo>
                  <a:pt x="84" y="49"/>
                  <a:pt x="85" y="52"/>
                  <a:pt x="83" y="52"/>
                </a:cubicBezTo>
                <a:cubicBezTo>
                  <a:pt x="83" y="54"/>
                  <a:pt x="80" y="54"/>
                  <a:pt x="80" y="52"/>
                </a:cubicBezTo>
                <a:cubicBezTo>
                  <a:pt x="76" y="52"/>
                  <a:pt x="72" y="56"/>
                  <a:pt x="70" y="54"/>
                </a:cubicBezTo>
                <a:cubicBezTo>
                  <a:pt x="71" y="53"/>
                  <a:pt x="71" y="53"/>
                  <a:pt x="71" y="53"/>
                </a:cubicBezTo>
                <a:cubicBezTo>
                  <a:pt x="71" y="53"/>
                  <a:pt x="71" y="53"/>
                  <a:pt x="71" y="53"/>
                </a:cubicBezTo>
                <a:cubicBezTo>
                  <a:pt x="70" y="53"/>
                  <a:pt x="70" y="53"/>
                  <a:pt x="70" y="53"/>
                </a:cubicBezTo>
                <a:cubicBezTo>
                  <a:pt x="69" y="53"/>
                  <a:pt x="70" y="53"/>
                  <a:pt x="69" y="53"/>
                </a:cubicBezTo>
                <a:cubicBezTo>
                  <a:pt x="68" y="53"/>
                  <a:pt x="67" y="54"/>
                  <a:pt x="66" y="55"/>
                </a:cubicBezTo>
                <a:cubicBezTo>
                  <a:pt x="65" y="54"/>
                  <a:pt x="65" y="54"/>
                  <a:pt x="65" y="54"/>
                </a:cubicBezTo>
                <a:cubicBezTo>
                  <a:pt x="66" y="54"/>
                  <a:pt x="65" y="53"/>
                  <a:pt x="66" y="53"/>
                </a:cubicBezTo>
                <a:cubicBezTo>
                  <a:pt x="65" y="53"/>
                  <a:pt x="65" y="54"/>
                  <a:pt x="63" y="53"/>
                </a:cubicBezTo>
                <a:cubicBezTo>
                  <a:pt x="64" y="52"/>
                  <a:pt x="63" y="52"/>
                  <a:pt x="63" y="52"/>
                </a:cubicBezTo>
                <a:cubicBezTo>
                  <a:pt x="63" y="52"/>
                  <a:pt x="63" y="52"/>
                  <a:pt x="63" y="52"/>
                </a:cubicBezTo>
                <a:cubicBezTo>
                  <a:pt x="63" y="51"/>
                  <a:pt x="62" y="52"/>
                  <a:pt x="62" y="51"/>
                </a:cubicBezTo>
                <a:cubicBezTo>
                  <a:pt x="63" y="52"/>
                  <a:pt x="62" y="51"/>
                  <a:pt x="63" y="51"/>
                </a:cubicBezTo>
                <a:cubicBezTo>
                  <a:pt x="63" y="52"/>
                  <a:pt x="64" y="52"/>
                  <a:pt x="65" y="52"/>
                </a:cubicBezTo>
                <a:cubicBezTo>
                  <a:pt x="65" y="51"/>
                  <a:pt x="65" y="51"/>
                  <a:pt x="64" y="50"/>
                </a:cubicBezTo>
                <a:cubicBezTo>
                  <a:pt x="64" y="51"/>
                  <a:pt x="63" y="50"/>
                  <a:pt x="63" y="51"/>
                </a:cubicBezTo>
                <a:cubicBezTo>
                  <a:pt x="63" y="50"/>
                  <a:pt x="63" y="50"/>
                  <a:pt x="63" y="50"/>
                </a:cubicBezTo>
                <a:cubicBezTo>
                  <a:pt x="64" y="50"/>
                  <a:pt x="64" y="49"/>
                  <a:pt x="64" y="49"/>
                </a:cubicBezTo>
                <a:cubicBezTo>
                  <a:pt x="64" y="49"/>
                  <a:pt x="64" y="49"/>
                  <a:pt x="65" y="49"/>
                </a:cubicBezTo>
                <a:cubicBezTo>
                  <a:pt x="65" y="48"/>
                  <a:pt x="65" y="48"/>
                  <a:pt x="65" y="48"/>
                </a:cubicBezTo>
                <a:cubicBezTo>
                  <a:pt x="65" y="48"/>
                  <a:pt x="65" y="48"/>
                  <a:pt x="64" y="48"/>
                </a:cubicBezTo>
                <a:cubicBezTo>
                  <a:pt x="63" y="47"/>
                  <a:pt x="65" y="46"/>
                  <a:pt x="64" y="45"/>
                </a:cubicBezTo>
                <a:cubicBezTo>
                  <a:pt x="64" y="45"/>
                  <a:pt x="64" y="45"/>
                  <a:pt x="64" y="45"/>
                </a:cubicBezTo>
                <a:cubicBezTo>
                  <a:pt x="63" y="46"/>
                  <a:pt x="61" y="46"/>
                  <a:pt x="60" y="48"/>
                </a:cubicBezTo>
                <a:cubicBezTo>
                  <a:pt x="60" y="48"/>
                  <a:pt x="60" y="48"/>
                  <a:pt x="60" y="48"/>
                </a:cubicBezTo>
                <a:cubicBezTo>
                  <a:pt x="60" y="48"/>
                  <a:pt x="60" y="48"/>
                  <a:pt x="60" y="48"/>
                </a:cubicBezTo>
                <a:cubicBezTo>
                  <a:pt x="60" y="48"/>
                  <a:pt x="60" y="49"/>
                  <a:pt x="60" y="49"/>
                </a:cubicBezTo>
                <a:cubicBezTo>
                  <a:pt x="60" y="49"/>
                  <a:pt x="60" y="49"/>
                  <a:pt x="60" y="50"/>
                </a:cubicBezTo>
                <a:cubicBezTo>
                  <a:pt x="60" y="50"/>
                  <a:pt x="60" y="50"/>
                  <a:pt x="60" y="51"/>
                </a:cubicBezTo>
                <a:cubicBezTo>
                  <a:pt x="60" y="51"/>
                  <a:pt x="60" y="51"/>
                  <a:pt x="61" y="51"/>
                </a:cubicBezTo>
                <a:cubicBezTo>
                  <a:pt x="61" y="52"/>
                  <a:pt x="61" y="53"/>
                  <a:pt x="61" y="53"/>
                </a:cubicBezTo>
                <a:cubicBezTo>
                  <a:pt x="60" y="54"/>
                  <a:pt x="60" y="54"/>
                  <a:pt x="60" y="54"/>
                </a:cubicBezTo>
                <a:cubicBezTo>
                  <a:pt x="61" y="54"/>
                  <a:pt x="61" y="54"/>
                  <a:pt x="61" y="55"/>
                </a:cubicBezTo>
                <a:cubicBezTo>
                  <a:pt x="61" y="55"/>
                  <a:pt x="61" y="55"/>
                  <a:pt x="60" y="55"/>
                </a:cubicBezTo>
                <a:cubicBezTo>
                  <a:pt x="60" y="55"/>
                  <a:pt x="61" y="56"/>
                  <a:pt x="60" y="56"/>
                </a:cubicBezTo>
                <a:cubicBezTo>
                  <a:pt x="60" y="55"/>
                  <a:pt x="59" y="55"/>
                  <a:pt x="58" y="55"/>
                </a:cubicBezTo>
                <a:cubicBezTo>
                  <a:pt x="58" y="55"/>
                  <a:pt x="57" y="56"/>
                  <a:pt x="57" y="56"/>
                </a:cubicBezTo>
                <a:cubicBezTo>
                  <a:pt x="57" y="55"/>
                  <a:pt x="56" y="56"/>
                  <a:pt x="56" y="56"/>
                </a:cubicBezTo>
                <a:cubicBezTo>
                  <a:pt x="56" y="56"/>
                  <a:pt x="55" y="55"/>
                  <a:pt x="55" y="56"/>
                </a:cubicBezTo>
                <a:cubicBezTo>
                  <a:pt x="55" y="56"/>
                  <a:pt x="55" y="56"/>
                  <a:pt x="55" y="56"/>
                </a:cubicBezTo>
                <a:cubicBezTo>
                  <a:pt x="54" y="56"/>
                  <a:pt x="54" y="57"/>
                  <a:pt x="53" y="57"/>
                </a:cubicBezTo>
                <a:cubicBezTo>
                  <a:pt x="53" y="57"/>
                  <a:pt x="54" y="56"/>
                  <a:pt x="53" y="56"/>
                </a:cubicBezTo>
                <a:cubicBezTo>
                  <a:pt x="53" y="58"/>
                  <a:pt x="52" y="60"/>
                  <a:pt x="51" y="60"/>
                </a:cubicBezTo>
                <a:cubicBezTo>
                  <a:pt x="51" y="60"/>
                  <a:pt x="51" y="60"/>
                  <a:pt x="51" y="61"/>
                </a:cubicBezTo>
                <a:cubicBezTo>
                  <a:pt x="51" y="60"/>
                  <a:pt x="51" y="60"/>
                  <a:pt x="50" y="60"/>
                </a:cubicBezTo>
                <a:cubicBezTo>
                  <a:pt x="50" y="62"/>
                  <a:pt x="48" y="62"/>
                  <a:pt x="46" y="62"/>
                </a:cubicBezTo>
                <a:cubicBezTo>
                  <a:pt x="47" y="64"/>
                  <a:pt x="45" y="65"/>
                  <a:pt x="43" y="65"/>
                </a:cubicBezTo>
                <a:cubicBezTo>
                  <a:pt x="43" y="66"/>
                  <a:pt x="43" y="66"/>
                  <a:pt x="43" y="66"/>
                </a:cubicBezTo>
                <a:cubicBezTo>
                  <a:pt x="42" y="66"/>
                  <a:pt x="42" y="66"/>
                  <a:pt x="41" y="66"/>
                </a:cubicBezTo>
                <a:cubicBezTo>
                  <a:pt x="40" y="66"/>
                  <a:pt x="41" y="66"/>
                  <a:pt x="40" y="65"/>
                </a:cubicBezTo>
                <a:cubicBezTo>
                  <a:pt x="40" y="66"/>
                  <a:pt x="39" y="65"/>
                  <a:pt x="39" y="65"/>
                </a:cubicBezTo>
                <a:cubicBezTo>
                  <a:pt x="39" y="66"/>
                  <a:pt x="40" y="67"/>
                  <a:pt x="40" y="68"/>
                </a:cubicBezTo>
                <a:cubicBezTo>
                  <a:pt x="39" y="68"/>
                  <a:pt x="38" y="68"/>
                  <a:pt x="37" y="68"/>
                </a:cubicBezTo>
                <a:cubicBezTo>
                  <a:pt x="37" y="68"/>
                  <a:pt x="37" y="67"/>
                  <a:pt x="36" y="67"/>
                </a:cubicBezTo>
                <a:cubicBezTo>
                  <a:pt x="35" y="68"/>
                  <a:pt x="34" y="67"/>
                  <a:pt x="33" y="68"/>
                </a:cubicBezTo>
                <a:cubicBezTo>
                  <a:pt x="33" y="69"/>
                  <a:pt x="34" y="69"/>
                  <a:pt x="34" y="69"/>
                </a:cubicBezTo>
                <a:cubicBezTo>
                  <a:pt x="34" y="70"/>
                  <a:pt x="33" y="69"/>
                  <a:pt x="33" y="69"/>
                </a:cubicBezTo>
                <a:cubicBezTo>
                  <a:pt x="34" y="69"/>
                  <a:pt x="34" y="70"/>
                  <a:pt x="34" y="70"/>
                </a:cubicBezTo>
                <a:cubicBezTo>
                  <a:pt x="35" y="70"/>
                  <a:pt x="36" y="70"/>
                  <a:pt x="36" y="71"/>
                </a:cubicBezTo>
                <a:cubicBezTo>
                  <a:pt x="37" y="70"/>
                  <a:pt x="37" y="71"/>
                  <a:pt x="38" y="71"/>
                </a:cubicBezTo>
                <a:cubicBezTo>
                  <a:pt x="37" y="72"/>
                  <a:pt x="38" y="71"/>
                  <a:pt x="38" y="72"/>
                </a:cubicBezTo>
                <a:cubicBezTo>
                  <a:pt x="38" y="72"/>
                  <a:pt x="39" y="72"/>
                  <a:pt x="38" y="73"/>
                </a:cubicBezTo>
                <a:cubicBezTo>
                  <a:pt x="39" y="74"/>
                  <a:pt x="41" y="74"/>
                  <a:pt x="40" y="76"/>
                </a:cubicBezTo>
                <a:cubicBezTo>
                  <a:pt x="40" y="76"/>
                  <a:pt x="41" y="76"/>
                  <a:pt x="41" y="76"/>
                </a:cubicBezTo>
                <a:cubicBezTo>
                  <a:pt x="41" y="76"/>
                  <a:pt x="40" y="75"/>
                  <a:pt x="40" y="76"/>
                </a:cubicBezTo>
                <a:cubicBezTo>
                  <a:pt x="40" y="77"/>
                  <a:pt x="40" y="78"/>
                  <a:pt x="40" y="78"/>
                </a:cubicBezTo>
                <a:cubicBezTo>
                  <a:pt x="40" y="80"/>
                  <a:pt x="39" y="83"/>
                  <a:pt x="36" y="81"/>
                </a:cubicBezTo>
                <a:cubicBezTo>
                  <a:pt x="32" y="82"/>
                  <a:pt x="25" y="79"/>
                  <a:pt x="23" y="83"/>
                </a:cubicBezTo>
                <a:cubicBezTo>
                  <a:pt x="23" y="83"/>
                  <a:pt x="23" y="83"/>
                  <a:pt x="23" y="84"/>
                </a:cubicBezTo>
                <a:cubicBezTo>
                  <a:pt x="23" y="84"/>
                  <a:pt x="23" y="83"/>
                  <a:pt x="24" y="84"/>
                </a:cubicBezTo>
                <a:cubicBezTo>
                  <a:pt x="24" y="86"/>
                  <a:pt x="23" y="91"/>
                  <a:pt x="21" y="94"/>
                </a:cubicBezTo>
                <a:cubicBezTo>
                  <a:pt x="22" y="94"/>
                  <a:pt x="22" y="94"/>
                  <a:pt x="22" y="94"/>
                </a:cubicBezTo>
                <a:cubicBezTo>
                  <a:pt x="22" y="95"/>
                  <a:pt x="22" y="94"/>
                  <a:pt x="23" y="94"/>
                </a:cubicBezTo>
                <a:cubicBezTo>
                  <a:pt x="23" y="95"/>
                  <a:pt x="22" y="97"/>
                  <a:pt x="22" y="98"/>
                </a:cubicBezTo>
                <a:cubicBezTo>
                  <a:pt x="23" y="98"/>
                  <a:pt x="24" y="98"/>
                  <a:pt x="25" y="98"/>
                </a:cubicBezTo>
                <a:cubicBezTo>
                  <a:pt x="28" y="96"/>
                  <a:pt x="27" y="100"/>
                  <a:pt x="30" y="101"/>
                </a:cubicBezTo>
                <a:cubicBezTo>
                  <a:pt x="30" y="99"/>
                  <a:pt x="35" y="99"/>
                  <a:pt x="37" y="99"/>
                </a:cubicBezTo>
                <a:cubicBezTo>
                  <a:pt x="38" y="98"/>
                  <a:pt x="39" y="96"/>
                  <a:pt x="40" y="97"/>
                </a:cubicBezTo>
                <a:cubicBezTo>
                  <a:pt x="39" y="96"/>
                  <a:pt x="41" y="94"/>
                  <a:pt x="42" y="93"/>
                </a:cubicBezTo>
                <a:cubicBezTo>
                  <a:pt x="40" y="92"/>
                  <a:pt x="43" y="89"/>
                  <a:pt x="44" y="88"/>
                </a:cubicBezTo>
                <a:cubicBezTo>
                  <a:pt x="43" y="88"/>
                  <a:pt x="43" y="88"/>
                  <a:pt x="43" y="88"/>
                </a:cubicBezTo>
                <a:cubicBezTo>
                  <a:pt x="45" y="87"/>
                  <a:pt x="47" y="87"/>
                  <a:pt x="49" y="85"/>
                </a:cubicBezTo>
                <a:cubicBezTo>
                  <a:pt x="49" y="85"/>
                  <a:pt x="49" y="85"/>
                  <a:pt x="49" y="84"/>
                </a:cubicBezTo>
                <a:cubicBezTo>
                  <a:pt x="48" y="83"/>
                  <a:pt x="49" y="81"/>
                  <a:pt x="51" y="81"/>
                </a:cubicBezTo>
                <a:cubicBezTo>
                  <a:pt x="54" y="83"/>
                  <a:pt x="58" y="81"/>
                  <a:pt x="61" y="79"/>
                </a:cubicBezTo>
                <a:cubicBezTo>
                  <a:pt x="62" y="79"/>
                  <a:pt x="63" y="80"/>
                  <a:pt x="64" y="80"/>
                </a:cubicBezTo>
                <a:cubicBezTo>
                  <a:pt x="64" y="81"/>
                  <a:pt x="65" y="81"/>
                  <a:pt x="64" y="83"/>
                </a:cubicBezTo>
                <a:cubicBezTo>
                  <a:pt x="65" y="83"/>
                  <a:pt x="66" y="83"/>
                  <a:pt x="66" y="84"/>
                </a:cubicBezTo>
                <a:cubicBezTo>
                  <a:pt x="68" y="84"/>
                  <a:pt x="68" y="86"/>
                  <a:pt x="70" y="87"/>
                </a:cubicBezTo>
                <a:cubicBezTo>
                  <a:pt x="70" y="87"/>
                  <a:pt x="71" y="87"/>
                  <a:pt x="71" y="87"/>
                </a:cubicBezTo>
                <a:cubicBezTo>
                  <a:pt x="72" y="88"/>
                  <a:pt x="72" y="88"/>
                  <a:pt x="72" y="88"/>
                </a:cubicBezTo>
                <a:cubicBezTo>
                  <a:pt x="73" y="88"/>
                  <a:pt x="73" y="88"/>
                  <a:pt x="73" y="88"/>
                </a:cubicBezTo>
                <a:cubicBezTo>
                  <a:pt x="73" y="89"/>
                  <a:pt x="72" y="89"/>
                  <a:pt x="73" y="89"/>
                </a:cubicBezTo>
                <a:cubicBezTo>
                  <a:pt x="74" y="89"/>
                  <a:pt x="74" y="89"/>
                  <a:pt x="74" y="89"/>
                </a:cubicBezTo>
                <a:cubicBezTo>
                  <a:pt x="74" y="89"/>
                  <a:pt x="74" y="89"/>
                  <a:pt x="74" y="90"/>
                </a:cubicBezTo>
                <a:cubicBezTo>
                  <a:pt x="75" y="90"/>
                  <a:pt x="75" y="91"/>
                  <a:pt x="75" y="90"/>
                </a:cubicBezTo>
                <a:cubicBezTo>
                  <a:pt x="76" y="91"/>
                  <a:pt x="77" y="93"/>
                  <a:pt x="77" y="93"/>
                </a:cubicBezTo>
                <a:cubicBezTo>
                  <a:pt x="76" y="94"/>
                  <a:pt x="76" y="94"/>
                  <a:pt x="76" y="94"/>
                </a:cubicBezTo>
                <a:cubicBezTo>
                  <a:pt x="76" y="94"/>
                  <a:pt x="76" y="95"/>
                  <a:pt x="76" y="95"/>
                </a:cubicBezTo>
                <a:cubicBezTo>
                  <a:pt x="74" y="95"/>
                  <a:pt x="72" y="96"/>
                  <a:pt x="70" y="95"/>
                </a:cubicBezTo>
                <a:cubicBezTo>
                  <a:pt x="70" y="95"/>
                  <a:pt x="70" y="95"/>
                  <a:pt x="70" y="95"/>
                </a:cubicBezTo>
                <a:cubicBezTo>
                  <a:pt x="69" y="95"/>
                  <a:pt x="69" y="95"/>
                  <a:pt x="69" y="95"/>
                </a:cubicBezTo>
                <a:cubicBezTo>
                  <a:pt x="69" y="95"/>
                  <a:pt x="68" y="96"/>
                  <a:pt x="69" y="96"/>
                </a:cubicBezTo>
                <a:cubicBezTo>
                  <a:pt x="71" y="97"/>
                  <a:pt x="72" y="99"/>
                  <a:pt x="75" y="99"/>
                </a:cubicBezTo>
                <a:cubicBezTo>
                  <a:pt x="74" y="99"/>
                  <a:pt x="75" y="98"/>
                  <a:pt x="75" y="98"/>
                </a:cubicBezTo>
                <a:cubicBezTo>
                  <a:pt x="74" y="97"/>
                  <a:pt x="75" y="96"/>
                  <a:pt x="75" y="95"/>
                </a:cubicBezTo>
                <a:cubicBezTo>
                  <a:pt x="76" y="96"/>
                  <a:pt x="76" y="96"/>
                  <a:pt x="76" y="96"/>
                </a:cubicBezTo>
                <a:cubicBezTo>
                  <a:pt x="77" y="96"/>
                  <a:pt x="77" y="96"/>
                  <a:pt x="77" y="96"/>
                </a:cubicBezTo>
                <a:cubicBezTo>
                  <a:pt x="77" y="95"/>
                  <a:pt x="77" y="95"/>
                  <a:pt x="78" y="94"/>
                </a:cubicBezTo>
                <a:cubicBezTo>
                  <a:pt x="78" y="94"/>
                  <a:pt x="77" y="94"/>
                  <a:pt x="77" y="93"/>
                </a:cubicBezTo>
                <a:cubicBezTo>
                  <a:pt x="78" y="93"/>
                  <a:pt x="78" y="93"/>
                  <a:pt x="79" y="93"/>
                </a:cubicBezTo>
                <a:cubicBezTo>
                  <a:pt x="79" y="93"/>
                  <a:pt x="79" y="92"/>
                  <a:pt x="79" y="92"/>
                </a:cubicBezTo>
                <a:cubicBezTo>
                  <a:pt x="78" y="91"/>
                  <a:pt x="78" y="91"/>
                  <a:pt x="77" y="91"/>
                </a:cubicBezTo>
                <a:cubicBezTo>
                  <a:pt x="78" y="90"/>
                  <a:pt x="78" y="89"/>
                  <a:pt x="78" y="89"/>
                </a:cubicBezTo>
                <a:cubicBezTo>
                  <a:pt x="79" y="89"/>
                  <a:pt x="79" y="90"/>
                  <a:pt x="80" y="90"/>
                </a:cubicBezTo>
                <a:cubicBezTo>
                  <a:pt x="80" y="90"/>
                  <a:pt x="81" y="91"/>
                  <a:pt x="81" y="91"/>
                </a:cubicBezTo>
                <a:cubicBezTo>
                  <a:pt x="81" y="90"/>
                  <a:pt x="82" y="90"/>
                  <a:pt x="82" y="90"/>
                </a:cubicBezTo>
                <a:cubicBezTo>
                  <a:pt x="80" y="88"/>
                  <a:pt x="78" y="88"/>
                  <a:pt x="76" y="86"/>
                </a:cubicBezTo>
                <a:cubicBezTo>
                  <a:pt x="76" y="86"/>
                  <a:pt x="77" y="86"/>
                  <a:pt x="76" y="85"/>
                </a:cubicBezTo>
                <a:cubicBezTo>
                  <a:pt x="73" y="86"/>
                  <a:pt x="72" y="84"/>
                  <a:pt x="71" y="81"/>
                </a:cubicBezTo>
                <a:cubicBezTo>
                  <a:pt x="70" y="80"/>
                  <a:pt x="68" y="80"/>
                  <a:pt x="68" y="78"/>
                </a:cubicBezTo>
                <a:cubicBezTo>
                  <a:pt x="69" y="77"/>
                  <a:pt x="69" y="77"/>
                  <a:pt x="69" y="77"/>
                </a:cubicBezTo>
                <a:cubicBezTo>
                  <a:pt x="68" y="77"/>
                  <a:pt x="68" y="77"/>
                  <a:pt x="68" y="76"/>
                </a:cubicBezTo>
                <a:cubicBezTo>
                  <a:pt x="68" y="76"/>
                  <a:pt x="68" y="76"/>
                  <a:pt x="68" y="76"/>
                </a:cubicBezTo>
                <a:cubicBezTo>
                  <a:pt x="69" y="76"/>
                  <a:pt x="69" y="76"/>
                  <a:pt x="70" y="75"/>
                </a:cubicBezTo>
                <a:cubicBezTo>
                  <a:pt x="70" y="76"/>
                  <a:pt x="71" y="75"/>
                  <a:pt x="71" y="76"/>
                </a:cubicBezTo>
                <a:cubicBezTo>
                  <a:pt x="71" y="76"/>
                  <a:pt x="70" y="76"/>
                  <a:pt x="71" y="76"/>
                </a:cubicBezTo>
                <a:cubicBezTo>
                  <a:pt x="71" y="77"/>
                  <a:pt x="71" y="78"/>
                  <a:pt x="72" y="78"/>
                </a:cubicBezTo>
                <a:cubicBezTo>
                  <a:pt x="72" y="78"/>
                  <a:pt x="72" y="77"/>
                  <a:pt x="72" y="77"/>
                </a:cubicBezTo>
                <a:cubicBezTo>
                  <a:pt x="72" y="77"/>
                  <a:pt x="72" y="78"/>
                  <a:pt x="73" y="78"/>
                </a:cubicBezTo>
                <a:cubicBezTo>
                  <a:pt x="73" y="77"/>
                  <a:pt x="72" y="77"/>
                  <a:pt x="72" y="77"/>
                </a:cubicBezTo>
                <a:cubicBezTo>
                  <a:pt x="72" y="77"/>
                  <a:pt x="72" y="76"/>
                  <a:pt x="73" y="77"/>
                </a:cubicBezTo>
                <a:cubicBezTo>
                  <a:pt x="72" y="77"/>
                  <a:pt x="73" y="77"/>
                  <a:pt x="73" y="78"/>
                </a:cubicBezTo>
                <a:cubicBezTo>
                  <a:pt x="73" y="77"/>
                  <a:pt x="73" y="77"/>
                  <a:pt x="73" y="77"/>
                </a:cubicBezTo>
                <a:cubicBezTo>
                  <a:pt x="73" y="77"/>
                  <a:pt x="74" y="78"/>
                  <a:pt x="73" y="78"/>
                </a:cubicBezTo>
                <a:cubicBezTo>
                  <a:pt x="74" y="79"/>
                  <a:pt x="75" y="80"/>
                  <a:pt x="76" y="81"/>
                </a:cubicBezTo>
                <a:cubicBezTo>
                  <a:pt x="76" y="81"/>
                  <a:pt x="77" y="81"/>
                  <a:pt x="77" y="81"/>
                </a:cubicBezTo>
                <a:cubicBezTo>
                  <a:pt x="76" y="81"/>
                  <a:pt x="77" y="82"/>
                  <a:pt x="77" y="82"/>
                </a:cubicBezTo>
                <a:cubicBezTo>
                  <a:pt x="78" y="82"/>
                  <a:pt x="79" y="82"/>
                  <a:pt x="79" y="83"/>
                </a:cubicBezTo>
                <a:cubicBezTo>
                  <a:pt x="79" y="82"/>
                  <a:pt x="78" y="82"/>
                  <a:pt x="77" y="83"/>
                </a:cubicBezTo>
                <a:cubicBezTo>
                  <a:pt x="78" y="83"/>
                  <a:pt x="79" y="82"/>
                  <a:pt x="79" y="83"/>
                </a:cubicBezTo>
                <a:cubicBezTo>
                  <a:pt x="79" y="83"/>
                  <a:pt x="80" y="83"/>
                  <a:pt x="79" y="83"/>
                </a:cubicBezTo>
                <a:cubicBezTo>
                  <a:pt x="81" y="83"/>
                  <a:pt x="82" y="85"/>
                  <a:pt x="84" y="86"/>
                </a:cubicBezTo>
                <a:cubicBezTo>
                  <a:pt x="83" y="87"/>
                  <a:pt x="84" y="89"/>
                  <a:pt x="83" y="89"/>
                </a:cubicBezTo>
                <a:cubicBezTo>
                  <a:pt x="83" y="90"/>
                  <a:pt x="84" y="90"/>
                  <a:pt x="85" y="91"/>
                </a:cubicBezTo>
                <a:cubicBezTo>
                  <a:pt x="84" y="91"/>
                  <a:pt x="84" y="91"/>
                  <a:pt x="84" y="91"/>
                </a:cubicBezTo>
                <a:cubicBezTo>
                  <a:pt x="84" y="91"/>
                  <a:pt x="84" y="92"/>
                  <a:pt x="85" y="92"/>
                </a:cubicBezTo>
                <a:cubicBezTo>
                  <a:pt x="85" y="92"/>
                  <a:pt x="84" y="92"/>
                  <a:pt x="84" y="91"/>
                </a:cubicBezTo>
                <a:cubicBezTo>
                  <a:pt x="85" y="92"/>
                  <a:pt x="86" y="92"/>
                  <a:pt x="86" y="93"/>
                </a:cubicBezTo>
                <a:cubicBezTo>
                  <a:pt x="86" y="93"/>
                  <a:pt x="86" y="94"/>
                  <a:pt x="86" y="94"/>
                </a:cubicBezTo>
                <a:cubicBezTo>
                  <a:pt x="87" y="94"/>
                  <a:pt x="86" y="94"/>
                  <a:pt x="87" y="94"/>
                </a:cubicBezTo>
                <a:cubicBezTo>
                  <a:pt x="87" y="94"/>
                  <a:pt x="87" y="94"/>
                  <a:pt x="87" y="95"/>
                </a:cubicBezTo>
                <a:cubicBezTo>
                  <a:pt x="88" y="94"/>
                  <a:pt x="88" y="95"/>
                  <a:pt x="89" y="95"/>
                </a:cubicBezTo>
                <a:cubicBezTo>
                  <a:pt x="88" y="95"/>
                  <a:pt x="87" y="95"/>
                  <a:pt x="87" y="96"/>
                </a:cubicBezTo>
                <a:cubicBezTo>
                  <a:pt x="88" y="96"/>
                  <a:pt x="88" y="97"/>
                  <a:pt x="89" y="97"/>
                </a:cubicBezTo>
                <a:cubicBezTo>
                  <a:pt x="88" y="98"/>
                  <a:pt x="89" y="99"/>
                  <a:pt x="89" y="99"/>
                </a:cubicBezTo>
                <a:cubicBezTo>
                  <a:pt x="90" y="99"/>
                  <a:pt x="89" y="98"/>
                  <a:pt x="89" y="98"/>
                </a:cubicBezTo>
                <a:cubicBezTo>
                  <a:pt x="90" y="98"/>
                  <a:pt x="90" y="99"/>
                  <a:pt x="91" y="100"/>
                </a:cubicBezTo>
                <a:cubicBezTo>
                  <a:pt x="91" y="99"/>
                  <a:pt x="90" y="99"/>
                  <a:pt x="91" y="99"/>
                </a:cubicBezTo>
                <a:cubicBezTo>
                  <a:pt x="91" y="99"/>
                  <a:pt x="92" y="100"/>
                  <a:pt x="92" y="100"/>
                </a:cubicBezTo>
                <a:cubicBezTo>
                  <a:pt x="92" y="99"/>
                  <a:pt x="92" y="98"/>
                  <a:pt x="91" y="97"/>
                </a:cubicBezTo>
                <a:cubicBezTo>
                  <a:pt x="91" y="97"/>
                  <a:pt x="92" y="97"/>
                  <a:pt x="92" y="98"/>
                </a:cubicBezTo>
                <a:cubicBezTo>
                  <a:pt x="92" y="97"/>
                  <a:pt x="93" y="97"/>
                  <a:pt x="93" y="97"/>
                </a:cubicBezTo>
                <a:cubicBezTo>
                  <a:pt x="92" y="97"/>
                  <a:pt x="92" y="97"/>
                  <a:pt x="92" y="96"/>
                </a:cubicBezTo>
                <a:cubicBezTo>
                  <a:pt x="92" y="96"/>
                  <a:pt x="92" y="96"/>
                  <a:pt x="92" y="96"/>
                </a:cubicBezTo>
                <a:cubicBezTo>
                  <a:pt x="92" y="96"/>
                  <a:pt x="92" y="96"/>
                  <a:pt x="92" y="96"/>
                </a:cubicBezTo>
                <a:cubicBezTo>
                  <a:pt x="92" y="96"/>
                  <a:pt x="93" y="96"/>
                  <a:pt x="94" y="96"/>
                </a:cubicBezTo>
                <a:cubicBezTo>
                  <a:pt x="94" y="96"/>
                  <a:pt x="93" y="95"/>
                  <a:pt x="94" y="95"/>
                </a:cubicBezTo>
                <a:cubicBezTo>
                  <a:pt x="93" y="95"/>
                  <a:pt x="93" y="95"/>
                  <a:pt x="93" y="95"/>
                </a:cubicBezTo>
                <a:cubicBezTo>
                  <a:pt x="94" y="95"/>
                  <a:pt x="94" y="96"/>
                  <a:pt x="95" y="96"/>
                </a:cubicBezTo>
                <a:cubicBezTo>
                  <a:pt x="95" y="95"/>
                  <a:pt x="94" y="95"/>
                  <a:pt x="94" y="94"/>
                </a:cubicBezTo>
                <a:cubicBezTo>
                  <a:pt x="92" y="94"/>
                  <a:pt x="92" y="92"/>
                  <a:pt x="91" y="93"/>
                </a:cubicBezTo>
                <a:cubicBezTo>
                  <a:pt x="91" y="93"/>
                  <a:pt x="91" y="92"/>
                  <a:pt x="91" y="92"/>
                </a:cubicBezTo>
                <a:cubicBezTo>
                  <a:pt x="91" y="92"/>
                  <a:pt x="92" y="92"/>
                  <a:pt x="92" y="93"/>
                </a:cubicBezTo>
                <a:cubicBezTo>
                  <a:pt x="93" y="92"/>
                  <a:pt x="89" y="90"/>
                  <a:pt x="91" y="89"/>
                </a:cubicBezTo>
                <a:cubicBezTo>
                  <a:pt x="90" y="90"/>
                  <a:pt x="92" y="89"/>
                  <a:pt x="92" y="90"/>
                </a:cubicBezTo>
                <a:cubicBezTo>
                  <a:pt x="92" y="90"/>
                  <a:pt x="92" y="91"/>
                  <a:pt x="93" y="91"/>
                </a:cubicBezTo>
                <a:cubicBezTo>
                  <a:pt x="93" y="90"/>
                  <a:pt x="92" y="90"/>
                  <a:pt x="92" y="90"/>
                </a:cubicBezTo>
                <a:cubicBezTo>
                  <a:pt x="93" y="90"/>
                  <a:pt x="93" y="90"/>
                  <a:pt x="93" y="90"/>
                </a:cubicBezTo>
                <a:cubicBezTo>
                  <a:pt x="94" y="90"/>
                  <a:pt x="93" y="90"/>
                  <a:pt x="93" y="89"/>
                </a:cubicBezTo>
                <a:cubicBezTo>
                  <a:pt x="93" y="89"/>
                  <a:pt x="94" y="90"/>
                  <a:pt x="94" y="90"/>
                </a:cubicBezTo>
                <a:cubicBezTo>
                  <a:pt x="94" y="89"/>
                  <a:pt x="93" y="89"/>
                  <a:pt x="93" y="89"/>
                </a:cubicBezTo>
                <a:cubicBezTo>
                  <a:pt x="93" y="89"/>
                  <a:pt x="92" y="89"/>
                  <a:pt x="93" y="88"/>
                </a:cubicBezTo>
                <a:cubicBezTo>
                  <a:pt x="95" y="88"/>
                  <a:pt x="95" y="88"/>
                  <a:pt x="97" y="88"/>
                </a:cubicBezTo>
                <a:cubicBezTo>
                  <a:pt x="98" y="89"/>
                  <a:pt x="98" y="89"/>
                  <a:pt x="98" y="89"/>
                </a:cubicBezTo>
                <a:cubicBezTo>
                  <a:pt x="98" y="89"/>
                  <a:pt x="99" y="89"/>
                  <a:pt x="99" y="89"/>
                </a:cubicBezTo>
                <a:cubicBezTo>
                  <a:pt x="99" y="89"/>
                  <a:pt x="98" y="89"/>
                  <a:pt x="98" y="89"/>
                </a:cubicBezTo>
                <a:cubicBezTo>
                  <a:pt x="98" y="90"/>
                  <a:pt x="98" y="90"/>
                  <a:pt x="98" y="90"/>
                </a:cubicBezTo>
                <a:cubicBezTo>
                  <a:pt x="98" y="90"/>
                  <a:pt x="98" y="90"/>
                  <a:pt x="98" y="90"/>
                </a:cubicBezTo>
                <a:cubicBezTo>
                  <a:pt x="97" y="90"/>
                  <a:pt x="98" y="91"/>
                  <a:pt x="98" y="92"/>
                </a:cubicBezTo>
                <a:cubicBezTo>
                  <a:pt x="99" y="92"/>
                  <a:pt x="99" y="91"/>
                  <a:pt x="100" y="92"/>
                </a:cubicBezTo>
                <a:cubicBezTo>
                  <a:pt x="99" y="92"/>
                  <a:pt x="99" y="92"/>
                  <a:pt x="99" y="92"/>
                </a:cubicBezTo>
                <a:cubicBezTo>
                  <a:pt x="100" y="92"/>
                  <a:pt x="99" y="93"/>
                  <a:pt x="100" y="93"/>
                </a:cubicBezTo>
                <a:cubicBezTo>
                  <a:pt x="100" y="93"/>
                  <a:pt x="100" y="94"/>
                  <a:pt x="99" y="94"/>
                </a:cubicBezTo>
                <a:cubicBezTo>
                  <a:pt x="99" y="94"/>
                  <a:pt x="100" y="94"/>
                  <a:pt x="100" y="95"/>
                </a:cubicBezTo>
                <a:cubicBezTo>
                  <a:pt x="99" y="95"/>
                  <a:pt x="99" y="94"/>
                  <a:pt x="99" y="94"/>
                </a:cubicBezTo>
                <a:cubicBezTo>
                  <a:pt x="98" y="94"/>
                  <a:pt x="99" y="95"/>
                  <a:pt x="98" y="95"/>
                </a:cubicBezTo>
                <a:cubicBezTo>
                  <a:pt x="99" y="95"/>
                  <a:pt x="99" y="95"/>
                  <a:pt x="100" y="95"/>
                </a:cubicBezTo>
                <a:cubicBezTo>
                  <a:pt x="99" y="96"/>
                  <a:pt x="100" y="95"/>
                  <a:pt x="101" y="96"/>
                </a:cubicBezTo>
                <a:cubicBezTo>
                  <a:pt x="101" y="96"/>
                  <a:pt x="100" y="96"/>
                  <a:pt x="100" y="96"/>
                </a:cubicBezTo>
                <a:cubicBezTo>
                  <a:pt x="101" y="97"/>
                  <a:pt x="100" y="97"/>
                  <a:pt x="101" y="97"/>
                </a:cubicBezTo>
                <a:cubicBezTo>
                  <a:pt x="101" y="97"/>
                  <a:pt x="101" y="97"/>
                  <a:pt x="101" y="98"/>
                </a:cubicBezTo>
                <a:cubicBezTo>
                  <a:pt x="101" y="98"/>
                  <a:pt x="101" y="97"/>
                  <a:pt x="101" y="98"/>
                </a:cubicBezTo>
                <a:cubicBezTo>
                  <a:pt x="103" y="98"/>
                  <a:pt x="103" y="98"/>
                  <a:pt x="103" y="98"/>
                </a:cubicBezTo>
                <a:cubicBezTo>
                  <a:pt x="103" y="99"/>
                  <a:pt x="101" y="99"/>
                  <a:pt x="101" y="99"/>
                </a:cubicBezTo>
                <a:cubicBezTo>
                  <a:pt x="102" y="99"/>
                  <a:pt x="102" y="99"/>
                  <a:pt x="103" y="99"/>
                </a:cubicBezTo>
                <a:cubicBezTo>
                  <a:pt x="102" y="99"/>
                  <a:pt x="103" y="99"/>
                  <a:pt x="102" y="99"/>
                </a:cubicBezTo>
                <a:cubicBezTo>
                  <a:pt x="103" y="99"/>
                  <a:pt x="103" y="99"/>
                  <a:pt x="103" y="99"/>
                </a:cubicBezTo>
                <a:cubicBezTo>
                  <a:pt x="104" y="99"/>
                  <a:pt x="104" y="99"/>
                  <a:pt x="105" y="99"/>
                </a:cubicBezTo>
                <a:cubicBezTo>
                  <a:pt x="104" y="99"/>
                  <a:pt x="105" y="99"/>
                  <a:pt x="105" y="100"/>
                </a:cubicBezTo>
                <a:cubicBezTo>
                  <a:pt x="105" y="100"/>
                  <a:pt x="106" y="100"/>
                  <a:pt x="106" y="101"/>
                </a:cubicBezTo>
                <a:cubicBezTo>
                  <a:pt x="107" y="100"/>
                  <a:pt x="107" y="100"/>
                  <a:pt x="108" y="100"/>
                </a:cubicBezTo>
                <a:cubicBezTo>
                  <a:pt x="108" y="100"/>
                  <a:pt x="108" y="99"/>
                  <a:pt x="108" y="99"/>
                </a:cubicBezTo>
                <a:cubicBezTo>
                  <a:pt x="111" y="99"/>
                  <a:pt x="113" y="102"/>
                  <a:pt x="116" y="100"/>
                </a:cubicBezTo>
                <a:cubicBezTo>
                  <a:pt x="116" y="100"/>
                  <a:pt x="116" y="99"/>
                  <a:pt x="117" y="99"/>
                </a:cubicBezTo>
                <a:cubicBezTo>
                  <a:pt x="118" y="99"/>
                  <a:pt x="118" y="99"/>
                  <a:pt x="119" y="99"/>
                </a:cubicBezTo>
                <a:cubicBezTo>
                  <a:pt x="119" y="99"/>
                  <a:pt x="119" y="98"/>
                  <a:pt x="120" y="99"/>
                </a:cubicBezTo>
                <a:cubicBezTo>
                  <a:pt x="120" y="99"/>
                  <a:pt x="120" y="99"/>
                  <a:pt x="120" y="99"/>
                </a:cubicBezTo>
                <a:cubicBezTo>
                  <a:pt x="120" y="100"/>
                  <a:pt x="119" y="99"/>
                  <a:pt x="119" y="100"/>
                </a:cubicBezTo>
                <a:cubicBezTo>
                  <a:pt x="120" y="101"/>
                  <a:pt x="120" y="103"/>
                  <a:pt x="120" y="105"/>
                </a:cubicBezTo>
                <a:cubicBezTo>
                  <a:pt x="119" y="108"/>
                  <a:pt x="118" y="116"/>
                  <a:pt x="113" y="113"/>
                </a:cubicBezTo>
                <a:cubicBezTo>
                  <a:pt x="112" y="114"/>
                  <a:pt x="112" y="114"/>
                  <a:pt x="112" y="114"/>
                </a:cubicBezTo>
                <a:cubicBezTo>
                  <a:pt x="113" y="113"/>
                  <a:pt x="112" y="113"/>
                  <a:pt x="112" y="113"/>
                </a:cubicBezTo>
                <a:cubicBezTo>
                  <a:pt x="112" y="113"/>
                  <a:pt x="112" y="113"/>
                  <a:pt x="112" y="112"/>
                </a:cubicBezTo>
                <a:cubicBezTo>
                  <a:pt x="111" y="113"/>
                  <a:pt x="111" y="112"/>
                  <a:pt x="110" y="112"/>
                </a:cubicBezTo>
                <a:cubicBezTo>
                  <a:pt x="110" y="112"/>
                  <a:pt x="110" y="113"/>
                  <a:pt x="110" y="113"/>
                </a:cubicBezTo>
                <a:cubicBezTo>
                  <a:pt x="109" y="112"/>
                  <a:pt x="109" y="112"/>
                  <a:pt x="109" y="112"/>
                </a:cubicBezTo>
                <a:cubicBezTo>
                  <a:pt x="108" y="113"/>
                  <a:pt x="107" y="114"/>
                  <a:pt x="106" y="114"/>
                </a:cubicBezTo>
                <a:cubicBezTo>
                  <a:pt x="103" y="114"/>
                  <a:pt x="101" y="112"/>
                  <a:pt x="97" y="113"/>
                </a:cubicBezTo>
                <a:cubicBezTo>
                  <a:pt x="97" y="112"/>
                  <a:pt x="97" y="112"/>
                  <a:pt x="97" y="111"/>
                </a:cubicBezTo>
                <a:cubicBezTo>
                  <a:pt x="95" y="111"/>
                  <a:pt x="93" y="111"/>
                  <a:pt x="92" y="110"/>
                </a:cubicBezTo>
                <a:cubicBezTo>
                  <a:pt x="89" y="108"/>
                  <a:pt x="84" y="110"/>
                  <a:pt x="86" y="114"/>
                </a:cubicBezTo>
                <a:cubicBezTo>
                  <a:pt x="85" y="115"/>
                  <a:pt x="85" y="116"/>
                  <a:pt x="83" y="116"/>
                </a:cubicBezTo>
                <a:cubicBezTo>
                  <a:pt x="81" y="113"/>
                  <a:pt x="75" y="114"/>
                  <a:pt x="75" y="110"/>
                </a:cubicBezTo>
                <a:cubicBezTo>
                  <a:pt x="73" y="110"/>
                  <a:pt x="72" y="109"/>
                  <a:pt x="70" y="109"/>
                </a:cubicBezTo>
                <a:cubicBezTo>
                  <a:pt x="69" y="110"/>
                  <a:pt x="68" y="108"/>
                  <a:pt x="66" y="108"/>
                </a:cubicBezTo>
                <a:cubicBezTo>
                  <a:pt x="66" y="107"/>
                  <a:pt x="66" y="107"/>
                  <a:pt x="65" y="106"/>
                </a:cubicBezTo>
                <a:cubicBezTo>
                  <a:pt x="65" y="106"/>
                  <a:pt x="65" y="107"/>
                  <a:pt x="64" y="107"/>
                </a:cubicBezTo>
                <a:cubicBezTo>
                  <a:pt x="64" y="107"/>
                  <a:pt x="63" y="106"/>
                  <a:pt x="63" y="106"/>
                </a:cubicBezTo>
                <a:cubicBezTo>
                  <a:pt x="64" y="105"/>
                  <a:pt x="66" y="104"/>
                  <a:pt x="66" y="102"/>
                </a:cubicBezTo>
                <a:cubicBezTo>
                  <a:pt x="65" y="101"/>
                  <a:pt x="64" y="101"/>
                  <a:pt x="64" y="100"/>
                </a:cubicBezTo>
                <a:cubicBezTo>
                  <a:pt x="65" y="100"/>
                  <a:pt x="65" y="99"/>
                  <a:pt x="66" y="99"/>
                </a:cubicBezTo>
                <a:cubicBezTo>
                  <a:pt x="66" y="98"/>
                  <a:pt x="66" y="98"/>
                  <a:pt x="65" y="98"/>
                </a:cubicBezTo>
                <a:cubicBezTo>
                  <a:pt x="65" y="98"/>
                  <a:pt x="65" y="99"/>
                  <a:pt x="64" y="99"/>
                </a:cubicBezTo>
                <a:cubicBezTo>
                  <a:pt x="64" y="98"/>
                  <a:pt x="63" y="98"/>
                  <a:pt x="64" y="98"/>
                </a:cubicBezTo>
                <a:cubicBezTo>
                  <a:pt x="62" y="96"/>
                  <a:pt x="61" y="99"/>
                  <a:pt x="58" y="99"/>
                </a:cubicBezTo>
                <a:cubicBezTo>
                  <a:pt x="58" y="98"/>
                  <a:pt x="58" y="98"/>
                  <a:pt x="57" y="98"/>
                </a:cubicBezTo>
                <a:cubicBezTo>
                  <a:pt x="57" y="99"/>
                  <a:pt x="56" y="98"/>
                  <a:pt x="56" y="98"/>
                </a:cubicBezTo>
                <a:cubicBezTo>
                  <a:pt x="55" y="99"/>
                  <a:pt x="54" y="99"/>
                  <a:pt x="53" y="99"/>
                </a:cubicBezTo>
                <a:cubicBezTo>
                  <a:pt x="49" y="98"/>
                  <a:pt x="44" y="99"/>
                  <a:pt x="41" y="101"/>
                </a:cubicBezTo>
                <a:cubicBezTo>
                  <a:pt x="39" y="101"/>
                  <a:pt x="37" y="105"/>
                  <a:pt x="35" y="102"/>
                </a:cubicBezTo>
                <a:cubicBezTo>
                  <a:pt x="33" y="103"/>
                  <a:pt x="30" y="103"/>
                  <a:pt x="30" y="101"/>
                </a:cubicBezTo>
                <a:cubicBezTo>
                  <a:pt x="29" y="101"/>
                  <a:pt x="29" y="101"/>
                  <a:pt x="29" y="101"/>
                </a:cubicBezTo>
                <a:cubicBezTo>
                  <a:pt x="27" y="108"/>
                  <a:pt x="19" y="107"/>
                  <a:pt x="19" y="115"/>
                </a:cubicBezTo>
                <a:cubicBezTo>
                  <a:pt x="20" y="118"/>
                  <a:pt x="16" y="121"/>
                  <a:pt x="12" y="122"/>
                </a:cubicBezTo>
                <a:cubicBezTo>
                  <a:pt x="11" y="124"/>
                  <a:pt x="10" y="126"/>
                  <a:pt x="8" y="126"/>
                </a:cubicBezTo>
                <a:cubicBezTo>
                  <a:pt x="7" y="129"/>
                  <a:pt x="6" y="131"/>
                  <a:pt x="5" y="133"/>
                </a:cubicBezTo>
                <a:cubicBezTo>
                  <a:pt x="5" y="133"/>
                  <a:pt x="5" y="133"/>
                  <a:pt x="5" y="133"/>
                </a:cubicBezTo>
                <a:cubicBezTo>
                  <a:pt x="4" y="136"/>
                  <a:pt x="1" y="137"/>
                  <a:pt x="2" y="141"/>
                </a:cubicBezTo>
                <a:cubicBezTo>
                  <a:pt x="2" y="141"/>
                  <a:pt x="2" y="140"/>
                  <a:pt x="2" y="140"/>
                </a:cubicBezTo>
                <a:cubicBezTo>
                  <a:pt x="2" y="141"/>
                  <a:pt x="2" y="141"/>
                  <a:pt x="2" y="141"/>
                </a:cubicBezTo>
                <a:cubicBezTo>
                  <a:pt x="3" y="141"/>
                  <a:pt x="3" y="141"/>
                  <a:pt x="3" y="141"/>
                </a:cubicBezTo>
                <a:cubicBezTo>
                  <a:pt x="3" y="142"/>
                  <a:pt x="3" y="143"/>
                  <a:pt x="3" y="144"/>
                </a:cubicBezTo>
                <a:cubicBezTo>
                  <a:pt x="3" y="143"/>
                  <a:pt x="3" y="143"/>
                  <a:pt x="3" y="143"/>
                </a:cubicBezTo>
                <a:cubicBezTo>
                  <a:pt x="4" y="147"/>
                  <a:pt x="3" y="154"/>
                  <a:pt x="0" y="157"/>
                </a:cubicBezTo>
                <a:cubicBezTo>
                  <a:pt x="0" y="157"/>
                  <a:pt x="0" y="157"/>
                  <a:pt x="1" y="157"/>
                </a:cubicBezTo>
                <a:cubicBezTo>
                  <a:pt x="1" y="158"/>
                  <a:pt x="2" y="159"/>
                  <a:pt x="2" y="160"/>
                </a:cubicBezTo>
                <a:cubicBezTo>
                  <a:pt x="2" y="160"/>
                  <a:pt x="2" y="160"/>
                  <a:pt x="1" y="160"/>
                </a:cubicBezTo>
                <a:cubicBezTo>
                  <a:pt x="2" y="162"/>
                  <a:pt x="1" y="162"/>
                  <a:pt x="1" y="163"/>
                </a:cubicBezTo>
                <a:cubicBezTo>
                  <a:pt x="2" y="163"/>
                  <a:pt x="3" y="164"/>
                  <a:pt x="3" y="165"/>
                </a:cubicBezTo>
                <a:cubicBezTo>
                  <a:pt x="4" y="165"/>
                  <a:pt x="4" y="164"/>
                  <a:pt x="5" y="164"/>
                </a:cubicBezTo>
                <a:cubicBezTo>
                  <a:pt x="4" y="165"/>
                  <a:pt x="4" y="165"/>
                  <a:pt x="4" y="165"/>
                </a:cubicBezTo>
                <a:cubicBezTo>
                  <a:pt x="5" y="165"/>
                  <a:pt x="5" y="165"/>
                  <a:pt x="5" y="165"/>
                </a:cubicBezTo>
                <a:cubicBezTo>
                  <a:pt x="5" y="165"/>
                  <a:pt x="4" y="165"/>
                  <a:pt x="4" y="166"/>
                </a:cubicBezTo>
                <a:cubicBezTo>
                  <a:pt x="5" y="166"/>
                  <a:pt x="5" y="167"/>
                  <a:pt x="5" y="167"/>
                </a:cubicBezTo>
                <a:cubicBezTo>
                  <a:pt x="6" y="167"/>
                  <a:pt x="5" y="166"/>
                  <a:pt x="6" y="167"/>
                </a:cubicBezTo>
                <a:cubicBezTo>
                  <a:pt x="6" y="169"/>
                  <a:pt x="9" y="170"/>
                  <a:pt x="10" y="172"/>
                </a:cubicBezTo>
                <a:cubicBezTo>
                  <a:pt x="9" y="172"/>
                  <a:pt x="9" y="173"/>
                  <a:pt x="9" y="173"/>
                </a:cubicBezTo>
                <a:cubicBezTo>
                  <a:pt x="10" y="173"/>
                  <a:pt x="10" y="173"/>
                  <a:pt x="10" y="173"/>
                </a:cubicBezTo>
                <a:cubicBezTo>
                  <a:pt x="10" y="173"/>
                  <a:pt x="9" y="173"/>
                  <a:pt x="9" y="173"/>
                </a:cubicBezTo>
                <a:cubicBezTo>
                  <a:pt x="10" y="174"/>
                  <a:pt x="10" y="175"/>
                  <a:pt x="11" y="175"/>
                </a:cubicBezTo>
                <a:cubicBezTo>
                  <a:pt x="11" y="175"/>
                  <a:pt x="10" y="175"/>
                  <a:pt x="10" y="176"/>
                </a:cubicBezTo>
                <a:cubicBezTo>
                  <a:pt x="15" y="177"/>
                  <a:pt x="17" y="183"/>
                  <a:pt x="23" y="184"/>
                </a:cubicBezTo>
                <a:cubicBezTo>
                  <a:pt x="26" y="182"/>
                  <a:pt x="32" y="181"/>
                  <a:pt x="35" y="183"/>
                </a:cubicBezTo>
                <a:cubicBezTo>
                  <a:pt x="38" y="182"/>
                  <a:pt x="39" y="181"/>
                  <a:pt x="42" y="180"/>
                </a:cubicBezTo>
                <a:cubicBezTo>
                  <a:pt x="44" y="178"/>
                  <a:pt x="52" y="178"/>
                  <a:pt x="53" y="181"/>
                </a:cubicBezTo>
                <a:cubicBezTo>
                  <a:pt x="52" y="184"/>
                  <a:pt x="55" y="185"/>
                  <a:pt x="57" y="183"/>
                </a:cubicBezTo>
                <a:cubicBezTo>
                  <a:pt x="57" y="184"/>
                  <a:pt x="58" y="184"/>
                  <a:pt x="59" y="184"/>
                </a:cubicBezTo>
                <a:cubicBezTo>
                  <a:pt x="60" y="183"/>
                  <a:pt x="60" y="183"/>
                  <a:pt x="60" y="183"/>
                </a:cubicBezTo>
                <a:cubicBezTo>
                  <a:pt x="60" y="183"/>
                  <a:pt x="60" y="183"/>
                  <a:pt x="60" y="184"/>
                </a:cubicBezTo>
                <a:cubicBezTo>
                  <a:pt x="60" y="184"/>
                  <a:pt x="60" y="184"/>
                  <a:pt x="61" y="184"/>
                </a:cubicBezTo>
                <a:cubicBezTo>
                  <a:pt x="61" y="184"/>
                  <a:pt x="61" y="184"/>
                  <a:pt x="61" y="185"/>
                </a:cubicBezTo>
                <a:cubicBezTo>
                  <a:pt x="61" y="185"/>
                  <a:pt x="62" y="185"/>
                  <a:pt x="62" y="185"/>
                </a:cubicBezTo>
                <a:cubicBezTo>
                  <a:pt x="62" y="186"/>
                  <a:pt x="62" y="185"/>
                  <a:pt x="62" y="185"/>
                </a:cubicBezTo>
                <a:cubicBezTo>
                  <a:pt x="63" y="187"/>
                  <a:pt x="63" y="190"/>
                  <a:pt x="62" y="193"/>
                </a:cubicBezTo>
                <a:cubicBezTo>
                  <a:pt x="63" y="193"/>
                  <a:pt x="62" y="193"/>
                  <a:pt x="62" y="194"/>
                </a:cubicBezTo>
                <a:cubicBezTo>
                  <a:pt x="62" y="194"/>
                  <a:pt x="62" y="194"/>
                  <a:pt x="62" y="194"/>
                </a:cubicBezTo>
                <a:cubicBezTo>
                  <a:pt x="62" y="194"/>
                  <a:pt x="62" y="195"/>
                  <a:pt x="63" y="195"/>
                </a:cubicBezTo>
                <a:cubicBezTo>
                  <a:pt x="62" y="195"/>
                  <a:pt x="62" y="195"/>
                  <a:pt x="62" y="195"/>
                </a:cubicBezTo>
                <a:cubicBezTo>
                  <a:pt x="62" y="196"/>
                  <a:pt x="62" y="197"/>
                  <a:pt x="61" y="198"/>
                </a:cubicBezTo>
                <a:cubicBezTo>
                  <a:pt x="60" y="197"/>
                  <a:pt x="60" y="197"/>
                  <a:pt x="60" y="197"/>
                </a:cubicBezTo>
                <a:cubicBezTo>
                  <a:pt x="61" y="198"/>
                  <a:pt x="61" y="198"/>
                  <a:pt x="61" y="199"/>
                </a:cubicBezTo>
                <a:cubicBezTo>
                  <a:pt x="61" y="200"/>
                  <a:pt x="61" y="199"/>
                  <a:pt x="62" y="199"/>
                </a:cubicBezTo>
                <a:cubicBezTo>
                  <a:pt x="63" y="204"/>
                  <a:pt x="68" y="207"/>
                  <a:pt x="69" y="212"/>
                </a:cubicBezTo>
                <a:cubicBezTo>
                  <a:pt x="69" y="212"/>
                  <a:pt x="69" y="212"/>
                  <a:pt x="69" y="212"/>
                </a:cubicBezTo>
                <a:cubicBezTo>
                  <a:pt x="69" y="214"/>
                  <a:pt x="71" y="216"/>
                  <a:pt x="71" y="219"/>
                </a:cubicBezTo>
                <a:cubicBezTo>
                  <a:pt x="71" y="219"/>
                  <a:pt x="70" y="219"/>
                  <a:pt x="70" y="219"/>
                </a:cubicBezTo>
                <a:cubicBezTo>
                  <a:pt x="71" y="222"/>
                  <a:pt x="74" y="227"/>
                  <a:pt x="70" y="229"/>
                </a:cubicBezTo>
                <a:cubicBezTo>
                  <a:pt x="69" y="231"/>
                  <a:pt x="69" y="235"/>
                  <a:pt x="67" y="237"/>
                </a:cubicBezTo>
                <a:cubicBezTo>
                  <a:pt x="66" y="246"/>
                  <a:pt x="72" y="249"/>
                  <a:pt x="74" y="256"/>
                </a:cubicBezTo>
                <a:cubicBezTo>
                  <a:pt x="73" y="256"/>
                  <a:pt x="73" y="256"/>
                  <a:pt x="73" y="256"/>
                </a:cubicBezTo>
                <a:cubicBezTo>
                  <a:pt x="73" y="259"/>
                  <a:pt x="74" y="262"/>
                  <a:pt x="75" y="265"/>
                </a:cubicBezTo>
                <a:cubicBezTo>
                  <a:pt x="76" y="271"/>
                  <a:pt x="82" y="276"/>
                  <a:pt x="81" y="282"/>
                </a:cubicBezTo>
                <a:cubicBezTo>
                  <a:pt x="81" y="282"/>
                  <a:pt x="81" y="282"/>
                  <a:pt x="81" y="282"/>
                </a:cubicBezTo>
                <a:cubicBezTo>
                  <a:pt x="81" y="282"/>
                  <a:pt x="80" y="282"/>
                  <a:pt x="81" y="282"/>
                </a:cubicBezTo>
                <a:cubicBezTo>
                  <a:pt x="81" y="283"/>
                  <a:pt x="82" y="285"/>
                  <a:pt x="82" y="286"/>
                </a:cubicBezTo>
                <a:cubicBezTo>
                  <a:pt x="82" y="286"/>
                  <a:pt x="82" y="285"/>
                  <a:pt x="82" y="285"/>
                </a:cubicBezTo>
                <a:cubicBezTo>
                  <a:pt x="83" y="285"/>
                  <a:pt x="83" y="285"/>
                  <a:pt x="83" y="285"/>
                </a:cubicBezTo>
                <a:cubicBezTo>
                  <a:pt x="83" y="286"/>
                  <a:pt x="83" y="286"/>
                  <a:pt x="83" y="286"/>
                </a:cubicBezTo>
                <a:cubicBezTo>
                  <a:pt x="83" y="286"/>
                  <a:pt x="83" y="286"/>
                  <a:pt x="84" y="286"/>
                </a:cubicBezTo>
                <a:cubicBezTo>
                  <a:pt x="84" y="287"/>
                  <a:pt x="85" y="287"/>
                  <a:pt x="85" y="287"/>
                </a:cubicBezTo>
                <a:cubicBezTo>
                  <a:pt x="86" y="286"/>
                  <a:pt x="88" y="286"/>
                  <a:pt x="89" y="286"/>
                </a:cubicBezTo>
                <a:cubicBezTo>
                  <a:pt x="91" y="285"/>
                  <a:pt x="94" y="285"/>
                  <a:pt x="96" y="286"/>
                </a:cubicBezTo>
                <a:cubicBezTo>
                  <a:pt x="96" y="285"/>
                  <a:pt x="97" y="285"/>
                  <a:pt x="98" y="285"/>
                </a:cubicBezTo>
                <a:cubicBezTo>
                  <a:pt x="98" y="285"/>
                  <a:pt x="98" y="285"/>
                  <a:pt x="98" y="285"/>
                </a:cubicBezTo>
                <a:cubicBezTo>
                  <a:pt x="98" y="284"/>
                  <a:pt x="99" y="284"/>
                  <a:pt x="100" y="284"/>
                </a:cubicBezTo>
                <a:cubicBezTo>
                  <a:pt x="105" y="282"/>
                  <a:pt x="109" y="277"/>
                  <a:pt x="112" y="272"/>
                </a:cubicBezTo>
                <a:cubicBezTo>
                  <a:pt x="114" y="271"/>
                  <a:pt x="115" y="267"/>
                  <a:pt x="115" y="264"/>
                </a:cubicBezTo>
                <a:cubicBezTo>
                  <a:pt x="115" y="265"/>
                  <a:pt x="115" y="265"/>
                  <a:pt x="115" y="265"/>
                </a:cubicBezTo>
                <a:cubicBezTo>
                  <a:pt x="114" y="264"/>
                  <a:pt x="114" y="264"/>
                  <a:pt x="114" y="264"/>
                </a:cubicBezTo>
                <a:cubicBezTo>
                  <a:pt x="116" y="261"/>
                  <a:pt x="121" y="262"/>
                  <a:pt x="121" y="258"/>
                </a:cubicBezTo>
                <a:cubicBezTo>
                  <a:pt x="121" y="258"/>
                  <a:pt x="121" y="258"/>
                  <a:pt x="121" y="258"/>
                </a:cubicBezTo>
                <a:cubicBezTo>
                  <a:pt x="121" y="257"/>
                  <a:pt x="122" y="254"/>
                  <a:pt x="121" y="254"/>
                </a:cubicBezTo>
                <a:cubicBezTo>
                  <a:pt x="121" y="252"/>
                  <a:pt x="121" y="250"/>
                  <a:pt x="120" y="249"/>
                </a:cubicBezTo>
                <a:cubicBezTo>
                  <a:pt x="120" y="249"/>
                  <a:pt x="120" y="248"/>
                  <a:pt x="120" y="248"/>
                </a:cubicBezTo>
                <a:cubicBezTo>
                  <a:pt x="120" y="248"/>
                  <a:pt x="120" y="248"/>
                  <a:pt x="120" y="248"/>
                </a:cubicBezTo>
                <a:cubicBezTo>
                  <a:pt x="121" y="247"/>
                  <a:pt x="122" y="245"/>
                  <a:pt x="123" y="245"/>
                </a:cubicBezTo>
                <a:cubicBezTo>
                  <a:pt x="126" y="240"/>
                  <a:pt x="134" y="241"/>
                  <a:pt x="134" y="234"/>
                </a:cubicBezTo>
                <a:cubicBezTo>
                  <a:pt x="134" y="233"/>
                  <a:pt x="134" y="233"/>
                  <a:pt x="134" y="233"/>
                </a:cubicBezTo>
                <a:cubicBezTo>
                  <a:pt x="134" y="233"/>
                  <a:pt x="134" y="233"/>
                  <a:pt x="134" y="233"/>
                </a:cubicBezTo>
                <a:cubicBezTo>
                  <a:pt x="134" y="232"/>
                  <a:pt x="133" y="231"/>
                  <a:pt x="134" y="230"/>
                </a:cubicBezTo>
                <a:cubicBezTo>
                  <a:pt x="134" y="230"/>
                  <a:pt x="134" y="230"/>
                  <a:pt x="134" y="230"/>
                </a:cubicBezTo>
                <a:cubicBezTo>
                  <a:pt x="134" y="229"/>
                  <a:pt x="134" y="229"/>
                  <a:pt x="134" y="229"/>
                </a:cubicBezTo>
                <a:cubicBezTo>
                  <a:pt x="133" y="226"/>
                  <a:pt x="135" y="224"/>
                  <a:pt x="134" y="223"/>
                </a:cubicBezTo>
                <a:cubicBezTo>
                  <a:pt x="133" y="223"/>
                  <a:pt x="133" y="222"/>
                  <a:pt x="132" y="222"/>
                </a:cubicBezTo>
                <a:cubicBezTo>
                  <a:pt x="132" y="219"/>
                  <a:pt x="131" y="216"/>
                  <a:pt x="132" y="214"/>
                </a:cubicBezTo>
                <a:cubicBezTo>
                  <a:pt x="128" y="211"/>
                  <a:pt x="133" y="207"/>
                  <a:pt x="134" y="203"/>
                </a:cubicBezTo>
                <a:cubicBezTo>
                  <a:pt x="134" y="202"/>
                  <a:pt x="135" y="202"/>
                  <a:pt x="135" y="201"/>
                </a:cubicBezTo>
                <a:cubicBezTo>
                  <a:pt x="135" y="201"/>
                  <a:pt x="135" y="201"/>
                  <a:pt x="135" y="201"/>
                </a:cubicBezTo>
                <a:cubicBezTo>
                  <a:pt x="135" y="201"/>
                  <a:pt x="136" y="201"/>
                  <a:pt x="136" y="201"/>
                </a:cubicBezTo>
                <a:cubicBezTo>
                  <a:pt x="142" y="191"/>
                  <a:pt x="153" y="187"/>
                  <a:pt x="156" y="175"/>
                </a:cubicBezTo>
                <a:cubicBezTo>
                  <a:pt x="157" y="173"/>
                  <a:pt x="158" y="171"/>
                  <a:pt x="158" y="168"/>
                </a:cubicBezTo>
                <a:cubicBezTo>
                  <a:pt x="159" y="167"/>
                  <a:pt x="158" y="166"/>
                  <a:pt x="159" y="164"/>
                </a:cubicBezTo>
                <a:cubicBezTo>
                  <a:pt x="156" y="164"/>
                  <a:pt x="153" y="167"/>
                  <a:pt x="150" y="166"/>
                </a:cubicBezTo>
                <a:cubicBezTo>
                  <a:pt x="148" y="168"/>
                  <a:pt x="145" y="167"/>
                  <a:pt x="143" y="168"/>
                </a:cubicBezTo>
                <a:cubicBezTo>
                  <a:pt x="141" y="167"/>
                  <a:pt x="141" y="166"/>
                  <a:pt x="140" y="165"/>
                </a:cubicBezTo>
                <a:cubicBezTo>
                  <a:pt x="140" y="165"/>
                  <a:pt x="139" y="165"/>
                  <a:pt x="139" y="165"/>
                </a:cubicBezTo>
                <a:cubicBezTo>
                  <a:pt x="139" y="165"/>
                  <a:pt x="140" y="164"/>
                  <a:pt x="141" y="164"/>
                </a:cubicBezTo>
                <a:cubicBezTo>
                  <a:pt x="139" y="161"/>
                  <a:pt x="136" y="159"/>
                  <a:pt x="134" y="156"/>
                </a:cubicBezTo>
                <a:cubicBezTo>
                  <a:pt x="133" y="156"/>
                  <a:pt x="133" y="156"/>
                  <a:pt x="133" y="156"/>
                </a:cubicBezTo>
                <a:cubicBezTo>
                  <a:pt x="132" y="156"/>
                  <a:pt x="133" y="155"/>
                  <a:pt x="132" y="155"/>
                </a:cubicBezTo>
                <a:cubicBezTo>
                  <a:pt x="131" y="155"/>
                  <a:pt x="132" y="156"/>
                  <a:pt x="132" y="156"/>
                </a:cubicBezTo>
                <a:cubicBezTo>
                  <a:pt x="130" y="152"/>
                  <a:pt x="130" y="147"/>
                  <a:pt x="126" y="146"/>
                </a:cubicBezTo>
                <a:cubicBezTo>
                  <a:pt x="125" y="144"/>
                  <a:pt x="125" y="142"/>
                  <a:pt x="125" y="140"/>
                </a:cubicBezTo>
                <a:cubicBezTo>
                  <a:pt x="125" y="140"/>
                  <a:pt x="125" y="140"/>
                  <a:pt x="125" y="140"/>
                </a:cubicBezTo>
                <a:cubicBezTo>
                  <a:pt x="126" y="139"/>
                  <a:pt x="124" y="139"/>
                  <a:pt x="124" y="137"/>
                </a:cubicBezTo>
                <a:cubicBezTo>
                  <a:pt x="123" y="136"/>
                  <a:pt x="121" y="135"/>
                  <a:pt x="121" y="133"/>
                </a:cubicBezTo>
                <a:cubicBezTo>
                  <a:pt x="122" y="132"/>
                  <a:pt x="122" y="132"/>
                  <a:pt x="122" y="132"/>
                </a:cubicBezTo>
                <a:cubicBezTo>
                  <a:pt x="118" y="128"/>
                  <a:pt x="116" y="122"/>
                  <a:pt x="113" y="117"/>
                </a:cubicBezTo>
                <a:cubicBezTo>
                  <a:pt x="114" y="117"/>
                  <a:pt x="114" y="117"/>
                  <a:pt x="114" y="117"/>
                </a:cubicBezTo>
                <a:cubicBezTo>
                  <a:pt x="115" y="119"/>
                  <a:pt x="116" y="122"/>
                  <a:pt x="118" y="123"/>
                </a:cubicBezTo>
                <a:cubicBezTo>
                  <a:pt x="119" y="121"/>
                  <a:pt x="118" y="119"/>
                  <a:pt x="119" y="118"/>
                </a:cubicBezTo>
                <a:cubicBezTo>
                  <a:pt x="119" y="119"/>
                  <a:pt x="119" y="121"/>
                  <a:pt x="118" y="122"/>
                </a:cubicBezTo>
                <a:cubicBezTo>
                  <a:pt x="119" y="122"/>
                  <a:pt x="119" y="122"/>
                  <a:pt x="120" y="122"/>
                </a:cubicBezTo>
                <a:cubicBezTo>
                  <a:pt x="122" y="125"/>
                  <a:pt x="124" y="128"/>
                  <a:pt x="126" y="132"/>
                </a:cubicBezTo>
                <a:cubicBezTo>
                  <a:pt x="131" y="133"/>
                  <a:pt x="128" y="140"/>
                  <a:pt x="131" y="142"/>
                </a:cubicBezTo>
                <a:cubicBezTo>
                  <a:pt x="135" y="143"/>
                  <a:pt x="134" y="148"/>
                  <a:pt x="137" y="150"/>
                </a:cubicBezTo>
                <a:cubicBezTo>
                  <a:pt x="137" y="151"/>
                  <a:pt x="137" y="151"/>
                  <a:pt x="137" y="151"/>
                </a:cubicBezTo>
                <a:cubicBezTo>
                  <a:pt x="139" y="151"/>
                  <a:pt x="138" y="154"/>
                  <a:pt x="139" y="155"/>
                </a:cubicBezTo>
                <a:cubicBezTo>
                  <a:pt x="138" y="156"/>
                  <a:pt x="138" y="156"/>
                  <a:pt x="138" y="156"/>
                </a:cubicBezTo>
                <a:cubicBezTo>
                  <a:pt x="140" y="157"/>
                  <a:pt x="139" y="160"/>
                  <a:pt x="141" y="162"/>
                </a:cubicBezTo>
                <a:cubicBezTo>
                  <a:pt x="142" y="163"/>
                  <a:pt x="143" y="162"/>
                  <a:pt x="144" y="162"/>
                </a:cubicBezTo>
                <a:cubicBezTo>
                  <a:pt x="146" y="160"/>
                  <a:pt x="150" y="159"/>
                  <a:pt x="153" y="159"/>
                </a:cubicBezTo>
                <a:cubicBezTo>
                  <a:pt x="154" y="156"/>
                  <a:pt x="158" y="156"/>
                  <a:pt x="160" y="155"/>
                </a:cubicBezTo>
                <a:cubicBezTo>
                  <a:pt x="161" y="154"/>
                  <a:pt x="160" y="154"/>
                  <a:pt x="160" y="153"/>
                </a:cubicBezTo>
                <a:cubicBezTo>
                  <a:pt x="162" y="150"/>
                  <a:pt x="167" y="152"/>
                  <a:pt x="168" y="149"/>
                </a:cubicBezTo>
                <a:cubicBezTo>
                  <a:pt x="171" y="149"/>
                  <a:pt x="170" y="145"/>
                  <a:pt x="173" y="146"/>
                </a:cubicBezTo>
                <a:cubicBezTo>
                  <a:pt x="172" y="144"/>
                  <a:pt x="172" y="142"/>
                  <a:pt x="173" y="141"/>
                </a:cubicBezTo>
                <a:cubicBezTo>
                  <a:pt x="173" y="142"/>
                  <a:pt x="173" y="142"/>
                  <a:pt x="173" y="142"/>
                </a:cubicBezTo>
                <a:cubicBezTo>
                  <a:pt x="174" y="142"/>
                  <a:pt x="174" y="142"/>
                  <a:pt x="174" y="142"/>
                </a:cubicBezTo>
                <a:cubicBezTo>
                  <a:pt x="174" y="140"/>
                  <a:pt x="177" y="139"/>
                  <a:pt x="177" y="136"/>
                </a:cubicBezTo>
                <a:cubicBezTo>
                  <a:pt x="174" y="133"/>
                  <a:pt x="168" y="134"/>
                  <a:pt x="168" y="128"/>
                </a:cubicBezTo>
                <a:cubicBezTo>
                  <a:pt x="168" y="127"/>
                  <a:pt x="168" y="127"/>
                  <a:pt x="168" y="126"/>
                </a:cubicBezTo>
                <a:cubicBezTo>
                  <a:pt x="167" y="128"/>
                  <a:pt x="165" y="131"/>
                  <a:pt x="163" y="132"/>
                </a:cubicBezTo>
                <a:cubicBezTo>
                  <a:pt x="163" y="132"/>
                  <a:pt x="163" y="132"/>
                  <a:pt x="163" y="132"/>
                </a:cubicBezTo>
                <a:cubicBezTo>
                  <a:pt x="163" y="132"/>
                  <a:pt x="163" y="132"/>
                  <a:pt x="163" y="132"/>
                </a:cubicBezTo>
                <a:cubicBezTo>
                  <a:pt x="163" y="132"/>
                  <a:pt x="163" y="132"/>
                  <a:pt x="163" y="132"/>
                </a:cubicBezTo>
                <a:cubicBezTo>
                  <a:pt x="162" y="131"/>
                  <a:pt x="162" y="132"/>
                  <a:pt x="162" y="132"/>
                </a:cubicBezTo>
                <a:cubicBezTo>
                  <a:pt x="162" y="132"/>
                  <a:pt x="160" y="132"/>
                  <a:pt x="160" y="132"/>
                </a:cubicBezTo>
                <a:cubicBezTo>
                  <a:pt x="160" y="132"/>
                  <a:pt x="159" y="132"/>
                  <a:pt x="158" y="132"/>
                </a:cubicBezTo>
                <a:cubicBezTo>
                  <a:pt x="158" y="132"/>
                  <a:pt x="158" y="132"/>
                  <a:pt x="158" y="132"/>
                </a:cubicBezTo>
                <a:cubicBezTo>
                  <a:pt x="158" y="131"/>
                  <a:pt x="158" y="131"/>
                  <a:pt x="158" y="131"/>
                </a:cubicBezTo>
                <a:cubicBezTo>
                  <a:pt x="157" y="131"/>
                  <a:pt x="157" y="132"/>
                  <a:pt x="157" y="132"/>
                </a:cubicBezTo>
                <a:cubicBezTo>
                  <a:pt x="158" y="131"/>
                  <a:pt x="157" y="129"/>
                  <a:pt x="157" y="128"/>
                </a:cubicBezTo>
                <a:cubicBezTo>
                  <a:pt x="157" y="127"/>
                  <a:pt x="157" y="127"/>
                  <a:pt x="156" y="127"/>
                </a:cubicBezTo>
                <a:cubicBezTo>
                  <a:pt x="155" y="127"/>
                  <a:pt x="155" y="129"/>
                  <a:pt x="156" y="130"/>
                </a:cubicBezTo>
                <a:cubicBezTo>
                  <a:pt x="155" y="129"/>
                  <a:pt x="154" y="128"/>
                  <a:pt x="153" y="127"/>
                </a:cubicBezTo>
                <a:cubicBezTo>
                  <a:pt x="154" y="127"/>
                  <a:pt x="154" y="127"/>
                  <a:pt x="154" y="127"/>
                </a:cubicBezTo>
                <a:cubicBezTo>
                  <a:pt x="155" y="126"/>
                  <a:pt x="153" y="126"/>
                  <a:pt x="154" y="125"/>
                </a:cubicBezTo>
                <a:cubicBezTo>
                  <a:pt x="153" y="125"/>
                  <a:pt x="153" y="124"/>
                  <a:pt x="152" y="124"/>
                </a:cubicBezTo>
                <a:cubicBezTo>
                  <a:pt x="152" y="124"/>
                  <a:pt x="152" y="123"/>
                  <a:pt x="151" y="123"/>
                </a:cubicBezTo>
                <a:cubicBezTo>
                  <a:pt x="151" y="123"/>
                  <a:pt x="151" y="123"/>
                  <a:pt x="150" y="123"/>
                </a:cubicBezTo>
                <a:cubicBezTo>
                  <a:pt x="150" y="121"/>
                  <a:pt x="149" y="120"/>
                  <a:pt x="148" y="118"/>
                </a:cubicBezTo>
                <a:cubicBezTo>
                  <a:pt x="148" y="118"/>
                  <a:pt x="148" y="119"/>
                  <a:pt x="148" y="118"/>
                </a:cubicBezTo>
                <a:cubicBezTo>
                  <a:pt x="148" y="117"/>
                  <a:pt x="149" y="118"/>
                  <a:pt x="149" y="117"/>
                </a:cubicBezTo>
                <a:cubicBezTo>
                  <a:pt x="149" y="117"/>
                  <a:pt x="148" y="117"/>
                  <a:pt x="149" y="117"/>
                </a:cubicBezTo>
                <a:cubicBezTo>
                  <a:pt x="149" y="117"/>
                  <a:pt x="150" y="117"/>
                  <a:pt x="150" y="116"/>
                </a:cubicBezTo>
                <a:cubicBezTo>
                  <a:pt x="150" y="116"/>
                  <a:pt x="150" y="116"/>
                  <a:pt x="150" y="116"/>
                </a:cubicBezTo>
                <a:cubicBezTo>
                  <a:pt x="150" y="116"/>
                  <a:pt x="151" y="116"/>
                  <a:pt x="151" y="117"/>
                </a:cubicBezTo>
                <a:cubicBezTo>
                  <a:pt x="152" y="117"/>
                  <a:pt x="152" y="116"/>
                  <a:pt x="153" y="116"/>
                </a:cubicBezTo>
                <a:cubicBezTo>
                  <a:pt x="153" y="117"/>
                  <a:pt x="154" y="117"/>
                  <a:pt x="154" y="119"/>
                </a:cubicBezTo>
                <a:cubicBezTo>
                  <a:pt x="155" y="119"/>
                  <a:pt x="155" y="119"/>
                  <a:pt x="155" y="120"/>
                </a:cubicBezTo>
                <a:cubicBezTo>
                  <a:pt x="156" y="123"/>
                  <a:pt x="160" y="123"/>
                  <a:pt x="162" y="125"/>
                </a:cubicBezTo>
                <a:cubicBezTo>
                  <a:pt x="163" y="125"/>
                  <a:pt x="163" y="126"/>
                  <a:pt x="164" y="126"/>
                </a:cubicBezTo>
                <a:cubicBezTo>
                  <a:pt x="165" y="126"/>
                  <a:pt x="165" y="125"/>
                  <a:pt x="166" y="125"/>
                </a:cubicBezTo>
                <a:cubicBezTo>
                  <a:pt x="166" y="125"/>
                  <a:pt x="165" y="125"/>
                  <a:pt x="165" y="126"/>
                </a:cubicBezTo>
                <a:cubicBezTo>
                  <a:pt x="166" y="125"/>
                  <a:pt x="167" y="125"/>
                  <a:pt x="168" y="125"/>
                </a:cubicBezTo>
                <a:cubicBezTo>
                  <a:pt x="167" y="124"/>
                  <a:pt x="167" y="125"/>
                  <a:pt x="166" y="125"/>
                </a:cubicBezTo>
                <a:cubicBezTo>
                  <a:pt x="169" y="123"/>
                  <a:pt x="169" y="127"/>
                  <a:pt x="170" y="128"/>
                </a:cubicBezTo>
                <a:cubicBezTo>
                  <a:pt x="172" y="128"/>
                  <a:pt x="176" y="129"/>
                  <a:pt x="178" y="129"/>
                </a:cubicBezTo>
                <a:cubicBezTo>
                  <a:pt x="178" y="129"/>
                  <a:pt x="179" y="130"/>
                  <a:pt x="180" y="129"/>
                </a:cubicBezTo>
                <a:cubicBezTo>
                  <a:pt x="180" y="130"/>
                  <a:pt x="180" y="130"/>
                  <a:pt x="180" y="130"/>
                </a:cubicBezTo>
                <a:cubicBezTo>
                  <a:pt x="182" y="129"/>
                  <a:pt x="182" y="129"/>
                  <a:pt x="184" y="129"/>
                </a:cubicBezTo>
                <a:cubicBezTo>
                  <a:pt x="185" y="128"/>
                  <a:pt x="186" y="129"/>
                  <a:pt x="187" y="129"/>
                </a:cubicBezTo>
                <a:cubicBezTo>
                  <a:pt x="188" y="128"/>
                  <a:pt x="190" y="129"/>
                  <a:pt x="191" y="129"/>
                </a:cubicBezTo>
                <a:cubicBezTo>
                  <a:pt x="191" y="129"/>
                  <a:pt x="192" y="129"/>
                  <a:pt x="191" y="130"/>
                </a:cubicBezTo>
                <a:cubicBezTo>
                  <a:pt x="192" y="130"/>
                  <a:pt x="192" y="130"/>
                  <a:pt x="193" y="130"/>
                </a:cubicBezTo>
                <a:cubicBezTo>
                  <a:pt x="194" y="133"/>
                  <a:pt x="196" y="134"/>
                  <a:pt x="199" y="136"/>
                </a:cubicBezTo>
                <a:cubicBezTo>
                  <a:pt x="199" y="135"/>
                  <a:pt x="200" y="135"/>
                  <a:pt x="200" y="135"/>
                </a:cubicBezTo>
                <a:cubicBezTo>
                  <a:pt x="200" y="137"/>
                  <a:pt x="199" y="136"/>
                  <a:pt x="198" y="137"/>
                </a:cubicBezTo>
                <a:cubicBezTo>
                  <a:pt x="198" y="136"/>
                  <a:pt x="198" y="137"/>
                  <a:pt x="197" y="136"/>
                </a:cubicBezTo>
                <a:cubicBezTo>
                  <a:pt x="198" y="139"/>
                  <a:pt x="203" y="144"/>
                  <a:pt x="205" y="139"/>
                </a:cubicBezTo>
                <a:cubicBezTo>
                  <a:pt x="205" y="138"/>
                  <a:pt x="205" y="138"/>
                  <a:pt x="204" y="138"/>
                </a:cubicBezTo>
                <a:cubicBezTo>
                  <a:pt x="205" y="138"/>
                  <a:pt x="205" y="137"/>
                  <a:pt x="206" y="137"/>
                </a:cubicBezTo>
                <a:cubicBezTo>
                  <a:pt x="205" y="138"/>
                  <a:pt x="206" y="138"/>
                  <a:pt x="206" y="138"/>
                </a:cubicBezTo>
                <a:cubicBezTo>
                  <a:pt x="206" y="139"/>
                  <a:pt x="206" y="138"/>
                  <a:pt x="206" y="139"/>
                </a:cubicBezTo>
                <a:cubicBezTo>
                  <a:pt x="206" y="139"/>
                  <a:pt x="206" y="139"/>
                  <a:pt x="206" y="139"/>
                </a:cubicBezTo>
                <a:cubicBezTo>
                  <a:pt x="206" y="140"/>
                  <a:pt x="206" y="140"/>
                  <a:pt x="206" y="140"/>
                </a:cubicBezTo>
                <a:cubicBezTo>
                  <a:pt x="207" y="141"/>
                  <a:pt x="206" y="144"/>
                  <a:pt x="207" y="146"/>
                </a:cubicBezTo>
                <a:cubicBezTo>
                  <a:pt x="207" y="146"/>
                  <a:pt x="207" y="146"/>
                  <a:pt x="207" y="146"/>
                </a:cubicBezTo>
                <a:cubicBezTo>
                  <a:pt x="208" y="150"/>
                  <a:pt x="208" y="153"/>
                  <a:pt x="210" y="155"/>
                </a:cubicBezTo>
                <a:cubicBezTo>
                  <a:pt x="212" y="159"/>
                  <a:pt x="215" y="166"/>
                  <a:pt x="217" y="171"/>
                </a:cubicBezTo>
                <a:cubicBezTo>
                  <a:pt x="217" y="172"/>
                  <a:pt x="219" y="174"/>
                  <a:pt x="220" y="174"/>
                </a:cubicBezTo>
                <a:cubicBezTo>
                  <a:pt x="222" y="174"/>
                  <a:pt x="221" y="170"/>
                  <a:pt x="224" y="171"/>
                </a:cubicBezTo>
                <a:cubicBezTo>
                  <a:pt x="224" y="171"/>
                  <a:pt x="223" y="171"/>
                  <a:pt x="223" y="171"/>
                </a:cubicBezTo>
                <a:cubicBezTo>
                  <a:pt x="223" y="170"/>
                  <a:pt x="223" y="169"/>
                  <a:pt x="224" y="169"/>
                </a:cubicBezTo>
                <a:cubicBezTo>
                  <a:pt x="224" y="168"/>
                  <a:pt x="224" y="169"/>
                  <a:pt x="225" y="169"/>
                </a:cubicBezTo>
                <a:cubicBezTo>
                  <a:pt x="225" y="165"/>
                  <a:pt x="226" y="161"/>
                  <a:pt x="225" y="157"/>
                </a:cubicBezTo>
                <a:cubicBezTo>
                  <a:pt x="225" y="156"/>
                  <a:pt x="224" y="154"/>
                  <a:pt x="226" y="154"/>
                </a:cubicBezTo>
                <a:cubicBezTo>
                  <a:pt x="226" y="154"/>
                  <a:pt x="226" y="154"/>
                  <a:pt x="226" y="154"/>
                </a:cubicBezTo>
                <a:cubicBezTo>
                  <a:pt x="227" y="154"/>
                  <a:pt x="227" y="153"/>
                  <a:pt x="227" y="153"/>
                </a:cubicBezTo>
                <a:cubicBezTo>
                  <a:pt x="228" y="153"/>
                  <a:pt x="230" y="152"/>
                  <a:pt x="229" y="151"/>
                </a:cubicBezTo>
                <a:cubicBezTo>
                  <a:pt x="233" y="149"/>
                  <a:pt x="234" y="144"/>
                  <a:pt x="238" y="143"/>
                </a:cubicBezTo>
                <a:cubicBezTo>
                  <a:pt x="238" y="142"/>
                  <a:pt x="239" y="142"/>
                  <a:pt x="239" y="141"/>
                </a:cubicBezTo>
                <a:cubicBezTo>
                  <a:pt x="239" y="141"/>
                  <a:pt x="238" y="140"/>
                  <a:pt x="238" y="140"/>
                </a:cubicBezTo>
                <a:cubicBezTo>
                  <a:pt x="239" y="138"/>
                  <a:pt x="241" y="139"/>
                  <a:pt x="241" y="138"/>
                </a:cubicBezTo>
                <a:cubicBezTo>
                  <a:pt x="241" y="138"/>
                  <a:pt x="241" y="138"/>
                  <a:pt x="241" y="139"/>
                </a:cubicBezTo>
                <a:cubicBezTo>
                  <a:pt x="242" y="139"/>
                  <a:pt x="242" y="139"/>
                  <a:pt x="243" y="139"/>
                </a:cubicBezTo>
                <a:cubicBezTo>
                  <a:pt x="243" y="139"/>
                  <a:pt x="243" y="139"/>
                  <a:pt x="243" y="139"/>
                </a:cubicBezTo>
                <a:cubicBezTo>
                  <a:pt x="243" y="138"/>
                  <a:pt x="243" y="138"/>
                  <a:pt x="243" y="138"/>
                </a:cubicBezTo>
                <a:cubicBezTo>
                  <a:pt x="243" y="138"/>
                  <a:pt x="243" y="139"/>
                  <a:pt x="244" y="139"/>
                </a:cubicBezTo>
                <a:cubicBezTo>
                  <a:pt x="244" y="138"/>
                  <a:pt x="245" y="139"/>
                  <a:pt x="245" y="138"/>
                </a:cubicBezTo>
                <a:cubicBezTo>
                  <a:pt x="245" y="138"/>
                  <a:pt x="245" y="138"/>
                  <a:pt x="246" y="138"/>
                </a:cubicBezTo>
                <a:cubicBezTo>
                  <a:pt x="246" y="138"/>
                  <a:pt x="246" y="137"/>
                  <a:pt x="247" y="137"/>
                </a:cubicBezTo>
                <a:cubicBezTo>
                  <a:pt x="247" y="138"/>
                  <a:pt x="247" y="138"/>
                  <a:pt x="247" y="138"/>
                </a:cubicBezTo>
                <a:cubicBezTo>
                  <a:pt x="248" y="137"/>
                  <a:pt x="247" y="136"/>
                  <a:pt x="247" y="136"/>
                </a:cubicBezTo>
                <a:cubicBezTo>
                  <a:pt x="246" y="135"/>
                  <a:pt x="246" y="136"/>
                  <a:pt x="246" y="136"/>
                </a:cubicBezTo>
                <a:cubicBezTo>
                  <a:pt x="246" y="135"/>
                  <a:pt x="246" y="135"/>
                  <a:pt x="246" y="135"/>
                </a:cubicBezTo>
                <a:cubicBezTo>
                  <a:pt x="247" y="136"/>
                  <a:pt x="247" y="136"/>
                  <a:pt x="247" y="136"/>
                </a:cubicBezTo>
                <a:cubicBezTo>
                  <a:pt x="248" y="136"/>
                  <a:pt x="247" y="136"/>
                  <a:pt x="248" y="136"/>
                </a:cubicBezTo>
                <a:cubicBezTo>
                  <a:pt x="250" y="137"/>
                  <a:pt x="250" y="141"/>
                  <a:pt x="252" y="143"/>
                </a:cubicBezTo>
                <a:cubicBezTo>
                  <a:pt x="253" y="142"/>
                  <a:pt x="253" y="142"/>
                  <a:pt x="253" y="142"/>
                </a:cubicBezTo>
                <a:cubicBezTo>
                  <a:pt x="253" y="143"/>
                  <a:pt x="252" y="143"/>
                  <a:pt x="253" y="143"/>
                </a:cubicBezTo>
                <a:cubicBezTo>
                  <a:pt x="253" y="143"/>
                  <a:pt x="253" y="144"/>
                  <a:pt x="253" y="143"/>
                </a:cubicBezTo>
                <a:cubicBezTo>
                  <a:pt x="253" y="143"/>
                  <a:pt x="253" y="143"/>
                  <a:pt x="253" y="143"/>
                </a:cubicBezTo>
                <a:cubicBezTo>
                  <a:pt x="254" y="143"/>
                  <a:pt x="254" y="144"/>
                  <a:pt x="255" y="145"/>
                </a:cubicBezTo>
                <a:cubicBezTo>
                  <a:pt x="255" y="145"/>
                  <a:pt x="255" y="144"/>
                  <a:pt x="254" y="144"/>
                </a:cubicBezTo>
                <a:cubicBezTo>
                  <a:pt x="256" y="146"/>
                  <a:pt x="258" y="149"/>
                  <a:pt x="257" y="154"/>
                </a:cubicBezTo>
                <a:cubicBezTo>
                  <a:pt x="258" y="153"/>
                  <a:pt x="258" y="153"/>
                  <a:pt x="258" y="153"/>
                </a:cubicBezTo>
                <a:cubicBezTo>
                  <a:pt x="258" y="154"/>
                  <a:pt x="258" y="154"/>
                  <a:pt x="258" y="154"/>
                </a:cubicBezTo>
                <a:cubicBezTo>
                  <a:pt x="258" y="154"/>
                  <a:pt x="258" y="154"/>
                  <a:pt x="259" y="154"/>
                </a:cubicBezTo>
                <a:cubicBezTo>
                  <a:pt x="259" y="154"/>
                  <a:pt x="259" y="154"/>
                  <a:pt x="260" y="154"/>
                </a:cubicBezTo>
                <a:cubicBezTo>
                  <a:pt x="260" y="152"/>
                  <a:pt x="263" y="153"/>
                  <a:pt x="263" y="150"/>
                </a:cubicBezTo>
                <a:cubicBezTo>
                  <a:pt x="265" y="153"/>
                  <a:pt x="265" y="157"/>
                  <a:pt x="267" y="160"/>
                </a:cubicBezTo>
                <a:cubicBezTo>
                  <a:pt x="267" y="159"/>
                  <a:pt x="267" y="159"/>
                  <a:pt x="267" y="159"/>
                </a:cubicBezTo>
                <a:cubicBezTo>
                  <a:pt x="267" y="161"/>
                  <a:pt x="268" y="162"/>
                  <a:pt x="268" y="163"/>
                </a:cubicBezTo>
                <a:cubicBezTo>
                  <a:pt x="268" y="163"/>
                  <a:pt x="268" y="163"/>
                  <a:pt x="268" y="163"/>
                </a:cubicBezTo>
                <a:cubicBezTo>
                  <a:pt x="268" y="164"/>
                  <a:pt x="268" y="164"/>
                  <a:pt x="268" y="165"/>
                </a:cubicBezTo>
                <a:cubicBezTo>
                  <a:pt x="268" y="165"/>
                  <a:pt x="268" y="164"/>
                  <a:pt x="269" y="165"/>
                </a:cubicBezTo>
                <a:cubicBezTo>
                  <a:pt x="268" y="168"/>
                  <a:pt x="268" y="171"/>
                  <a:pt x="268" y="175"/>
                </a:cubicBezTo>
                <a:cubicBezTo>
                  <a:pt x="269" y="175"/>
                  <a:pt x="268" y="174"/>
                  <a:pt x="269" y="174"/>
                </a:cubicBezTo>
                <a:cubicBezTo>
                  <a:pt x="269" y="175"/>
                  <a:pt x="270" y="174"/>
                  <a:pt x="270" y="175"/>
                </a:cubicBezTo>
                <a:cubicBezTo>
                  <a:pt x="270" y="175"/>
                  <a:pt x="271" y="176"/>
                  <a:pt x="270" y="177"/>
                </a:cubicBezTo>
                <a:cubicBezTo>
                  <a:pt x="272" y="177"/>
                  <a:pt x="274" y="180"/>
                  <a:pt x="273" y="182"/>
                </a:cubicBezTo>
                <a:cubicBezTo>
                  <a:pt x="273" y="182"/>
                  <a:pt x="273" y="181"/>
                  <a:pt x="273" y="182"/>
                </a:cubicBezTo>
                <a:cubicBezTo>
                  <a:pt x="273" y="183"/>
                  <a:pt x="274" y="184"/>
                  <a:pt x="274" y="185"/>
                </a:cubicBezTo>
                <a:cubicBezTo>
                  <a:pt x="275" y="188"/>
                  <a:pt x="277" y="189"/>
                  <a:pt x="279" y="191"/>
                </a:cubicBezTo>
                <a:cubicBezTo>
                  <a:pt x="279" y="188"/>
                  <a:pt x="280" y="186"/>
                  <a:pt x="280" y="183"/>
                </a:cubicBezTo>
                <a:cubicBezTo>
                  <a:pt x="279" y="181"/>
                  <a:pt x="277" y="179"/>
                  <a:pt x="275" y="177"/>
                </a:cubicBezTo>
                <a:cubicBezTo>
                  <a:pt x="274" y="178"/>
                  <a:pt x="274" y="177"/>
                  <a:pt x="273" y="177"/>
                </a:cubicBezTo>
                <a:cubicBezTo>
                  <a:pt x="273" y="175"/>
                  <a:pt x="272" y="173"/>
                  <a:pt x="271" y="171"/>
                </a:cubicBezTo>
                <a:cubicBezTo>
                  <a:pt x="271" y="171"/>
                  <a:pt x="271" y="171"/>
                  <a:pt x="270" y="171"/>
                </a:cubicBezTo>
                <a:cubicBezTo>
                  <a:pt x="269" y="168"/>
                  <a:pt x="272" y="164"/>
                  <a:pt x="271" y="160"/>
                </a:cubicBezTo>
                <a:cubicBezTo>
                  <a:pt x="272" y="160"/>
                  <a:pt x="273" y="160"/>
                  <a:pt x="273" y="160"/>
                </a:cubicBezTo>
                <a:cubicBezTo>
                  <a:pt x="273" y="161"/>
                  <a:pt x="273" y="162"/>
                  <a:pt x="273" y="162"/>
                </a:cubicBezTo>
                <a:cubicBezTo>
                  <a:pt x="274" y="162"/>
                  <a:pt x="274" y="163"/>
                  <a:pt x="275" y="162"/>
                </a:cubicBezTo>
                <a:cubicBezTo>
                  <a:pt x="276" y="163"/>
                  <a:pt x="276" y="163"/>
                  <a:pt x="277" y="164"/>
                </a:cubicBezTo>
                <a:cubicBezTo>
                  <a:pt x="277" y="164"/>
                  <a:pt x="276" y="164"/>
                  <a:pt x="277" y="163"/>
                </a:cubicBezTo>
                <a:cubicBezTo>
                  <a:pt x="278" y="163"/>
                  <a:pt x="278" y="165"/>
                  <a:pt x="279" y="167"/>
                </a:cubicBezTo>
                <a:cubicBezTo>
                  <a:pt x="279" y="167"/>
                  <a:pt x="279" y="167"/>
                  <a:pt x="279" y="167"/>
                </a:cubicBezTo>
                <a:cubicBezTo>
                  <a:pt x="280" y="166"/>
                  <a:pt x="280" y="166"/>
                  <a:pt x="280" y="166"/>
                </a:cubicBezTo>
                <a:cubicBezTo>
                  <a:pt x="280" y="167"/>
                  <a:pt x="280" y="167"/>
                  <a:pt x="280" y="167"/>
                </a:cubicBezTo>
                <a:cubicBezTo>
                  <a:pt x="279" y="168"/>
                  <a:pt x="279" y="168"/>
                  <a:pt x="279" y="168"/>
                </a:cubicBezTo>
                <a:cubicBezTo>
                  <a:pt x="280" y="168"/>
                  <a:pt x="282" y="167"/>
                  <a:pt x="282" y="168"/>
                </a:cubicBezTo>
                <a:cubicBezTo>
                  <a:pt x="283" y="161"/>
                  <a:pt x="283" y="154"/>
                  <a:pt x="283" y="147"/>
                </a:cubicBezTo>
                <a:cubicBezTo>
                  <a:pt x="283" y="147"/>
                  <a:pt x="282" y="146"/>
                  <a:pt x="282" y="146"/>
                </a:cubicBezTo>
                <a:cubicBezTo>
                  <a:pt x="282" y="144"/>
                  <a:pt x="282" y="143"/>
                  <a:pt x="283" y="143"/>
                </a:cubicBezTo>
                <a:cubicBezTo>
                  <a:pt x="283" y="93"/>
                  <a:pt x="267" y="48"/>
                  <a:pt x="241" y="10"/>
                </a:cubicBezTo>
                <a:cubicBezTo>
                  <a:pt x="239" y="10"/>
                  <a:pt x="237" y="10"/>
                  <a:pt x="237" y="9"/>
                </a:cubicBezTo>
                <a:close/>
                <a:moveTo>
                  <a:pt x="111" y="218"/>
                </a:moveTo>
                <a:cubicBezTo>
                  <a:pt x="111" y="217"/>
                  <a:pt x="111" y="217"/>
                  <a:pt x="111" y="217"/>
                </a:cubicBezTo>
                <a:cubicBezTo>
                  <a:pt x="111" y="215"/>
                  <a:pt x="107" y="213"/>
                  <a:pt x="108" y="210"/>
                </a:cubicBezTo>
                <a:cubicBezTo>
                  <a:pt x="107" y="209"/>
                  <a:pt x="108" y="208"/>
                  <a:pt x="108" y="206"/>
                </a:cubicBezTo>
                <a:cubicBezTo>
                  <a:pt x="108" y="207"/>
                  <a:pt x="108" y="207"/>
                  <a:pt x="108" y="207"/>
                </a:cubicBezTo>
                <a:cubicBezTo>
                  <a:pt x="107" y="206"/>
                  <a:pt x="108" y="205"/>
                  <a:pt x="108" y="204"/>
                </a:cubicBezTo>
                <a:cubicBezTo>
                  <a:pt x="109" y="207"/>
                  <a:pt x="110" y="210"/>
                  <a:pt x="109" y="212"/>
                </a:cubicBezTo>
                <a:cubicBezTo>
                  <a:pt x="111" y="213"/>
                  <a:pt x="111" y="216"/>
                  <a:pt x="112" y="219"/>
                </a:cubicBezTo>
                <a:cubicBezTo>
                  <a:pt x="112" y="219"/>
                  <a:pt x="111" y="218"/>
                  <a:pt x="111" y="218"/>
                </a:cubicBezTo>
                <a:close/>
                <a:moveTo>
                  <a:pt x="121" y="233"/>
                </a:moveTo>
                <a:cubicBezTo>
                  <a:pt x="121" y="233"/>
                  <a:pt x="121" y="233"/>
                  <a:pt x="121" y="232"/>
                </a:cubicBezTo>
                <a:cubicBezTo>
                  <a:pt x="120" y="232"/>
                  <a:pt x="121" y="233"/>
                  <a:pt x="120" y="233"/>
                </a:cubicBezTo>
                <a:cubicBezTo>
                  <a:pt x="120" y="232"/>
                  <a:pt x="120" y="231"/>
                  <a:pt x="119" y="231"/>
                </a:cubicBezTo>
                <a:cubicBezTo>
                  <a:pt x="119" y="227"/>
                  <a:pt x="120" y="224"/>
                  <a:pt x="119" y="221"/>
                </a:cubicBezTo>
                <a:cubicBezTo>
                  <a:pt x="120" y="222"/>
                  <a:pt x="122" y="227"/>
                  <a:pt x="120" y="227"/>
                </a:cubicBezTo>
                <a:cubicBezTo>
                  <a:pt x="121" y="229"/>
                  <a:pt x="120" y="232"/>
                  <a:pt x="121" y="233"/>
                </a:cubicBezTo>
                <a:close/>
                <a:moveTo>
                  <a:pt x="114" y="196"/>
                </a:moveTo>
                <a:cubicBezTo>
                  <a:pt x="115" y="196"/>
                  <a:pt x="116" y="196"/>
                  <a:pt x="116" y="195"/>
                </a:cubicBezTo>
                <a:cubicBezTo>
                  <a:pt x="116" y="196"/>
                  <a:pt x="117" y="195"/>
                  <a:pt x="117" y="195"/>
                </a:cubicBezTo>
                <a:cubicBezTo>
                  <a:pt x="118" y="194"/>
                  <a:pt x="118" y="195"/>
                  <a:pt x="118" y="195"/>
                </a:cubicBezTo>
                <a:cubicBezTo>
                  <a:pt x="118" y="195"/>
                  <a:pt x="118" y="195"/>
                  <a:pt x="118" y="195"/>
                </a:cubicBezTo>
                <a:cubicBezTo>
                  <a:pt x="118" y="195"/>
                  <a:pt x="119" y="196"/>
                  <a:pt x="119" y="195"/>
                </a:cubicBezTo>
                <a:cubicBezTo>
                  <a:pt x="119" y="196"/>
                  <a:pt x="119" y="196"/>
                  <a:pt x="120" y="197"/>
                </a:cubicBezTo>
                <a:cubicBezTo>
                  <a:pt x="120" y="196"/>
                  <a:pt x="120" y="196"/>
                  <a:pt x="120" y="196"/>
                </a:cubicBezTo>
                <a:cubicBezTo>
                  <a:pt x="120" y="196"/>
                  <a:pt x="121" y="196"/>
                  <a:pt x="121" y="196"/>
                </a:cubicBezTo>
                <a:cubicBezTo>
                  <a:pt x="121" y="197"/>
                  <a:pt x="120" y="197"/>
                  <a:pt x="120" y="197"/>
                </a:cubicBezTo>
                <a:cubicBezTo>
                  <a:pt x="119" y="197"/>
                  <a:pt x="119" y="197"/>
                  <a:pt x="119" y="197"/>
                </a:cubicBezTo>
                <a:cubicBezTo>
                  <a:pt x="119" y="198"/>
                  <a:pt x="120" y="198"/>
                  <a:pt x="119" y="198"/>
                </a:cubicBezTo>
                <a:cubicBezTo>
                  <a:pt x="118" y="199"/>
                  <a:pt x="119" y="200"/>
                  <a:pt x="117" y="201"/>
                </a:cubicBezTo>
                <a:cubicBezTo>
                  <a:pt x="117" y="201"/>
                  <a:pt x="118" y="200"/>
                  <a:pt x="118" y="201"/>
                </a:cubicBezTo>
                <a:cubicBezTo>
                  <a:pt x="118" y="201"/>
                  <a:pt x="117" y="201"/>
                  <a:pt x="117" y="201"/>
                </a:cubicBezTo>
                <a:cubicBezTo>
                  <a:pt x="117" y="201"/>
                  <a:pt x="118" y="201"/>
                  <a:pt x="119" y="201"/>
                </a:cubicBezTo>
                <a:cubicBezTo>
                  <a:pt x="118" y="203"/>
                  <a:pt x="117" y="202"/>
                  <a:pt x="115" y="202"/>
                </a:cubicBezTo>
                <a:cubicBezTo>
                  <a:pt x="115" y="201"/>
                  <a:pt x="115" y="201"/>
                  <a:pt x="115" y="201"/>
                </a:cubicBezTo>
                <a:cubicBezTo>
                  <a:pt x="115" y="201"/>
                  <a:pt x="115" y="202"/>
                  <a:pt x="115" y="202"/>
                </a:cubicBezTo>
                <a:cubicBezTo>
                  <a:pt x="115" y="202"/>
                  <a:pt x="114" y="202"/>
                  <a:pt x="114" y="203"/>
                </a:cubicBezTo>
                <a:cubicBezTo>
                  <a:pt x="114" y="202"/>
                  <a:pt x="114" y="201"/>
                  <a:pt x="114" y="201"/>
                </a:cubicBezTo>
                <a:cubicBezTo>
                  <a:pt x="114" y="199"/>
                  <a:pt x="114" y="197"/>
                  <a:pt x="114" y="196"/>
                </a:cubicBezTo>
                <a:close/>
                <a:moveTo>
                  <a:pt x="100" y="37"/>
                </a:moveTo>
                <a:cubicBezTo>
                  <a:pt x="101" y="36"/>
                  <a:pt x="101" y="36"/>
                  <a:pt x="101" y="36"/>
                </a:cubicBezTo>
                <a:cubicBezTo>
                  <a:pt x="103" y="36"/>
                  <a:pt x="105" y="37"/>
                  <a:pt x="105" y="38"/>
                </a:cubicBezTo>
                <a:cubicBezTo>
                  <a:pt x="105" y="38"/>
                  <a:pt x="105" y="39"/>
                  <a:pt x="105" y="39"/>
                </a:cubicBezTo>
                <a:cubicBezTo>
                  <a:pt x="104" y="39"/>
                  <a:pt x="104" y="39"/>
                  <a:pt x="104" y="39"/>
                </a:cubicBezTo>
                <a:cubicBezTo>
                  <a:pt x="103" y="39"/>
                  <a:pt x="103" y="39"/>
                  <a:pt x="103" y="40"/>
                </a:cubicBezTo>
                <a:cubicBezTo>
                  <a:pt x="103" y="40"/>
                  <a:pt x="103" y="39"/>
                  <a:pt x="103" y="40"/>
                </a:cubicBezTo>
                <a:cubicBezTo>
                  <a:pt x="102" y="39"/>
                  <a:pt x="101" y="38"/>
                  <a:pt x="100" y="37"/>
                </a:cubicBezTo>
                <a:close/>
                <a:moveTo>
                  <a:pt x="119" y="87"/>
                </a:moveTo>
                <a:cubicBezTo>
                  <a:pt x="119" y="87"/>
                  <a:pt x="119" y="86"/>
                  <a:pt x="119" y="86"/>
                </a:cubicBezTo>
                <a:cubicBezTo>
                  <a:pt x="118" y="86"/>
                  <a:pt x="118" y="86"/>
                  <a:pt x="117" y="86"/>
                </a:cubicBezTo>
                <a:cubicBezTo>
                  <a:pt x="116" y="84"/>
                  <a:pt x="110" y="85"/>
                  <a:pt x="109" y="87"/>
                </a:cubicBezTo>
                <a:cubicBezTo>
                  <a:pt x="105" y="88"/>
                  <a:pt x="101" y="87"/>
                  <a:pt x="100" y="84"/>
                </a:cubicBezTo>
                <a:cubicBezTo>
                  <a:pt x="101" y="84"/>
                  <a:pt x="101" y="83"/>
                  <a:pt x="101" y="83"/>
                </a:cubicBezTo>
                <a:cubicBezTo>
                  <a:pt x="101" y="82"/>
                  <a:pt x="101" y="82"/>
                  <a:pt x="102" y="81"/>
                </a:cubicBezTo>
                <a:cubicBezTo>
                  <a:pt x="102" y="82"/>
                  <a:pt x="102" y="82"/>
                  <a:pt x="102" y="81"/>
                </a:cubicBezTo>
                <a:cubicBezTo>
                  <a:pt x="102" y="79"/>
                  <a:pt x="103" y="79"/>
                  <a:pt x="103" y="77"/>
                </a:cubicBezTo>
                <a:cubicBezTo>
                  <a:pt x="103" y="77"/>
                  <a:pt x="103" y="78"/>
                  <a:pt x="103" y="78"/>
                </a:cubicBezTo>
                <a:cubicBezTo>
                  <a:pt x="103" y="78"/>
                  <a:pt x="104" y="78"/>
                  <a:pt x="104" y="78"/>
                </a:cubicBezTo>
                <a:cubicBezTo>
                  <a:pt x="104" y="77"/>
                  <a:pt x="105" y="76"/>
                  <a:pt x="104" y="76"/>
                </a:cubicBezTo>
                <a:cubicBezTo>
                  <a:pt x="105" y="76"/>
                  <a:pt x="106" y="75"/>
                  <a:pt x="106" y="73"/>
                </a:cubicBezTo>
                <a:cubicBezTo>
                  <a:pt x="107" y="73"/>
                  <a:pt x="107" y="73"/>
                  <a:pt x="107" y="73"/>
                </a:cubicBezTo>
                <a:cubicBezTo>
                  <a:pt x="108" y="74"/>
                  <a:pt x="108" y="74"/>
                  <a:pt x="109" y="74"/>
                </a:cubicBezTo>
                <a:cubicBezTo>
                  <a:pt x="108" y="74"/>
                  <a:pt x="108" y="74"/>
                  <a:pt x="108" y="74"/>
                </a:cubicBezTo>
                <a:cubicBezTo>
                  <a:pt x="108" y="74"/>
                  <a:pt x="109" y="74"/>
                  <a:pt x="109" y="74"/>
                </a:cubicBezTo>
                <a:cubicBezTo>
                  <a:pt x="108" y="75"/>
                  <a:pt x="112" y="74"/>
                  <a:pt x="112" y="74"/>
                </a:cubicBezTo>
                <a:cubicBezTo>
                  <a:pt x="112" y="75"/>
                  <a:pt x="112" y="75"/>
                  <a:pt x="112" y="75"/>
                </a:cubicBezTo>
                <a:cubicBezTo>
                  <a:pt x="112" y="75"/>
                  <a:pt x="110" y="75"/>
                  <a:pt x="110" y="76"/>
                </a:cubicBezTo>
                <a:cubicBezTo>
                  <a:pt x="111" y="76"/>
                  <a:pt x="111" y="77"/>
                  <a:pt x="112" y="77"/>
                </a:cubicBezTo>
                <a:cubicBezTo>
                  <a:pt x="113" y="77"/>
                  <a:pt x="112" y="78"/>
                  <a:pt x="112" y="78"/>
                </a:cubicBezTo>
                <a:cubicBezTo>
                  <a:pt x="113" y="80"/>
                  <a:pt x="114" y="77"/>
                  <a:pt x="116" y="78"/>
                </a:cubicBezTo>
                <a:cubicBezTo>
                  <a:pt x="116" y="77"/>
                  <a:pt x="116" y="77"/>
                  <a:pt x="116" y="77"/>
                </a:cubicBezTo>
                <a:cubicBezTo>
                  <a:pt x="117" y="77"/>
                  <a:pt x="118" y="77"/>
                  <a:pt x="118" y="77"/>
                </a:cubicBezTo>
                <a:cubicBezTo>
                  <a:pt x="118" y="77"/>
                  <a:pt x="118" y="77"/>
                  <a:pt x="119" y="76"/>
                </a:cubicBezTo>
                <a:cubicBezTo>
                  <a:pt x="118" y="76"/>
                  <a:pt x="117" y="77"/>
                  <a:pt x="117" y="76"/>
                </a:cubicBezTo>
                <a:cubicBezTo>
                  <a:pt x="117" y="77"/>
                  <a:pt x="116" y="76"/>
                  <a:pt x="115" y="76"/>
                </a:cubicBezTo>
                <a:cubicBezTo>
                  <a:pt x="116" y="75"/>
                  <a:pt x="114" y="76"/>
                  <a:pt x="114" y="74"/>
                </a:cubicBezTo>
                <a:cubicBezTo>
                  <a:pt x="115" y="75"/>
                  <a:pt x="115" y="75"/>
                  <a:pt x="115" y="75"/>
                </a:cubicBezTo>
                <a:cubicBezTo>
                  <a:pt x="115" y="75"/>
                  <a:pt x="114" y="75"/>
                  <a:pt x="115" y="74"/>
                </a:cubicBezTo>
                <a:cubicBezTo>
                  <a:pt x="118" y="73"/>
                  <a:pt x="119" y="72"/>
                  <a:pt x="123" y="72"/>
                </a:cubicBezTo>
                <a:cubicBezTo>
                  <a:pt x="123" y="72"/>
                  <a:pt x="122" y="73"/>
                  <a:pt x="121" y="73"/>
                </a:cubicBezTo>
                <a:cubicBezTo>
                  <a:pt x="121" y="74"/>
                  <a:pt x="122" y="74"/>
                  <a:pt x="122" y="74"/>
                </a:cubicBezTo>
                <a:cubicBezTo>
                  <a:pt x="122" y="74"/>
                  <a:pt x="120" y="75"/>
                  <a:pt x="121" y="77"/>
                </a:cubicBezTo>
                <a:cubicBezTo>
                  <a:pt x="120" y="76"/>
                  <a:pt x="120" y="77"/>
                  <a:pt x="119" y="76"/>
                </a:cubicBezTo>
                <a:cubicBezTo>
                  <a:pt x="119" y="76"/>
                  <a:pt x="119" y="77"/>
                  <a:pt x="119" y="77"/>
                </a:cubicBezTo>
                <a:cubicBezTo>
                  <a:pt x="123" y="79"/>
                  <a:pt x="126" y="81"/>
                  <a:pt x="130" y="83"/>
                </a:cubicBezTo>
                <a:cubicBezTo>
                  <a:pt x="133" y="90"/>
                  <a:pt x="122" y="88"/>
                  <a:pt x="119" y="87"/>
                </a:cubicBezTo>
                <a:close/>
                <a:moveTo>
                  <a:pt x="155" y="99"/>
                </a:moveTo>
                <a:cubicBezTo>
                  <a:pt x="153" y="99"/>
                  <a:pt x="152" y="98"/>
                  <a:pt x="150" y="97"/>
                </a:cubicBezTo>
                <a:cubicBezTo>
                  <a:pt x="148" y="96"/>
                  <a:pt x="147" y="96"/>
                  <a:pt x="147" y="92"/>
                </a:cubicBezTo>
                <a:cubicBezTo>
                  <a:pt x="147" y="93"/>
                  <a:pt x="147" y="93"/>
                  <a:pt x="147" y="93"/>
                </a:cubicBezTo>
                <a:cubicBezTo>
                  <a:pt x="148" y="93"/>
                  <a:pt x="147" y="92"/>
                  <a:pt x="148" y="92"/>
                </a:cubicBezTo>
                <a:cubicBezTo>
                  <a:pt x="148" y="92"/>
                  <a:pt x="148" y="91"/>
                  <a:pt x="148" y="90"/>
                </a:cubicBezTo>
                <a:cubicBezTo>
                  <a:pt x="148" y="90"/>
                  <a:pt x="149" y="89"/>
                  <a:pt x="150" y="90"/>
                </a:cubicBezTo>
                <a:cubicBezTo>
                  <a:pt x="150" y="89"/>
                  <a:pt x="149" y="89"/>
                  <a:pt x="148" y="89"/>
                </a:cubicBezTo>
                <a:cubicBezTo>
                  <a:pt x="146" y="86"/>
                  <a:pt x="142" y="85"/>
                  <a:pt x="142" y="80"/>
                </a:cubicBezTo>
                <a:cubicBezTo>
                  <a:pt x="142" y="80"/>
                  <a:pt x="140" y="79"/>
                  <a:pt x="140" y="78"/>
                </a:cubicBezTo>
                <a:cubicBezTo>
                  <a:pt x="141" y="78"/>
                  <a:pt x="141" y="77"/>
                  <a:pt x="141" y="76"/>
                </a:cubicBezTo>
                <a:cubicBezTo>
                  <a:pt x="142" y="76"/>
                  <a:pt x="143" y="75"/>
                  <a:pt x="144" y="75"/>
                </a:cubicBezTo>
                <a:cubicBezTo>
                  <a:pt x="144" y="75"/>
                  <a:pt x="143" y="75"/>
                  <a:pt x="143" y="74"/>
                </a:cubicBezTo>
                <a:cubicBezTo>
                  <a:pt x="145" y="73"/>
                  <a:pt x="146" y="73"/>
                  <a:pt x="148" y="72"/>
                </a:cubicBezTo>
                <a:cubicBezTo>
                  <a:pt x="149" y="72"/>
                  <a:pt x="149" y="72"/>
                  <a:pt x="150" y="73"/>
                </a:cubicBezTo>
                <a:cubicBezTo>
                  <a:pt x="154" y="70"/>
                  <a:pt x="151" y="78"/>
                  <a:pt x="155" y="76"/>
                </a:cubicBezTo>
                <a:cubicBezTo>
                  <a:pt x="155" y="76"/>
                  <a:pt x="155" y="77"/>
                  <a:pt x="156" y="77"/>
                </a:cubicBezTo>
                <a:cubicBezTo>
                  <a:pt x="155" y="77"/>
                  <a:pt x="155" y="77"/>
                  <a:pt x="155" y="77"/>
                </a:cubicBezTo>
                <a:cubicBezTo>
                  <a:pt x="155" y="77"/>
                  <a:pt x="155" y="77"/>
                  <a:pt x="155" y="77"/>
                </a:cubicBezTo>
                <a:cubicBezTo>
                  <a:pt x="153" y="77"/>
                  <a:pt x="149" y="75"/>
                  <a:pt x="149" y="77"/>
                </a:cubicBezTo>
                <a:cubicBezTo>
                  <a:pt x="149" y="78"/>
                  <a:pt x="149" y="78"/>
                  <a:pt x="150" y="78"/>
                </a:cubicBezTo>
                <a:cubicBezTo>
                  <a:pt x="149" y="79"/>
                  <a:pt x="148" y="78"/>
                  <a:pt x="147" y="78"/>
                </a:cubicBezTo>
                <a:cubicBezTo>
                  <a:pt x="147" y="79"/>
                  <a:pt x="148" y="79"/>
                  <a:pt x="149" y="79"/>
                </a:cubicBezTo>
                <a:cubicBezTo>
                  <a:pt x="149" y="80"/>
                  <a:pt x="150" y="81"/>
                  <a:pt x="150" y="82"/>
                </a:cubicBezTo>
                <a:cubicBezTo>
                  <a:pt x="151" y="82"/>
                  <a:pt x="151" y="83"/>
                  <a:pt x="152" y="83"/>
                </a:cubicBezTo>
                <a:cubicBezTo>
                  <a:pt x="152" y="83"/>
                  <a:pt x="153" y="83"/>
                  <a:pt x="153" y="83"/>
                </a:cubicBezTo>
                <a:cubicBezTo>
                  <a:pt x="153" y="86"/>
                  <a:pt x="155" y="88"/>
                  <a:pt x="155" y="91"/>
                </a:cubicBezTo>
                <a:cubicBezTo>
                  <a:pt x="155" y="90"/>
                  <a:pt x="156" y="90"/>
                  <a:pt x="156" y="90"/>
                </a:cubicBezTo>
                <a:cubicBezTo>
                  <a:pt x="156" y="91"/>
                  <a:pt x="157" y="91"/>
                  <a:pt x="157" y="91"/>
                </a:cubicBezTo>
                <a:cubicBezTo>
                  <a:pt x="156" y="91"/>
                  <a:pt x="156" y="91"/>
                  <a:pt x="156" y="91"/>
                </a:cubicBezTo>
                <a:cubicBezTo>
                  <a:pt x="156" y="91"/>
                  <a:pt x="156" y="92"/>
                  <a:pt x="156" y="92"/>
                </a:cubicBezTo>
                <a:cubicBezTo>
                  <a:pt x="156" y="92"/>
                  <a:pt x="156" y="92"/>
                  <a:pt x="157" y="92"/>
                </a:cubicBezTo>
                <a:cubicBezTo>
                  <a:pt x="157" y="92"/>
                  <a:pt x="157" y="93"/>
                  <a:pt x="158" y="93"/>
                </a:cubicBezTo>
                <a:cubicBezTo>
                  <a:pt x="158" y="95"/>
                  <a:pt x="158" y="97"/>
                  <a:pt x="159" y="98"/>
                </a:cubicBezTo>
                <a:cubicBezTo>
                  <a:pt x="157" y="98"/>
                  <a:pt x="156" y="99"/>
                  <a:pt x="155" y="99"/>
                </a:cubicBezTo>
                <a:close/>
                <a:moveTo>
                  <a:pt x="254" y="57"/>
                </a:moveTo>
                <a:cubicBezTo>
                  <a:pt x="255" y="56"/>
                  <a:pt x="256" y="52"/>
                  <a:pt x="255" y="50"/>
                </a:cubicBezTo>
                <a:cubicBezTo>
                  <a:pt x="256" y="50"/>
                  <a:pt x="256" y="50"/>
                  <a:pt x="256" y="50"/>
                </a:cubicBezTo>
                <a:cubicBezTo>
                  <a:pt x="256" y="51"/>
                  <a:pt x="259" y="56"/>
                  <a:pt x="257" y="55"/>
                </a:cubicBezTo>
                <a:cubicBezTo>
                  <a:pt x="257" y="55"/>
                  <a:pt x="257" y="55"/>
                  <a:pt x="257" y="56"/>
                </a:cubicBezTo>
                <a:cubicBezTo>
                  <a:pt x="257" y="56"/>
                  <a:pt x="258" y="55"/>
                  <a:pt x="258" y="56"/>
                </a:cubicBezTo>
                <a:cubicBezTo>
                  <a:pt x="257" y="56"/>
                  <a:pt x="257" y="57"/>
                  <a:pt x="257" y="57"/>
                </a:cubicBezTo>
                <a:cubicBezTo>
                  <a:pt x="256" y="58"/>
                  <a:pt x="255" y="58"/>
                  <a:pt x="255" y="59"/>
                </a:cubicBezTo>
                <a:cubicBezTo>
                  <a:pt x="254" y="59"/>
                  <a:pt x="254" y="59"/>
                  <a:pt x="254" y="59"/>
                </a:cubicBezTo>
                <a:cubicBezTo>
                  <a:pt x="254" y="59"/>
                  <a:pt x="255" y="59"/>
                  <a:pt x="254" y="60"/>
                </a:cubicBezTo>
                <a:cubicBezTo>
                  <a:pt x="253" y="61"/>
                  <a:pt x="252" y="61"/>
                  <a:pt x="250" y="60"/>
                </a:cubicBezTo>
                <a:cubicBezTo>
                  <a:pt x="252" y="60"/>
                  <a:pt x="253" y="59"/>
                  <a:pt x="254" y="57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92" name="Freeform 67"/>
          <p:cNvSpPr>
            <a:spLocks/>
          </p:cNvSpPr>
          <p:nvPr/>
        </p:nvSpPr>
        <p:spPr bwMode="auto">
          <a:xfrm>
            <a:off x="4694238" y="4762500"/>
            <a:ext cx="60325" cy="39688"/>
          </a:xfrm>
          <a:custGeom>
            <a:avLst/>
            <a:gdLst>
              <a:gd name="T0" fmla="*/ 5 w 22"/>
              <a:gd name="T1" fmla="*/ 13 h 15"/>
              <a:gd name="T2" fmla="*/ 4 w 22"/>
              <a:gd name="T3" fmla="*/ 13 h 15"/>
              <a:gd name="T4" fmla="*/ 4 w 22"/>
              <a:gd name="T5" fmla="*/ 14 h 15"/>
              <a:gd name="T6" fmla="*/ 6 w 22"/>
              <a:gd name="T7" fmla="*/ 14 h 15"/>
              <a:gd name="T8" fmla="*/ 11 w 22"/>
              <a:gd name="T9" fmla="*/ 14 h 15"/>
              <a:gd name="T10" fmla="*/ 9 w 22"/>
              <a:gd name="T11" fmla="*/ 7 h 15"/>
              <a:gd name="T12" fmla="*/ 8 w 22"/>
              <a:gd name="T13" fmla="*/ 7 h 15"/>
              <a:gd name="T14" fmla="*/ 9 w 22"/>
              <a:gd name="T15" fmla="*/ 6 h 15"/>
              <a:gd name="T16" fmla="*/ 9 w 22"/>
              <a:gd name="T17" fmla="*/ 6 h 15"/>
              <a:gd name="T18" fmla="*/ 11 w 22"/>
              <a:gd name="T19" fmla="*/ 6 h 15"/>
              <a:gd name="T20" fmla="*/ 12 w 22"/>
              <a:gd name="T21" fmla="*/ 5 h 15"/>
              <a:gd name="T22" fmla="*/ 22 w 22"/>
              <a:gd name="T23" fmla="*/ 2 h 15"/>
              <a:gd name="T24" fmla="*/ 17 w 22"/>
              <a:gd name="T25" fmla="*/ 1 h 15"/>
              <a:gd name="T26" fmla="*/ 18 w 22"/>
              <a:gd name="T27" fmla="*/ 2 h 15"/>
              <a:gd name="T28" fmla="*/ 11 w 22"/>
              <a:gd name="T29" fmla="*/ 2 h 15"/>
              <a:gd name="T30" fmla="*/ 11 w 22"/>
              <a:gd name="T31" fmla="*/ 3 h 15"/>
              <a:gd name="T32" fmla="*/ 6 w 22"/>
              <a:gd name="T33" fmla="*/ 4 h 15"/>
              <a:gd name="T34" fmla="*/ 5 w 22"/>
              <a:gd name="T35" fmla="*/ 4 h 15"/>
              <a:gd name="T36" fmla="*/ 4 w 22"/>
              <a:gd name="T37" fmla="*/ 4 h 15"/>
              <a:gd name="T38" fmla="*/ 5 w 22"/>
              <a:gd name="T39" fmla="*/ 5 h 15"/>
              <a:gd name="T40" fmla="*/ 4 w 22"/>
              <a:gd name="T41" fmla="*/ 5 h 15"/>
              <a:gd name="T42" fmla="*/ 5 w 22"/>
              <a:gd name="T43" fmla="*/ 5 h 15"/>
              <a:gd name="T44" fmla="*/ 4 w 22"/>
              <a:gd name="T45" fmla="*/ 5 h 15"/>
              <a:gd name="T46" fmla="*/ 4 w 22"/>
              <a:gd name="T47" fmla="*/ 6 h 15"/>
              <a:gd name="T48" fmla="*/ 2 w 22"/>
              <a:gd name="T49" fmla="*/ 7 h 15"/>
              <a:gd name="T50" fmla="*/ 3 w 22"/>
              <a:gd name="T51" fmla="*/ 8 h 15"/>
              <a:gd name="T52" fmla="*/ 3 w 22"/>
              <a:gd name="T53" fmla="*/ 8 h 15"/>
              <a:gd name="T54" fmla="*/ 2 w 22"/>
              <a:gd name="T55" fmla="*/ 8 h 15"/>
              <a:gd name="T56" fmla="*/ 1 w 22"/>
              <a:gd name="T57" fmla="*/ 9 h 15"/>
              <a:gd name="T58" fmla="*/ 2 w 22"/>
              <a:gd name="T59" fmla="*/ 10 h 15"/>
              <a:gd name="T60" fmla="*/ 1 w 22"/>
              <a:gd name="T61" fmla="*/ 11 h 15"/>
              <a:gd name="T62" fmla="*/ 0 w 22"/>
              <a:gd name="T63" fmla="*/ 11 h 15"/>
              <a:gd name="T64" fmla="*/ 5 w 22"/>
              <a:gd name="T65" fmla="*/ 13 h 1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2"/>
              <a:gd name="T100" fmla="*/ 0 h 15"/>
              <a:gd name="T101" fmla="*/ 22 w 22"/>
              <a:gd name="T102" fmla="*/ 15 h 1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2" h="15">
                <a:moveTo>
                  <a:pt x="5" y="13"/>
                </a:moveTo>
                <a:cubicBezTo>
                  <a:pt x="4" y="13"/>
                  <a:pt x="4" y="13"/>
                  <a:pt x="4" y="13"/>
                </a:cubicBezTo>
                <a:cubicBezTo>
                  <a:pt x="5" y="13"/>
                  <a:pt x="4" y="14"/>
                  <a:pt x="4" y="14"/>
                </a:cubicBezTo>
                <a:cubicBezTo>
                  <a:pt x="5" y="14"/>
                  <a:pt x="6" y="14"/>
                  <a:pt x="6" y="14"/>
                </a:cubicBezTo>
                <a:cubicBezTo>
                  <a:pt x="7" y="14"/>
                  <a:pt x="10" y="15"/>
                  <a:pt x="11" y="14"/>
                </a:cubicBezTo>
                <a:cubicBezTo>
                  <a:pt x="7" y="13"/>
                  <a:pt x="4" y="10"/>
                  <a:pt x="9" y="7"/>
                </a:cubicBezTo>
                <a:cubicBezTo>
                  <a:pt x="9" y="7"/>
                  <a:pt x="8" y="7"/>
                  <a:pt x="8" y="7"/>
                </a:cubicBezTo>
                <a:cubicBezTo>
                  <a:pt x="9" y="6"/>
                  <a:pt x="9" y="6"/>
                  <a:pt x="9" y="6"/>
                </a:cubicBezTo>
                <a:cubicBezTo>
                  <a:pt x="9" y="6"/>
                  <a:pt x="9" y="6"/>
                  <a:pt x="9" y="6"/>
                </a:cubicBezTo>
                <a:cubicBezTo>
                  <a:pt x="10" y="6"/>
                  <a:pt x="10" y="5"/>
                  <a:pt x="11" y="6"/>
                </a:cubicBezTo>
                <a:cubicBezTo>
                  <a:pt x="11" y="5"/>
                  <a:pt x="11" y="5"/>
                  <a:pt x="12" y="5"/>
                </a:cubicBezTo>
                <a:cubicBezTo>
                  <a:pt x="14" y="3"/>
                  <a:pt x="20" y="4"/>
                  <a:pt x="22" y="2"/>
                </a:cubicBezTo>
                <a:cubicBezTo>
                  <a:pt x="21" y="0"/>
                  <a:pt x="19" y="1"/>
                  <a:pt x="17" y="1"/>
                </a:cubicBezTo>
                <a:cubicBezTo>
                  <a:pt x="18" y="2"/>
                  <a:pt x="18" y="2"/>
                  <a:pt x="18" y="2"/>
                </a:cubicBezTo>
                <a:cubicBezTo>
                  <a:pt x="16" y="2"/>
                  <a:pt x="13" y="3"/>
                  <a:pt x="11" y="2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3"/>
                  <a:pt x="6" y="3"/>
                  <a:pt x="6" y="4"/>
                </a:cubicBezTo>
                <a:cubicBezTo>
                  <a:pt x="6" y="4"/>
                  <a:pt x="5" y="4"/>
                  <a:pt x="5" y="4"/>
                </a:cubicBezTo>
                <a:cubicBezTo>
                  <a:pt x="5" y="5"/>
                  <a:pt x="4" y="4"/>
                  <a:pt x="4" y="4"/>
                </a:cubicBezTo>
                <a:cubicBezTo>
                  <a:pt x="4" y="5"/>
                  <a:pt x="5" y="5"/>
                  <a:pt x="5" y="5"/>
                </a:cubicBezTo>
                <a:cubicBezTo>
                  <a:pt x="4" y="5"/>
                  <a:pt x="4" y="5"/>
                  <a:pt x="4" y="5"/>
                </a:cubicBezTo>
                <a:cubicBezTo>
                  <a:pt x="5" y="5"/>
                  <a:pt x="5" y="5"/>
                  <a:pt x="5" y="5"/>
                </a:cubicBezTo>
                <a:cubicBezTo>
                  <a:pt x="5" y="5"/>
                  <a:pt x="4" y="5"/>
                  <a:pt x="4" y="5"/>
                </a:cubicBezTo>
                <a:cubicBezTo>
                  <a:pt x="4" y="6"/>
                  <a:pt x="4" y="6"/>
                  <a:pt x="4" y="6"/>
                </a:cubicBezTo>
                <a:cubicBezTo>
                  <a:pt x="3" y="6"/>
                  <a:pt x="3" y="7"/>
                  <a:pt x="2" y="7"/>
                </a:cubicBezTo>
                <a:cubicBezTo>
                  <a:pt x="3" y="8"/>
                  <a:pt x="3" y="8"/>
                  <a:pt x="3" y="8"/>
                </a:cubicBezTo>
                <a:cubicBezTo>
                  <a:pt x="3" y="8"/>
                  <a:pt x="3" y="8"/>
                  <a:pt x="3" y="8"/>
                </a:cubicBezTo>
                <a:cubicBezTo>
                  <a:pt x="3" y="8"/>
                  <a:pt x="2" y="9"/>
                  <a:pt x="2" y="8"/>
                </a:cubicBezTo>
                <a:cubicBezTo>
                  <a:pt x="2" y="9"/>
                  <a:pt x="2" y="9"/>
                  <a:pt x="1" y="9"/>
                </a:cubicBezTo>
                <a:cubicBezTo>
                  <a:pt x="1" y="10"/>
                  <a:pt x="2" y="10"/>
                  <a:pt x="2" y="10"/>
                </a:cubicBezTo>
                <a:cubicBezTo>
                  <a:pt x="1" y="11"/>
                  <a:pt x="1" y="11"/>
                  <a:pt x="1" y="11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14"/>
                  <a:pt x="3" y="11"/>
                  <a:pt x="5" y="13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93" name="Freeform 68"/>
          <p:cNvSpPr>
            <a:spLocks/>
          </p:cNvSpPr>
          <p:nvPr/>
        </p:nvSpPr>
        <p:spPr bwMode="auto">
          <a:xfrm>
            <a:off x="3914775" y="5126038"/>
            <a:ext cx="65088" cy="28575"/>
          </a:xfrm>
          <a:custGeom>
            <a:avLst/>
            <a:gdLst>
              <a:gd name="T0" fmla="*/ 21 w 24"/>
              <a:gd name="T1" fmla="*/ 7 h 10"/>
              <a:gd name="T2" fmla="*/ 21 w 24"/>
              <a:gd name="T3" fmla="*/ 6 h 10"/>
              <a:gd name="T4" fmla="*/ 15 w 24"/>
              <a:gd name="T5" fmla="*/ 2 h 10"/>
              <a:gd name="T6" fmla="*/ 17 w 24"/>
              <a:gd name="T7" fmla="*/ 4 h 10"/>
              <a:gd name="T8" fmla="*/ 13 w 24"/>
              <a:gd name="T9" fmla="*/ 3 h 10"/>
              <a:gd name="T10" fmla="*/ 10 w 24"/>
              <a:gd name="T11" fmla="*/ 1 h 10"/>
              <a:gd name="T12" fmla="*/ 2 w 24"/>
              <a:gd name="T13" fmla="*/ 3 h 10"/>
              <a:gd name="T14" fmla="*/ 0 w 24"/>
              <a:gd name="T15" fmla="*/ 4 h 10"/>
              <a:gd name="T16" fmla="*/ 1 w 24"/>
              <a:gd name="T17" fmla="*/ 4 h 10"/>
              <a:gd name="T18" fmla="*/ 1 w 24"/>
              <a:gd name="T19" fmla="*/ 4 h 10"/>
              <a:gd name="T20" fmla="*/ 8 w 24"/>
              <a:gd name="T21" fmla="*/ 2 h 10"/>
              <a:gd name="T22" fmla="*/ 7 w 24"/>
              <a:gd name="T23" fmla="*/ 2 h 10"/>
              <a:gd name="T24" fmla="*/ 9 w 24"/>
              <a:gd name="T25" fmla="*/ 3 h 10"/>
              <a:gd name="T26" fmla="*/ 14 w 24"/>
              <a:gd name="T27" fmla="*/ 5 h 10"/>
              <a:gd name="T28" fmla="*/ 17 w 24"/>
              <a:gd name="T29" fmla="*/ 7 h 10"/>
              <a:gd name="T30" fmla="*/ 16 w 24"/>
              <a:gd name="T31" fmla="*/ 9 h 10"/>
              <a:gd name="T32" fmla="*/ 24 w 24"/>
              <a:gd name="T33" fmla="*/ 8 h 10"/>
              <a:gd name="T34" fmla="*/ 21 w 24"/>
              <a:gd name="T35" fmla="*/ 7 h 1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24"/>
              <a:gd name="T55" fmla="*/ 0 h 10"/>
              <a:gd name="T56" fmla="*/ 24 w 24"/>
              <a:gd name="T57" fmla="*/ 10 h 1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24" h="10">
                <a:moveTo>
                  <a:pt x="21" y="7"/>
                </a:moveTo>
                <a:cubicBezTo>
                  <a:pt x="21" y="7"/>
                  <a:pt x="21" y="7"/>
                  <a:pt x="21" y="6"/>
                </a:cubicBezTo>
                <a:cubicBezTo>
                  <a:pt x="18" y="6"/>
                  <a:pt x="17" y="3"/>
                  <a:pt x="15" y="2"/>
                </a:cubicBezTo>
                <a:cubicBezTo>
                  <a:pt x="16" y="3"/>
                  <a:pt x="17" y="4"/>
                  <a:pt x="17" y="4"/>
                </a:cubicBezTo>
                <a:cubicBezTo>
                  <a:pt x="16" y="4"/>
                  <a:pt x="15" y="2"/>
                  <a:pt x="13" y="3"/>
                </a:cubicBezTo>
                <a:cubicBezTo>
                  <a:pt x="13" y="1"/>
                  <a:pt x="11" y="1"/>
                  <a:pt x="10" y="1"/>
                </a:cubicBezTo>
                <a:cubicBezTo>
                  <a:pt x="8" y="1"/>
                  <a:pt x="2" y="0"/>
                  <a:pt x="2" y="3"/>
                </a:cubicBezTo>
                <a:cubicBezTo>
                  <a:pt x="1" y="4"/>
                  <a:pt x="0" y="4"/>
                  <a:pt x="0" y="4"/>
                </a:cubicBezTo>
                <a:cubicBezTo>
                  <a:pt x="1" y="4"/>
                  <a:pt x="1" y="4"/>
                  <a:pt x="1" y="4"/>
                </a:cubicBezTo>
                <a:cubicBezTo>
                  <a:pt x="1" y="4"/>
                  <a:pt x="1" y="4"/>
                  <a:pt x="1" y="4"/>
                </a:cubicBezTo>
                <a:cubicBezTo>
                  <a:pt x="3" y="4"/>
                  <a:pt x="5" y="1"/>
                  <a:pt x="8" y="2"/>
                </a:cubicBezTo>
                <a:cubicBezTo>
                  <a:pt x="8" y="3"/>
                  <a:pt x="7" y="2"/>
                  <a:pt x="7" y="2"/>
                </a:cubicBezTo>
                <a:cubicBezTo>
                  <a:pt x="7" y="3"/>
                  <a:pt x="9" y="4"/>
                  <a:pt x="9" y="3"/>
                </a:cubicBezTo>
                <a:cubicBezTo>
                  <a:pt x="11" y="4"/>
                  <a:pt x="12" y="5"/>
                  <a:pt x="14" y="5"/>
                </a:cubicBezTo>
                <a:cubicBezTo>
                  <a:pt x="14" y="6"/>
                  <a:pt x="15" y="8"/>
                  <a:pt x="17" y="7"/>
                </a:cubicBezTo>
                <a:cubicBezTo>
                  <a:pt x="18" y="8"/>
                  <a:pt x="16" y="8"/>
                  <a:pt x="16" y="9"/>
                </a:cubicBezTo>
                <a:cubicBezTo>
                  <a:pt x="19" y="9"/>
                  <a:pt x="22" y="10"/>
                  <a:pt x="24" y="8"/>
                </a:cubicBezTo>
                <a:cubicBezTo>
                  <a:pt x="23" y="8"/>
                  <a:pt x="22" y="7"/>
                  <a:pt x="21" y="7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94" name="Freeform 69"/>
          <p:cNvSpPr>
            <a:spLocks/>
          </p:cNvSpPr>
          <p:nvPr/>
        </p:nvSpPr>
        <p:spPr bwMode="auto">
          <a:xfrm>
            <a:off x="4029075" y="4827588"/>
            <a:ext cx="36513" cy="19050"/>
          </a:xfrm>
          <a:custGeom>
            <a:avLst/>
            <a:gdLst>
              <a:gd name="T0" fmla="*/ 11 w 13"/>
              <a:gd name="T1" fmla="*/ 5 h 7"/>
              <a:gd name="T2" fmla="*/ 9 w 13"/>
              <a:gd name="T3" fmla="*/ 2 h 7"/>
              <a:gd name="T4" fmla="*/ 8 w 13"/>
              <a:gd name="T5" fmla="*/ 2 h 7"/>
              <a:gd name="T6" fmla="*/ 8 w 13"/>
              <a:gd name="T7" fmla="*/ 1 h 7"/>
              <a:gd name="T8" fmla="*/ 9 w 13"/>
              <a:gd name="T9" fmla="*/ 0 h 7"/>
              <a:gd name="T10" fmla="*/ 7 w 13"/>
              <a:gd name="T11" fmla="*/ 1 h 7"/>
              <a:gd name="T12" fmla="*/ 3 w 13"/>
              <a:gd name="T13" fmla="*/ 5 h 7"/>
              <a:gd name="T14" fmla="*/ 0 w 13"/>
              <a:gd name="T15" fmla="*/ 6 h 7"/>
              <a:gd name="T16" fmla="*/ 3 w 13"/>
              <a:gd name="T17" fmla="*/ 6 h 7"/>
              <a:gd name="T18" fmla="*/ 2 w 13"/>
              <a:gd name="T19" fmla="*/ 7 h 7"/>
              <a:gd name="T20" fmla="*/ 8 w 13"/>
              <a:gd name="T21" fmla="*/ 5 h 7"/>
              <a:gd name="T22" fmla="*/ 8 w 13"/>
              <a:gd name="T23" fmla="*/ 5 h 7"/>
              <a:gd name="T24" fmla="*/ 9 w 13"/>
              <a:gd name="T25" fmla="*/ 5 h 7"/>
              <a:gd name="T26" fmla="*/ 9 w 13"/>
              <a:gd name="T27" fmla="*/ 6 h 7"/>
              <a:gd name="T28" fmla="*/ 11 w 13"/>
              <a:gd name="T29" fmla="*/ 7 h 7"/>
              <a:gd name="T30" fmla="*/ 13 w 13"/>
              <a:gd name="T31" fmla="*/ 6 h 7"/>
              <a:gd name="T32" fmla="*/ 12 w 13"/>
              <a:gd name="T33" fmla="*/ 5 h 7"/>
              <a:gd name="T34" fmla="*/ 11 w 13"/>
              <a:gd name="T35" fmla="*/ 5 h 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3"/>
              <a:gd name="T55" fmla="*/ 0 h 7"/>
              <a:gd name="T56" fmla="*/ 13 w 13"/>
              <a:gd name="T57" fmla="*/ 7 h 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3" h="7">
                <a:moveTo>
                  <a:pt x="11" y="5"/>
                </a:moveTo>
                <a:cubicBezTo>
                  <a:pt x="13" y="4"/>
                  <a:pt x="10" y="3"/>
                  <a:pt x="9" y="2"/>
                </a:cubicBezTo>
                <a:cubicBezTo>
                  <a:pt x="8" y="2"/>
                  <a:pt x="8" y="2"/>
                  <a:pt x="8" y="2"/>
                </a:cubicBezTo>
                <a:cubicBezTo>
                  <a:pt x="9" y="2"/>
                  <a:pt x="8" y="2"/>
                  <a:pt x="8" y="1"/>
                </a:cubicBezTo>
                <a:cubicBezTo>
                  <a:pt x="9" y="1"/>
                  <a:pt x="9" y="1"/>
                  <a:pt x="9" y="0"/>
                </a:cubicBezTo>
                <a:cubicBezTo>
                  <a:pt x="8" y="0"/>
                  <a:pt x="8" y="1"/>
                  <a:pt x="7" y="1"/>
                </a:cubicBezTo>
                <a:cubicBezTo>
                  <a:pt x="5" y="2"/>
                  <a:pt x="4" y="3"/>
                  <a:pt x="3" y="5"/>
                </a:cubicBezTo>
                <a:cubicBezTo>
                  <a:pt x="2" y="5"/>
                  <a:pt x="0" y="5"/>
                  <a:pt x="0" y="6"/>
                </a:cubicBezTo>
                <a:cubicBezTo>
                  <a:pt x="1" y="6"/>
                  <a:pt x="2" y="6"/>
                  <a:pt x="3" y="6"/>
                </a:cubicBezTo>
                <a:cubicBezTo>
                  <a:pt x="3" y="7"/>
                  <a:pt x="2" y="7"/>
                  <a:pt x="2" y="7"/>
                </a:cubicBezTo>
                <a:cubicBezTo>
                  <a:pt x="5" y="7"/>
                  <a:pt x="6" y="5"/>
                  <a:pt x="8" y="5"/>
                </a:cubicBezTo>
                <a:cubicBezTo>
                  <a:pt x="8" y="5"/>
                  <a:pt x="8" y="5"/>
                  <a:pt x="8" y="5"/>
                </a:cubicBezTo>
                <a:cubicBezTo>
                  <a:pt x="8" y="5"/>
                  <a:pt x="9" y="5"/>
                  <a:pt x="9" y="5"/>
                </a:cubicBezTo>
                <a:cubicBezTo>
                  <a:pt x="9" y="5"/>
                  <a:pt x="9" y="6"/>
                  <a:pt x="9" y="6"/>
                </a:cubicBezTo>
                <a:cubicBezTo>
                  <a:pt x="10" y="6"/>
                  <a:pt x="10" y="6"/>
                  <a:pt x="11" y="7"/>
                </a:cubicBezTo>
                <a:cubicBezTo>
                  <a:pt x="12" y="6"/>
                  <a:pt x="12" y="6"/>
                  <a:pt x="13" y="6"/>
                </a:cubicBezTo>
                <a:cubicBezTo>
                  <a:pt x="13" y="5"/>
                  <a:pt x="13" y="5"/>
                  <a:pt x="12" y="5"/>
                </a:cubicBezTo>
                <a:cubicBezTo>
                  <a:pt x="12" y="5"/>
                  <a:pt x="11" y="5"/>
                  <a:pt x="11" y="5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95" name="Freeform 70"/>
          <p:cNvSpPr>
            <a:spLocks/>
          </p:cNvSpPr>
          <p:nvPr/>
        </p:nvSpPr>
        <p:spPr bwMode="auto">
          <a:xfrm>
            <a:off x="3978275" y="5148263"/>
            <a:ext cx="36513" cy="19050"/>
          </a:xfrm>
          <a:custGeom>
            <a:avLst/>
            <a:gdLst>
              <a:gd name="T0" fmla="*/ 11 w 14"/>
              <a:gd name="T1" fmla="*/ 3 h 7"/>
              <a:gd name="T2" fmla="*/ 12 w 14"/>
              <a:gd name="T3" fmla="*/ 3 h 7"/>
              <a:gd name="T4" fmla="*/ 11 w 14"/>
              <a:gd name="T5" fmla="*/ 3 h 7"/>
              <a:gd name="T6" fmla="*/ 11 w 14"/>
              <a:gd name="T7" fmla="*/ 2 h 7"/>
              <a:gd name="T8" fmla="*/ 7 w 14"/>
              <a:gd name="T9" fmla="*/ 1 h 7"/>
              <a:gd name="T10" fmla="*/ 3 w 14"/>
              <a:gd name="T11" fmla="*/ 2 h 7"/>
              <a:gd name="T12" fmla="*/ 4 w 14"/>
              <a:gd name="T13" fmla="*/ 3 h 7"/>
              <a:gd name="T14" fmla="*/ 4 w 14"/>
              <a:gd name="T15" fmla="*/ 3 h 7"/>
              <a:gd name="T16" fmla="*/ 5 w 14"/>
              <a:gd name="T17" fmla="*/ 5 h 7"/>
              <a:gd name="T18" fmla="*/ 0 w 14"/>
              <a:gd name="T19" fmla="*/ 4 h 7"/>
              <a:gd name="T20" fmla="*/ 0 w 14"/>
              <a:gd name="T21" fmla="*/ 5 h 7"/>
              <a:gd name="T22" fmla="*/ 1 w 14"/>
              <a:gd name="T23" fmla="*/ 6 h 7"/>
              <a:gd name="T24" fmla="*/ 6 w 14"/>
              <a:gd name="T25" fmla="*/ 7 h 7"/>
              <a:gd name="T26" fmla="*/ 8 w 14"/>
              <a:gd name="T27" fmla="*/ 5 h 7"/>
              <a:gd name="T28" fmla="*/ 9 w 14"/>
              <a:gd name="T29" fmla="*/ 5 h 7"/>
              <a:gd name="T30" fmla="*/ 9 w 14"/>
              <a:gd name="T31" fmla="*/ 6 h 7"/>
              <a:gd name="T32" fmla="*/ 13 w 14"/>
              <a:gd name="T33" fmla="*/ 5 h 7"/>
              <a:gd name="T34" fmla="*/ 13 w 14"/>
              <a:gd name="T35" fmla="*/ 6 h 7"/>
              <a:gd name="T36" fmla="*/ 14 w 14"/>
              <a:gd name="T37" fmla="*/ 5 h 7"/>
              <a:gd name="T38" fmla="*/ 11 w 14"/>
              <a:gd name="T39" fmla="*/ 3 h 7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4"/>
              <a:gd name="T61" fmla="*/ 0 h 7"/>
              <a:gd name="T62" fmla="*/ 14 w 14"/>
              <a:gd name="T63" fmla="*/ 7 h 7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4" h="7">
                <a:moveTo>
                  <a:pt x="11" y="3"/>
                </a:moveTo>
                <a:cubicBezTo>
                  <a:pt x="12" y="3"/>
                  <a:pt x="13" y="3"/>
                  <a:pt x="12" y="3"/>
                </a:cubicBezTo>
                <a:cubicBezTo>
                  <a:pt x="12" y="3"/>
                  <a:pt x="11" y="3"/>
                  <a:pt x="11" y="3"/>
                </a:cubicBezTo>
                <a:cubicBezTo>
                  <a:pt x="11" y="2"/>
                  <a:pt x="11" y="2"/>
                  <a:pt x="11" y="2"/>
                </a:cubicBezTo>
                <a:cubicBezTo>
                  <a:pt x="10" y="2"/>
                  <a:pt x="8" y="1"/>
                  <a:pt x="7" y="1"/>
                </a:cubicBezTo>
                <a:cubicBezTo>
                  <a:pt x="6" y="3"/>
                  <a:pt x="3" y="0"/>
                  <a:pt x="3" y="2"/>
                </a:cubicBezTo>
                <a:cubicBezTo>
                  <a:pt x="3" y="2"/>
                  <a:pt x="4" y="2"/>
                  <a:pt x="4" y="3"/>
                </a:cubicBezTo>
                <a:cubicBezTo>
                  <a:pt x="4" y="3"/>
                  <a:pt x="4" y="3"/>
                  <a:pt x="4" y="3"/>
                </a:cubicBezTo>
                <a:cubicBezTo>
                  <a:pt x="4" y="4"/>
                  <a:pt x="5" y="4"/>
                  <a:pt x="5" y="5"/>
                </a:cubicBezTo>
                <a:cubicBezTo>
                  <a:pt x="3" y="5"/>
                  <a:pt x="2" y="5"/>
                  <a:pt x="0" y="4"/>
                </a:cubicBezTo>
                <a:cubicBezTo>
                  <a:pt x="0" y="5"/>
                  <a:pt x="0" y="5"/>
                  <a:pt x="0" y="5"/>
                </a:cubicBezTo>
                <a:cubicBezTo>
                  <a:pt x="1" y="5"/>
                  <a:pt x="1" y="6"/>
                  <a:pt x="1" y="6"/>
                </a:cubicBezTo>
                <a:cubicBezTo>
                  <a:pt x="2" y="5"/>
                  <a:pt x="7" y="5"/>
                  <a:pt x="6" y="7"/>
                </a:cubicBezTo>
                <a:cubicBezTo>
                  <a:pt x="7" y="7"/>
                  <a:pt x="7" y="6"/>
                  <a:pt x="8" y="5"/>
                </a:cubicBezTo>
                <a:cubicBezTo>
                  <a:pt x="8" y="6"/>
                  <a:pt x="8" y="5"/>
                  <a:pt x="9" y="5"/>
                </a:cubicBezTo>
                <a:cubicBezTo>
                  <a:pt x="9" y="6"/>
                  <a:pt x="9" y="6"/>
                  <a:pt x="9" y="6"/>
                </a:cubicBezTo>
                <a:cubicBezTo>
                  <a:pt x="10" y="6"/>
                  <a:pt x="10" y="5"/>
                  <a:pt x="13" y="5"/>
                </a:cubicBezTo>
                <a:cubicBezTo>
                  <a:pt x="13" y="5"/>
                  <a:pt x="13" y="6"/>
                  <a:pt x="13" y="6"/>
                </a:cubicBezTo>
                <a:cubicBezTo>
                  <a:pt x="13" y="5"/>
                  <a:pt x="14" y="5"/>
                  <a:pt x="14" y="5"/>
                </a:cubicBezTo>
                <a:cubicBezTo>
                  <a:pt x="13" y="3"/>
                  <a:pt x="12" y="4"/>
                  <a:pt x="11" y="3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96" name="Freeform 71"/>
          <p:cNvSpPr>
            <a:spLocks/>
          </p:cNvSpPr>
          <p:nvPr/>
        </p:nvSpPr>
        <p:spPr bwMode="auto">
          <a:xfrm>
            <a:off x="4537075" y="4746625"/>
            <a:ext cx="38100" cy="7938"/>
          </a:xfrm>
          <a:custGeom>
            <a:avLst/>
            <a:gdLst>
              <a:gd name="T0" fmla="*/ 1 w 14"/>
              <a:gd name="T1" fmla="*/ 1 h 3"/>
              <a:gd name="T2" fmla="*/ 4 w 14"/>
              <a:gd name="T3" fmla="*/ 2 h 3"/>
              <a:gd name="T4" fmla="*/ 3 w 14"/>
              <a:gd name="T5" fmla="*/ 2 h 3"/>
              <a:gd name="T6" fmla="*/ 14 w 14"/>
              <a:gd name="T7" fmla="*/ 1 h 3"/>
              <a:gd name="T8" fmla="*/ 8 w 14"/>
              <a:gd name="T9" fmla="*/ 1 h 3"/>
              <a:gd name="T10" fmla="*/ 8 w 14"/>
              <a:gd name="T11" fmla="*/ 1 h 3"/>
              <a:gd name="T12" fmla="*/ 7 w 14"/>
              <a:gd name="T13" fmla="*/ 1 h 3"/>
              <a:gd name="T14" fmla="*/ 7 w 14"/>
              <a:gd name="T15" fmla="*/ 1 h 3"/>
              <a:gd name="T16" fmla="*/ 3 w 14"/>
              <a:gd name="T17" fmla="*/ 0 h 3"/>
              <a:gd name="T18" fmla="*/ 3 w 14"/>
              <a:gd name="T19" fmla="*/ 1 h 3"/>
              <a:gd name="T20" fmla="*/ 2 w 14"/>
              <a:gd name="T21" fmla="*/ 1 h 3"/>
              <a:gd name="T22" fmla="*/ 3 w 14"/>
              <a:gd name="T23" fmla="*/ 1 h 3"/>
              <a:gd name="T24" fmla="*/ 0 w 14"/>
              <a:gd name="T25" fmla="*/ 1 h 3"/>
              <a:gd name="T26" fmla="*/ 2 w 14"/>
              <a:gd name="T27" fmla="*/ 1 h 3"/>
              <a:gd name="T28" fmla="*/ 1 w 14"/>
              <a:gd name="T29" fmla="*/ 1 h 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4"/>
              <a:gd name="T46" fmla="*/ 0 h 3"/>
              <a:gd name="T47" fmla="*/ 14 w 14"/>
              <a:gd name="T48" fmla="*/ 3 h 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4" h="3">
                <a:moveTo>
                  <a:pt x="1" y="1"/>
                </a:moveTo>
                <a:cubicBezTo>
                  <a:pt x="2" y="2"/>
                  <a:pt x="3" y="2"/>
                  <a:pt x="4" y="2"/>
                </a:cubicBezTo>
                <a:cubicBezTo>
                  <a:pt x="3" y="2"/>
                  <a:pt x="3" y="2"/>
                  <a:pt x="3" y="2"/>
                </a:cubicBezTo>
                <a:cubicBezTo>
                  <a:pt x="6" y="2"/>
                  <a:pt x="11" y="3"/>
                  <a:pt x="14" y="1"/>
                </a:cubicBezTo>
                <a:cubicBezTo>
                  <a:pt x="12" y="0"/>
                  <a:pt x="10" y="1"/>
                  <a:pt x="8" y="1"/>
                </a:cubicBezTo>
                <a:cubicBezTo>
                  <a:pt x="8" y="1"/>
                  <a:pt x="8" y="1"/>
                  <a:pt x="8" y="1"/>
                </a:cubicBezTo>
                <a:cubicBezTo>
                  <a:pt x="8" y="0"/>
                  <a:pt x="7" y="0"/>
                  <a:pt x="7" y="1"/>
                </a:cubicBezTo>
                <a:cubicBezTo>
                  <a:pt x="7" y="1"/>
                  <a:pt x="7" y="1"/>
                  <a:pt x="7" y="1"/>
                </a:cubicBezTo>
                <a:cubicBezTo>
                  <a:pt x="6" y="1"/>
                  <a:pt x="4" y="1"/>
                  <a:pt x="3" y="0"/>
                </a:cubicBezTo>
                <a:cubicBezTo>
                  <a:pt x="3" y="1"/>
                  <a:pt x="3" y="0"/>
                  <a:pt x="3" y="1"/>
                </a:cubicBezTo>
                <a:cubicBezTo>
                  <a:pt x="3" y="1"/>
                  <a:pt x="2" y="0"/>
                  <a:pt x="2" y="1"/>
                </a:cubicBezTo>
                <a:cubicBezTo>
                  <a:pt x="3" y="1"/>
                  <a:pt x="3" y="1"/>
                  <a:pt x="3" y="1"/>
                </a:cubicBezTo>
                <a:cubicBezTo>
                  <a:pt x="2" y="1"/>
                  <a:pt x="1" y="1"/>
                  <a:pt x="0" y="1"/>
                </a:cubicBezTo>
                <a:cubicBezTo>
                  <a:pt x="1" y="1"/>
                  <a:pt x="1" y="1"/>
                  <a:pt x="2" y="1"/>
                </a:cubicBezTo>
                <a:lnTo>
                  <a:pt x="1" y="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97" name="Freeform 72"/>
          <p:cNvSpPr>
            <a:spLocks/>
          </p:cNvSpPr>
          <p:nvPr/>
        </p:nvSpPr>
        <p:spPr bwMode="auto">
          <a:xfrm>
            <a:off x="4510088" y="4748213"/>
            <a:ext cx="60325" cy="19050"/>
          </a:xfrm>
          <a:custGeom>
            <a:avLst/>
            <a:gdLst>
              <a:gd name="T0" fmla="*/ 2 w 22"/>
              <a:gd name="T1" fmla="*/ 2 h 7"/>
              <a:gd name="T2" fmla="*/ 1 w 22"/>
              <a:gd name="T3" fmla="*/ 2 h 7"/>
              <a:gd name="T4" fmla="*/ 6 w 22"/>
              <a:gd name="T5" fmla="*/ 3 h 7"/>
              <a:gd name="T6" fmla="*/ 6 w 22"/>
              <a:gd name="T7" fmla="*/ 3 h 7"/>
              <a:gd name="T8" fmla="*/ 6 w 22"/>
              <a:gd name="T9" fmla="*/ 3 h 7"/>
              <a:gd name="T10" fmla="*/ 9 w 22"/>
              <a:gd name="T11" fmla="*/ 3 h 7"/>
              <a:gd name="T12" fmla="*/ 9 w 22"/>
              <a:gd name="T13" fmla="*/ 3 h 7"/>
              <a:gd name="T14" fmla="*/ 4 w 22"/>
              <a:gd name="T15" fmla="*/ 4 h 7"/>
              <a:gd name="T16" fmla="*/ 6 w 22"/>
              <a:gd name="T17" fmla="*/ 5 h 7"/>
              <a:gd name="T18" fmla="*/ 5 w 22"/>
              <a:gd name="T19" fmla="*/ 5 h 7"/>
              <a:gd name="T20" fmla="*/ 8 w 22"/>
              <a:gd name="T21" fmla="*/ 6 h 7"/>
              <a:gd name="T22" fmla="*/ 10 w 22"/>
              <a:gd name="T23" fmla="*/ 7 h 7"/>
              <a:gd name="T24" fmla="*/ 10 w 22"/>
              <a:gd name="T25" fmla="*/ 6 h 7"/>
              <a:gd name="T26" fmla="*/ 12 w 22"/>
              <a:gd name="T27" fmla="*/ 5 h 7"/>
              <a:gd name="T28" fmla="*/ 12 w 22"/>
              <a:gd name="T29" fmla="*/ 4 h 7"/>
              <a:gd name="T30" fmla="*/ 13 w 22"/>
              <a:gd name="T31" fmla="*/ 4 h 7"/>
              <a:gd name="T32" fmla="*/ 13 w 22"/>
              <a:gd name="T33" fmla="*/ 3 h 7"/>
              <a:gd name="T34" fmla="*/ 16 w 22"/>
              <a:gd name="T35" fmla="*/ 3 h 7"/>
              <a:gd name="T36" fmla="*/ 14 w 22"/>
              <a:gd name="T37" fmla="*/ 3 h 7"/>
              <a:gd name="T38" fmla="*/ 17 w 22"/>
              <a:gd name="T39" fmla="*/ 4 h 7"/>
              <a:gd name="T40" fmla="*/ 16 w 22"/>
              <a:gd name="T41" fmla="*/ 5 h 7"/>
              <a:gd name="T42" fmla="*/ 18 w 22"/>
              <a:gd name="T43" fmla="*/ 5 h 7"/>
              <a:gd name="T44" fmla="*/ 18 w 22"/>
              <a:gd name="T45" fmla="*/ 5 h 7"/>
              <a:gd name="T46" fmla="*/ 22 w 22"/>
              <a:gd name="T47" fmla="*/ 4 h 7"/>
              <a:gd name="T48" fmla="*/ 19 w 22"/>
              <a:gd name="T49" fmla="*/ 4 h 7"/>
              <a:gd name="T50" fmla="*/ 19 w 22"/>
              <a:gd name="T51" fmla="*/ 4 h 7"/>
              <a:gd name="T52" fmla="*/ 17 w 22"/>
              <a:gd name="T53" fmla="*/ 3 h 7"/>
              <a:gd name="T54" fmla="*/ 16 w 22"/>
              <a:gd name="T55" fmla="*/ 3 h 7"/>
              <a:gd name="T56" fmla="*/ 16 w 22"/>
              <a:gd name="T57" fmla="*/ 2 h 7"/>
              <a:gd name="T58" fmla="*/ 12 w 22"/>
              <a:gd name="T59" fmla="*/ 1 h 7"/>
              <a:gd name="T60" fmla="*/ 11 w 22"/>
              <a:gd name="T61" fmla="*/ 1 h 7"/>
              <a:gd name="T62" fmla="*/ 11 w 22"/>
              <a:gd name="T63" fmla="*/ 1 h 7"/>
              <a:gd name="T64" fmla="*/ 8 w 22"/>
              <a:gd name="T65" fmla="*/ 0 h 7"/>
              <a:gd name="T66" fmla="*/ 8 w 22"/>
              <a:gd name="T67" fmla="*/ 0 h 7"/>
              <a:gd name="T68" fmla="*/ 9 w 22"/>
              <a:gd name="T69" fmla="*/ 2 h 7"/>
              <a:gd name="T70" fmla="*/ 5 w 22"/>
              <a:gd name="T71" fmla="*/ 1 h 7"/>
              <a:gd name="T72" fmla="*/ 5 w 22"/>
              <a:gd name="T73" fmla="*/ 1 h 7"/>
              <a:gd name="T74" fmla="*/ 4 w 22"/>
              <a:gd name="T75" fmla="*/ 1 h 7"/>
              <a:gd name="T76" fmla="*/ 5 w 22"/>
              <a:gd name="T77" fmla="*/ 0 h 7"/>
              <a:gd name="T78" fmla="*/ 2 w 22"/>
              <a:gd name="T79" fmla="*/ 1 h 7"/>
              <a:gd name="T80" fmla="*/ 0 w 22"/>
              <a:gd name="T81" fmla="*/ 1 h 7"/>
              <a:gd name="T82" fmla="*/ 2 w 22"/>
              <a:gd name="T83" fmla="*/ 2 h 7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2"/>
              <a:gd name="T127" fmla="*/ 0 h 7"/>
              <a:gd name="T128" fmla="*/ 22 w 22"/>
              <a:gd name="T129" fmla="*/ 7 h 7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2" h="7">
                <a:moveTo>
                  <a:pt x="2" y="2"/>
                </a:moveTo>
                <a:cubicBezTo>
                  <a:pt x="2" y="2"/>
                  <a:pt x="1" y="2"/>
                  <a:pt x="1" y="2"/>
                </a:cubicBezTo>
                <a:cubicBezTo>
                  <a:pt x="2" y="3"/>
                  <a:pt x="4" y="4"/>
                  <a:pt x="6" y="3"/>
                </a:cubicBezTo>
                <a:cubicBezTo>
                  <a:pt x="6" y="3"/>
                  <a:pt x="6" y="3"/>
                  <a:pt x="6" y="3"/>
                </a:cubicBezTo>
                <a:cubicBezTo>
                  <a:pt x="6" y="3"/>
                  <a:pt x="6" y="3"/>
                  <a:pt x="6" y="3"/>
                </a:cubicBezTo>
                <a:cubicBezTo>
                  <a:pt x="7" y="3"/>
                  <a:pt x="8" y="3"/>
                  <a:pt x="9" y="3"/>
                </a:cubicBezTo>
                <a:cubicBezTo>
                  <a:pt x="9" y="3"/>
                  <a:pt x="9" y="3"/>
                  <a:pt x="9" y="3"/>
                </a:cubicBezTo>
                <a:cubicBezTo>
                  <a:pt x="7" y="3"/>
                  <a:pt x="6" y="4"/>
                  <a:pt x="4" y="4"/>
                </a:cubicBezTo>
                <a:cubicBezTo>
                  <a:pt x="4" y="5"/>
                  <a:pt x="6" y="4"/>
                  <a:pt x="6" y="5"/>
                </a:cubicBezTo>
                <a:cubicBezTo>
                  <a:pt x="6" y="5"/>
                  <a:pt x="5" y="4"/>
                  <a:pt x="5" y="5"/>
                </a:cubicBezTo>
                <a:cubicBezTo>
                  <a:pt x="6" y="6"/>
                  <a:pt x="7" y="6"/>
                  <a:pt x="8" y="6"/>
                </a:cubicBezTo>
                <a:cubicBezTo>
                  <a:pt x="8" y="6"/>
                  <a:pt x="9" y="7"/>
                  <a:pt x="10" y="7"/>
                </a:cubicBezTo>
                <a:cubicBezTo>
                  <a:pt x="10" y="6"/>
                  <a:pt x="10" y="6"/>
                  <a:pt x="10" y="6"/>
                </a:cubicBezTo>
                <a:cubicBezTo>
                  <a:pt x="11" y="6"/>
                  <a:pt x="10" y="5"/>
                  <a:pt x="12" y="5"/>
                </a:cubicBezTo>
                <a:cubicBezTo>
                  <a:pt x="12" y="4"/>
                  <a:pt x="12" y="4"/>
                  <a:pt x="12" y="4"/>
                </a:cubicBezTo>
                <a:cubicBezTo>
                  <a:pt x="13" y="4"/>
                  <a:pt x="13" y="4"/>
                  <a:pt x="13" y="4"/>
                </a:cubicBezTo>
                <a:cubicBezTo>
                  <a:pt x="13" y="3"/>
                  <a:pt x="13" y="3"/>
                  <a:pt x="13" y="3"/>
                </a:cubicBezTo>
                <a:cubicBezTo>
                  <a:pt x="14" y="3"/>
                  <a:pt x="15" y="2"/>
                  <a:pt x="16" y="3"/>
                </a:cubicBezTo>
                <a:cubicBezTo>
                  <a:pt x="15" y="3"/>
                  <a:pt x="14" y="3"/>
                  <a:pt x="14" y="3"/>
                </a:cubicBezTo>
                <a:cubicBezTo>
                  <a:pt x="15" y="3"/>
                  <a:pt x="16" y="4"/>
                  <a:pt x="17" y="4"/>
                </a:cubicBezTo>
                <a:cubicBezTo>
                  <a:pt x="16" y="4"/>
                  <a:pt x="16" y="5"/>
                  <a:pt x="16" y="5"/>
                </a:cubicBezTo>
                <a:cubicBezTo>
                  <a:pt x="17" y="5"/>
                  <a:pt x="17" y="5"/>
                  <a:pt x="18" y="5"/>
                </a:cubicBezTo>
                <a:cubicBezTo>
                  <a:pt x="18" y="5"/>
                  <a:pt x="18" y="5"/>
                  <a:pt x="18" y="5"/>
                </a:cubicBezTo>
                <a:cubicBezTo>
                  <a:pt x="19" y="5"/>
                  <a:pt x="20" y="5"/>
                  <a:pt x="22" y="4"/>
                </a:cubicBezTo>
                <a:cubicBezTo>
                  <a:pt x="21" y="4"/>
                  <a:pt x="20" y="4"/>
                  <a:pt x="19" y="4"/>
                </a:cubicBezTo>
                <a:cubicBezTo>
                  <a:pt x="19" y="4"/>
                  <a:pt x="19" y="4"/>
                  <a:pt x="19" y="4"/>
                </a:cubicBezTo>
                <a:cubicBezTo>
                  <a:pt x="19" y="3"/>
                  <a:pt x="18" y="3"/>
                  <a:pt x="17" y="3"/>
                </a:cubicBezTo>
                <a:cubicBezTo>
                  <a:pt x="18" y="2"/>
                  <a:pt x="16" y="3"/>
                  <a:pt x="16" y="3"/>
                </a:cubicBezTo>
                <a:cubicBezTo>
                  <a:pt x="16" y="2"/>
                  <a:pt x="16" y="2"/>
                  <a:pt x="16" y="2"/>
                </a:cubicBezTo>
                <a:cubicBezTo>
                  <a:pt x="15" y="2"/>
                  <a:pt x="12" y="2"/>
                  <a:pt x="12" y="1"/>
                </a:cubicBezTo>
                <a:cubicBezTo>
                  <a:pt x="11" y="1"/>
                  <a:pt x="11" y="1"/>
                  <a:pt x="11" y="1"/>
                </a:cubicBezTo>
                <a:cubicBezTo>
                  <a:pt x="10" y="1"/>
                  <a:pt x="11" y="1"/>
                  <a:pt x="11" y="1"/>
                </a:cubicBezTo>
                <a:cubicBezTo>
                  <a:pt x="10" y="0"/>
                  <a:pt x="9" y="0"/>
                  <a:pt x="8" y="0"/>
                </a:cubicBezTo>
                <a:cubicBezTo>
                  <a:pt x="8" y="0"/>
                  <a:pt x="8" y="0"/>
                  <a:pt x="8" y="0"/>
                </a:cubicBezTo>
                <a:cubicBezTo>
                  <a:pt x="8" y="1"/>
                  <a:pt x="9" y="2"/>
                  <a:pt x="9" y="2"/>
                </a:cubicBezTo>
                <a:cubicBezTo>
                  <a:pt x="8" y="2"/>
                  <a:pt x="7" y="0"/>
                  <a:pt x="5" y="1"/>
                </a:cubicBezTo>
                <a:cubicBezTo>
                  <a:pt x="5" y="1"/>
                  <a:pt x="6" y="1"/>
                  <a:pt x="5" y="1"/>
                </a:cubicBezTo>
                <a:cubicBezTo>
                  <a:pt x="5" y="1"/>
                  <a:pt x="4" y="1"/>
                  <a:pt x="4" y="1"/>
                </a:cubicBezTo>
                <a:cubicBezTo>
                  <a:pt x="4" y="1"/>
                  <a:pt x="5" y="1"/>
                  <a:pt x="5" y="0"/>
                </a:cubicBezTo>
                <a:cubicBezTo>
                  <a:pt x="5" y="0"/>
                  <a:pt x="2" y="0"/>
                  <a:pt x="2" y="1"/>
                </a:cubicBezTo>
                <a:cubicBezTo>
                  <a:pt x="2" y="0"/>
                  <a:pt x="1" y="1"/>
                  <a:pt x="0" y="1"/>
                </a:cubicBezTo>
                <a:cubicBezTo>
                  <a:pt x="0" y="2"/>
                  <a:pt x="1" y="2"/>
                  <a:pt x="2" y="2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98" name="Freeform 73"/>
          <p:cNvSpPr>
            <a:spLocks/>
          </p:cNvSpPr>
          <p:nvPr/>
        </p:nvSpPr>
        <p:spPr bwMode="auto">
          <a:xfrm>
            <a:off x="4344988" y="5122863"/>
            <a:ext cx="1587" cy="1587"/>
          </a:xfrm>
          <a:custGeom>
            <a:avLst/>
            <a:gdLst>
              <a:gd name="T0" fmla="*/ 1 w 1"/>
              <a:gd name="T1" fmla="*/ 0 h 1628"/>
              <a:gd name="T2" fmla="*/ 0 w 1"/>
              <a:gd name="T3" fmla="*/ 0 h 1628"/>
              <a:gd name="T4" fmla="*/ 1 w 1"/>
              <a:gd name="T5" fmla="*/ 0 h 1628"/>
              <a:gd name="T6" fmla="*/ 0 60000 65536"/>
              <a:gd name="T7" fmla="*/ 0 60000 65536"/>
              <a:gd name="T8" fmla="*/ 0 60000 65536"/>
              <a:gd name="T9" fmla="*/ 0 w 1"/>
              <a:gd name="T10" fmla="*/ 0 h 1628"/>
              <a:gd name="T11" fmla="*/ 1 w 1"/>
              <a:gd name="T12" fmla="*/ 1628 h 162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" h="1628">
                <a:moveTo>
                  <a:pt x="1" y="0"/>
                </a:move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799" name="Freeform 74"/>
          <p:cNvSpPr>
            <a:spLocks/>
          </p:cNvSpPr>
          <p:nvPr/>
        </p:nvSpPr>
        <p:spPr bwMode="auto">
          <a:xfrm>
            <a:off x="4827588" y="4738688"/>
            <a:ext cx="41275" cy="17462"/>
          </a:xfrm>
          <a:custGeom>
            <a:avLst/>
            <a:gdLst>
              <a:gd name="T0" fmla="*/ 0 w 15"/>
              <a:gd name="T1" fmla="*/ 3 h 6"/>
              <a:gd name="T2" fmla="*/ 5 w 15"/>
              <a:gd name="T3" fmla="*/ 4 h 6"/>
              <a:gd name="T4" fmla="*/ 5 w 15"/>
              <a:gd name="T5" fmla="*/ 3 h 6"/>
              <a:gd name="T6" fmla="*/ 6 w 15"/>
              <a:gd name="T7" fmla="*/ 3 h 6"/>
              <a:gd name="T8" fmla="*/ 6 w 15"/>
              <a:gd name="T9" fmla="*/ 4 h 6"/>
              <a:gd name="T10" fmla="*/ 4 w 15"/>
              <a:gd name="T11" fmla="*/ 4 h 6"/>
              <a:gd name="T12" fmla="*/ 15 w 15"/>
              <a:gd name="T13" fmla="*/ 5 h 6"/>
              <a:gd name="T14" fmla="*/ 11 w 15"/>
              <a:gd name="T15" fmla="*/ 3 h 6"/>
              <a:gd name="T16" fmla="*/ 11 w 15"/>
              <a:gd name="T17" fmla="*/ 3 h 6"/>
              <a:gd name="T18" fmla="*/ 10 w 15"/>
              <a:gd name="T19" fmla="*/ 4 h 6"/>
              <a:gd name="T20" fmla="*/ 10 w 15"/>
              <a:gd name="T21" fmla="*/ 3 h 6"/>
              <a:gd name="T22" fmla="*/ 9 w 15"/>
              <a:gd name="T23" fmla="*/ 3 h 6"/>
              <a:gd name="T24" fmla="*/ 8 w 15"/>
              <a:gd name="T25" fmla="*/ 2 h 6"/>
              <a:gd name="T26" fmla="*/ 9 w 15"/>
              <a:gd name="T27" fmla="*/ 2 h 6"/>
              <a:gd name="T28" fmla="*/ 1 w 15"/>
              <a:gd name="T29" fmla="*/ 2 h 6"/>
              <a:gd name="T30" fmla="*/ 2 w 15"/>
              <a:gd name="T31" fmla="*/ 2 h 6"/>
              <a:gd name="T32" fmla="*/ 2 w 15"/>
              <a:gd name="T33" fmla="*/ 2 h 6"/>
              <a:gd name="T34" fmla="*/ 0 w 15"/>
              <a:gd name="T35" fmla="*/ 3 h 6"/>
              <a:gd name="T36" fmla="*/ 2 w 15"/>
              <a:gd name="T37" fmla="*/ 3 h 6"/>
              <a:gd name="T38" fmla="*/ 0 w 15"/>
              <a:gd name="T39" fmla="*/ 3 h 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5"/>
              <a:gd name="T61" fmla="*/ 0 h 6"/>
              <a:gd name="T62" fmla="*/ 15 w 15"/>
              <a:gd name="T63" fmla="*/ 6 h 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5" h="6">
                <a:moveTo>
                  <a:pt x="0" y="3"/>
                </a:moveTo>
                <a:cubicBezTo>
                  <a:pt x="1" y="4"/>
                  <a:pt x="3" y="4"/>
                  <a:pt x="5" y="4"/>
                </a:cubicBezTo>
                <a:cubicBezTo>
                  <a:pt x="5" y="3"/>
                  <a:pt x="5" y="3"/>
                  <a:pt x="5" y="3"/>
                </a:cubicBezTo>
                <a:cubicBezTo>
                  <a:pt x="5" y="3"/>
                  <a:pt x="5" y="3"/>
                  <a:pt x="6" y="3"/>
                </a:cubicBezTo>
                <a:cubicBezTo>
                  <a:pt x="5" y="3"/>
                  <a:pt x="5" y="3"/>
                  <a:pt x="6" y="4"/>
                </a:cubicBezTo>
                <a:cubicBezTo>
                  <a:pt x="5" y="4"/>
                  <a:pt x="5" y="4"/>
                  <a:pt x="4" y="4"/>
                </a:cubicBezTo>
                <a:cubicBezTo>
                  <a:pt x="7" y="4"/>
                  <a:pt x="12" y="6"/>
                  <a:pt x="15" y="5"/>
                </a:cubicBezTo>
                <a:cubicBezTo>
                  <a:pt x="14" y="4"/>
                  <a:pt x="14" y="3"/>
                  <a:pt x="11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11" y="3"/>
                  <a:pt x="10" y="3"/>
                  <a:pt x="10" y="4"/>
                </a:cubicBezTo>
                <a:cubicBezTo>
                  <a:pt x="10" y="3"/>
                  <a:pt x="10" y="3"/>
                  <a:pt x="10" y="3"/>
                </a:cubicBezTo>
                <a:cubicBezTo>
                  <a:pt x="10" y="3"/>
                  <a:pt x="9" y="3"/>
                  <a:pt x="9" y="3"/>
                </a:cubicBezTo>
                <a:cubicBezTo>
                  <a:pt x="9" y="2"/>
                  <a:pt x="8" y="3"/>
                  <a:pt x="8" y="2"/>
                </a:cubicBezTo>
                <a:cubicBezTo>
                  <a:pt x="9" y="2"/>
                  <a:pt x="9" y="2"/>
                  <a:pt x="9" y="2"/>
                </a:cubicBezTo>
                <a:cubicBezTo>
                  <a:pt x="6" y="1"/>
                  <a:pt x="3" y="0"/>
                  <a:pt x="1" y="2"/>
                </a:cubicBezTo>
                <a:cubicBezTo>
                  <a:pt x="2" y="2"/>
                  <a:pt x="2" y="2"/>
                  <a:pt x="2" y="2"/>
                </a:cubicBezTo>
                <a:cubicBezTo>
                  <a:pt x="2" y="2"/>
                  <a:pt x="2" y="2"/>
                  <a:pt x="2" y="2"/>
                </a:cubicBezTo>
                <a:cubicBezTo>
                  <a:pt x="1" y="2"/>
                  <a:pt x="0" y="2"/>
                  <a:pt x="0" y="3"/>
                </a:cubicBezTo>
                <a:cubicBezTo>
                  <a:pt x="1" y="3"/>
                  <a:pt x="1" y="3"/>
                  <a:pt x="2" y="3"/>
                </a:cubicBezTo>
                <a:cubicBezTo>
                  <a:pt x="1" y="3"/>
                  <a:pt x="0" y="3"/>
                  <a:pt x="0" y="3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00" name="Freeform 75"/>
          <p:cNvSpPr>
            <a:spLocks/>
          </p:cNvSpPr>
          <p:nvPr/>
        </p:nvSpPr>
        <p:spPr bwMode="auto">
          <a:xfrm>
            <a:off x="5673725" y="1663700"/>
            <a:ext cx="608013" cy="1168400"/>
          </a:xfrm>
          <a:custGeom>
            <a:avLst/>
            <a:gdLst>
              <a:gd name="T0" fmla="*/ 222 w 222"/>
              <a:gd name="T1" fmla="*/ 412 h 426"/>
              <a:gd name="T2" fmla="*/ 208 w 222"/>
              <a:gd name="T3" fmla="*/ 426 h 426"/>
              <a:gd name="T4" fmla="*/ 14 w 222"/>
              <a:gd name="T5" fmla="*/ 426 h 426"/>
              <a:gd name="T6" fmla="*/ 0 w 222"/>
              <a:gd name="T7" fmla="*/ 412 h 426"/>
              <a:gd name="T8" fmla="*/ 0 w 222"/>
              <a:gd name="T9" fmla="*/ 14 h 426"/>
              <a:gd name="T10" fmla="*/ 14 w 222"/>
              <a:gd name="T11" fmla="*/ 0 h 426"/>
              <a:gd name="T12" fmla="*/ 208 w 222"/>
              <a:gd name="T13" fmla="*/ 0 h 426"/>
              <a:gd name="T14" fmla="*/ 222 w 222"/>
              <a:gd name="T15" fmla="*/ 14 h 426"/>
              <a:gd name="T16" fmla="*/ 222 w 222"/>
              <a:gd name="T17" fmla="*/ 412 h 42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22"/>
              <a:gd name="T28" fmla="*/ 0 h 426"/>
              <a:gd name="T29" fmla="*/ 222 w 222"/>
              <a:gd name="T30" fmla="*/ 426 h 42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22" h="426">
                <a:moveTo>
                  <a:pt x="222" y="412"/>
                </a:moveTo>
                <a:cubicBezTo>
                  <a:pt x="222" y="419"/>
                  <a:pt x="215" y="426"/>
                  <a:pt x="208" y="426"/>
                </a:cubicBezTo>
                <a:cubicBezTo>
                  <a:pt x="14" y="426"/>
                  <a:pt x="14" y="426"/>
                  <a:pt x="14" y="426"/>
                </a:cubicBezTo>
                <a:cubicBezTo>
                  <a:pt x="6" y="426"/>
                  <a:pt x="0" y="419"/>
                  <a:pt x="0" y="412"/>
                </a:cubicBezTo>
                <a:cubicBezTo>
                  <a:pt x="0" y="14"/>
                  <a:pt x="0" y="14"/>
                  <a:pt x="0" y="14"/>
                </a:cubicBezTo>
                <a:cubicBezTo>
                  <a:pt x="0" y="6"/>
                  <a:pt x="6" y="0"/>
                  <a:pt x="14" y="0"/>
                </a:cubicBezTo>
                <a:cubicBezTo>
                  <a:pt x="208" y="0"/>
                  <a:pt x="208" y="0"/>
                  <a:pt x="208" y="0"/>
                </a:cubicBezTo>
                <a:cubicBezTo>
                  <a:pt x="215" y="0"/>
                  <a:pt x="222" y="6"/>
                  <a:pt x="222" y="14"/>
                </a:cubicBezTo>
                <a:cubicBezTo>
                  <a:pt x="222" y="412"/>
                  <a:pt x="222" y="412"/>
                  <a:pt x="222" y="412"/>
                </a:cubicBezTo>
              </a:path>
            </a:pathLst>
          </a:custGeom>
          <a:solidFill>
            <a:srgbClr val="009925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01" name="Freeform 76"/>
          <p:cNvSpPr>
            <a:spLocks/>
          </p:cNvSpPr>
          <p:nvPr/>
        </p:nvSpPr>
        <p:spPr bwMode="auto">
          <a:xfrm>
            <a:off x="5700713" y="1693863"/>
            <a:ext cx="552450" cy="1039812"/>
          </a:xfrm>
          <a:custGeom>
            <a:avLst/>
            <a:gdLst>
              <a:gd name="T0" fmla="*/ 6 w 201"/>
              <a:gd name="T1" fmla="*/ 379 h 379"/>
              <a:gd name="T2" fmla="*/ 0 w 201"/>
              <a:gd name="T3" fmla="*/ 373 h 379"/>
              <a:gd name="T4" fmla="*/ 0 w 201"/>
              <a:gd name="T5" fmla="*/ 6 h 379"/>
              <a:gd name="T6" fmla="*/ 6 w 201"/>
              <a:gd name="T7" fmla="*/ 0 h 379"/>
              <a:gd name="T8" fmla="*/ 195 w 201"/>
              <a:gd name="T9" fmla="*/ 0 h 379"/>
              <a:gd name="T10" fmla="*/ 201 w 201"/>
              <a:gd name="T11" fmla="*/ 6 h 379"/>
              <a:gd name="T12" fmla="*/ 201 w 201"/>
              <a:gd name="T13" fmla="*/ 373 h 379"/>
              <a:gd name="T14" fmla="*/ 195 w 201"/>
              <a:gd name="T15" fmla="*/ 379 h 379"/>
              <a:gd name="T16" fmla="*/ 6 w 201"/>
              <a:gd name="T17" fmla="*/ 379 h 37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1"/>
              <a:gd name="T28" fmla="*/ 0 h 379"/>
              <a:gd name="T29" fmla="*/ 201 w 201"/>
              <a:gd name="T30" fmla="*/ 379 h 37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1" h="379">
                <a:moveTo>
                  <a:pt x="6" y="379"/>
                </a:moveTo>
                <a:cubicBezTo>
                  <a:pt x="3" y="379"/>
                  <a:pt x="0" y="376"/>
                  <a:pt x="0" y="373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195" y="0"/>
                  <a:pt x="195" y="0"/>
                  <a:pt x="195" y="0"/>
                </a:cubicBezTo>
                <a:cubicBezTo>
                  <a:pt x="198" y="0"/>
                  <a:pt x="201" y="3"/>
                  <a:pt x="201" y="6"/>
                </a:cubicBezTo>
                <a:cubicBezTo>
                  <a:pt x="201" y="373"/>
                  <a:pt x="201" y="373"/>
                  <a:pt x="201" y="373"/>
                </a:cubicBezTo>
                <a:cubicBezTo>
                  <a:pt x="201" y="376"/>
                  <a:pt x="198" y="379"/>
                  <a:pt x="195" y="379"/>
                </a:cubicBezTo>
                <a:cubicBezTo>
                  <a:pt x="6" y="379"/>
                  <a:pt x="6" y="379"/>
                  <a:pt x="6" y="379"/>
                </a:cubicBezTo>
              </a:path>
            </a:pathLst>
          </a:custGeom>
          <a:solidFill>
            <a:srgbClr val="74B51C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02" name="Freeform 77"/>
          <p:cNvSpPr>
            <a:spLocks/>
          </p:cNvSpPr>
          <p:nvPr/>
        </p:nvSpPr>
        <p:spPr bwMode="auto">
          <a:xfrm>
            <a:off x="5870575" y="1739900"/>
            <a:ext cx="211138" cy="14288"/>
          </a:xfrm>
          <a:custGeom>
            <a:avLst/>
            <a:gdLst>
              <a:gd name="T0" fmla="*/ 2 w 77"/>
              <a:gd name="T1" fmla="*/ 5 h 5"/>
              <a:gd name="T2" fmla="*/ 0 w 77"/>
              <a:gd name="T3" fmla="*/ 2 h 5"/>
              <a:gd name="T4" fmla="*/ 2 w 77"/>
              <a:gd name="T5" fmla="*/ 0 h 5"/>
              <a:gd name="T6" fmla="*/ 75 w 77"/>
              <a:gd name="T7" fmla="*/ 0 h 5"/>
              <a:gd name="T8" fmla="*/ 77 w 77"/>
              <a:gd name="T9" fmla="*/ 2 h 5"/>
              <a:gd name="T10" fmla="*/ 75 w 77"/>
              <a:gd name="T11" fmla="*/ 5 h 5"/>
              <a:gd name="T12" fmla="*/ 2 w 77"/>
              <a:gd name="T13" fmla="*/ 5 h 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7"/>
              <a:gd name="T22" fmla="*/ 0 h 5"/>
              <a:gd name="T23" fmla="*/ 77 w 77"/>
              <a:gd name="T24" fmla="*/ 5 h 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7" h="5">
                <a:moveTo>
                  <a:pt x="2" y="5"/>
                </a:moveTo>
                <a:cubicBezTo>
                  <a:pt x="1" y="5"/>
                  <a:pt x="0" y="4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75" y="0"/>
                  <a:pt x="75" y="0"/>
                  <a:pt x="75" y="0"/>
                </a:cubicBezTo>
                <a:cubicBezTo>
                  <a:pt x="76" y="0"/>
                  <a:pt x="77" y="1"/>
                  <a:pt x="77" y="2"/>
                </a:cubicBezTo>
                <a:cubicBezTo>
                  <a:pt x="77" y="4"/>
                  <a:pt x="76" y="5"/>
                  <a:pt x="75" y="5"/>
                </a:cubicBezTo>
                <a:lnTo>
                  <a:pt x="2" y="5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03" name="Freeform 78"/>
          <p:cNvSpPr>
            <a:spLocks/>
          </p:cNvSpPr>
          <p:nvPr/>
        </p:nvSpPr>
        <p:spPr bwMode="auto">
          <a:xfrm>
            <a:off x="5870575" y="1739900"/>
            <a:ext cx="211138" cy="12700"/>
          </a:xfrm>
          <a:custGeom>
            <a:avLst/>
            <a:gdLst>
              <a:gd name="T0" fmla="*/ 2 w 77"/>
              <a:gd name="T1" fmla="*/ 4 h 4"/>
              <a:gd name="T2" fmla="*/ 0 w 77"/>
              <a:gd name="T3" fmla="*/ 2 h 4"/>
              <a:gd name="T4" fmla="*/ 2 w 77"/>
              <a:gd name="T5" fmla="*/ 0 h 4"/>
              <a:gd name="T6" fmla="*/ 75 w 77"/>
              <a:gd name="T7" fmla="*/ 0 h 4"/>
              <a:gd name="T8" fmla="*/ 77 w 77"/>
              <a:gd name="T9" fmla="*/ 2 h 4"/>
              <a:gd name="T10" fmla="*/ 75 w 77"/>
              <a:gd name="T11" fmla="*/ 4 h 4"/>
              <a:gd name="T12" fmla="*/ 2 w 77"/>
              <a:gd name="T13" fmla="*/ 4 h 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7"/>
              <a:gd name="T22" fmla="*/ 0 h 4"/>
              <a:gd name="T23" fmla="*/ 77 w 77"/>
              <a:gd name="T24" fmla="*/ 4 h 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7" h="4">
                <a:moveTo>
                  <a:pt x="2" y="4"/>
                </a:moveTo>
                <a:cubicBezTo>
                  <a:pt x="1" y="4"/>
                  <a:pt x="0" y="3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75" y="0"/>
                  <a:pt x="75" y="0"/>
                  <a:pt x="75" y="0"/>
                </a:cubicBezTo>
                <a:cubicBezTo>
                  <a:pt x="76" y="0"/>
                  <a:pt x="77" y="1"/>
                  <a:pt x="77" y="2"/>
                </a:cubicBezTo>
                <a:cubicBezTo>
                  <a:pt x="77" y="3"/>
                  <a:pt x="76" y="4"/>
                  <a:pt x="75" y="4"/>
                </a:cubicBezTo>
                <a:lnTo>
                  <a:pt x="2" y="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04" name="Freeform 79"/>
          <p:cNvSpPr>
            <a:spLocks/>
          </p:cNvSpPr>
          <p:nvPr/>
        </p:nvSpPr>
        <p:spPr bwMode="auto">
          <a:xfrm>
            <a:off x="5870575" y="1739900"/>
            <a:ext cx="211138" cy="12700"/>
          </a:xfrm>
          <a:custGeom>
            <a:avLst/>
            <a:gdLst>
              <a:gd name="T0" fmla="*/ 77 w 77"/>
              <a:gd name="T1" fmla="*/ 2 h 4"/>
              <a:gd name="T2" fmla="*/ 75 w 77"/>
              <a:gd name="T3" fmla="*/ 4 h 4"/>
              <a:gd name="T4" fmla="*/ 2 w 77"/>
              <a:gd name="T5" fmla="*/ 4 h 4"/>
              <a:gd name="T6" fmla="*/ 0 w 77"/>
              <a:gd name="T7" fmla="*/ 2 h 4"/>
              <a:gd name="T8" fmla="*/ 2 w 77"/>
              <a:gd name="T9" fmla="*/ 0 h 4"/>
              <a:gd name="T10" fmla="*/ 75 w 77"/>
              <a:gd name="T11" fmla="*/ 0 h 4"/>
              <a:gd name="T12" fmla="*/ 77 w 77"/>
              <a:gd name="T13" fmla="*/ 2 h 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7"/>
              <a:gd name="T22" fmla="*/ 0 h 4"/>
              <a:gd name="T23" fmla="*/ 77 w 77"/>
              <a:gd name="T24" fmla="*/ 4 h 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7" h="4">
                <a:moveTo>
                  <a:pt x="77" y="2"/>
                </a:moveTo>
                <a:cubicBezTo>
                  <a:pt x="77" y="3"/>
                  <a:pt x="76" y="4"/>
                  <a:pt x="75" y="4"/>
                </a:cubicBezTo>
                <a:cubicBezTo>
                  <a:pt x="2" y="4"/>
                  <a:pt x="2" y="4"/>
                  <a:pt x="2" y="4"/>
                </a:cubicBezTo>
                <a:cubicBezTo>
                  <a:pt x="1" y="4"/>
                  <a:pt x="0" y="3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75" y="0"/>
                  <a:pt x="75" y="0"/>
                  <a:pt x="75" y="0"/>
                </a:cubicBezTo>
                <a:cubicBezTo>
                  <a:pt x="76" y="0"/>
                  <a:pt x="77" y="1"/>
                  <a:pt x="77" y="2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05" name="Freeform 80"/>
          <p:cNvSpPr>
            <a:spLocks noEditPoints="1"/>
          </p:cNvSpPr>
          <p:nvPr/>
        </p:nvSpPr>
        <p:spPr bwMode="auto">
          <a:xfrm>
            <a:off x="5886450" y="2652713"/>
            <a:ext cx="47625" cy="44450"/>
          </a:xfrm>
          <a:custGeom>
            <a:avLst/>
            <a:gdLst>
              <a:gd name="T0" fmla="*/ 11 w 17"/>
              <a:gd name="T1" fmla="*/ 12 h 16"/>
              <a:gd name="T2" fmla="*/ 12 w 17"/>
              <a:gd name="T3" fmla="*/ 9 h 16"/>
              <a:gd name="T4" fmla="*/ 13 w 17"/>
              <a:gd name="T5" fmla="*/ 11 h 16"/>
              <a:gd name="T6" fmla="*/ 13 w 17"/>
              <a:gd name="T7" fmla="*/ 6 h 16"/>
              <a:gd name="T8" fmla="*/ 11 w 17"/>
              <a:gd name="T9" fmla="*/ 7 h 16"/>
              <a:gd name="T10" fmla="*/ 9 w 17"/>
              <a:gd name="T11" fmla="*/ 6 h 16"/>
              <a:gd name="T12" fmla="*/ 9 w 17"/>
              <a:gd name="T13" fmla="*/ 8 h 16"/>
              <a:gd name="T14" fmla="*/ 7 w 17"/>
              <a:gd name="T15" fmla="*/ 10 h 16"/>
              <a:gd name="T16" fmla="*/ 8 w 17"/>
              <a:gd name="T17" fmla="*/ 11 h 16"/>
              <a:gd name="T18" fmla="*/ 8 w 17"/>
              <a:gd name="T19" fmla="*/ 14 h 16"/>
              <a:gd name="T20" fmla="*/ 10 w 17"/>
              <a:gd name="T21" fmla="*/ 14 h 16"/>
              <a:gd name="T22" fmla="*/ 11 w 17"/>
              <a:gd name="T23" fmla="*/ 16 h 16"/>
              <a:gd name="T24" fmla="*/ 12 w 17"/>
              <a:gd name="T25" fmla="*/ 15 h 16"/>
              <a:gd name="T26" fmla="*/ 15 w 17"/>
              <a:gd name="T27" fmla="*/ 15 h 16"/>
              <a:gd name="T28" fmla="*/ 15 w 17"/>
              <a:gd name="T29" fmla="*/ 13 h 16"/>
              <a:gd name="T30" fmla="*/ 17 w 17"/>
              <a:gd name="T31" fmla="*/ 12 h 16"/>
              <a:gd name="T32" fmla="*/ 16 w 17"/>
              <a:gd name="T33" fmla="*/ 10 h 16"/>
              <a:gd name="T34" fmla="*/ 16 w 17"/>
              <a:gd name="T35" fmla="*/ 8 h 16"/>
              <a:gd name="T36" fmla="*/ 14 w 17"/>
              <a:gd name="T37" fmla="*/ 8 h 16"/>
              <a:gd name="T38" fmla="*/ 13 w 17"/>
              <a:gd name="T39" fmla="*/ 6 h 16"/>
              <a:gd name="T40" fmla="*/ 3 w 17"/>
              <a:gd name="T41" fmla="*/ 4 h 16"/>
              <a:gd name="T42" fmla="*/ 6 w 17"/>
              <a:gd name="T43" fmla="*/ 4 h 16"/>
              <a:gd name="T44" fmla="*/ 5 w 17"/>
              <a:gd name="T45" fmla="*/ 0 h 16"/>
              <a:gd name="T46" fmla="*/ 4 w 17"/>
              <a:gd name="T47" fmla="*/ 1 h 16"/>
              <a:gd name="T48" fmla="*/ 2 w 17"/>
              <a:gd name="T49" fmla="*/ 1 h 16"/>
              <a:gd name="T50" fmla="*/ 2 w 17"/>
              <a:gd name="T51" fmla="*/ 3 h 16"/>
              <a:gd name="T52" fmla="*/ 0 w 17"/>
              <a:gd name="T53" fmla="*/ 4 h 16"/>
              <a:gd name="T54" fmla="*/ 1 w 17"/>
              <a:gd name="T55" fmla="*/ 5 h 16"/>
              <a:gd name="T56" fmla="*/ 1 w 17"/>
              <a:gd name="T57" fmla="*/ 7 h 16"/>
              <a:gd name="T58" fmla="*/ 3 w 17"/>
              <a:gd name="T59" fmla="*/ 7 h 16"/>
              <a:gd name="T60" fmla="*/ 4 w 17"/>
              <a:gd name="T61" fmla="*/ 9 h 16"/>
              <a:gd name="T62" fmla="*/ 5 w 17"/>
              <a:gd name="T63" fmla="*/ 7 h 16"/>
              <a:gd name="T64" fmla="*/ 7 w 17"/>
              <a:gd name="T65" fmla="*/ 8 h 16"/>
              <a:gd name="T66" fmla="*/ 7 w 17"/>
              <a:gd name="T67" fmla="*/ 6 h 16"/>
              <a:gd name="T68" fmla="*/ 9 w 17"/>
              <a:gd name="T69" fmla="*/ 5 h 16"/>
              <a:gd name="T70" fmla="*/ 8 w 17"/>
              <a:gd name="T71" fmla="*/ 3 h 16"/>
              <a:gd name="T72" fmla="*/ 8 w 17"/>
              <a:gd name="T73" fmla="*/ 2 h 16"/>
              <a:gd name="T74" fmla="*/ 6 w 17"/>
              <a:gd name="T75" fmla="*/ 2 h 16"/>
              <a:gd name="T76" fmla="*/ 5 w 17"/>
              <a:gd name="T77" fmla="*/ 0 h 1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7"/>
              <a:gd name="T118" fmla="*/ 0 h 16"/>
              <a:gd name="T119" fmla="*/ 17 w 17"/>
              <a:gd name="T120" fmla="*/ 16 h 1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7" h="16">
                <a:moveTo>
                  <a:pt x="12" y="12"/>
                </a:moveTo>
                <a:cubicBezTo>
                  <a:pt x="12" y="12"/>
                  <a:pt x="11" y="12"/>
                  <a:pt x="11" y="12"/>
                </a:cubicBezTo>
                <a:cubicBezTo>
                  <a:pt x="10" y="12"/>
                  <a:pt x="10" y="11"/>
                  <a:pt x="10" y="10"/>
                </a:cubicBezTo>
                <a:cubicBezTo>
                  <a:pt x="11" y="9"/>
                  <a:pt x="11" y="9"/>
                  <a:pt x="12" y="9"/>
                </a:cubicBezTo>
                <a:cubicBezTo>
                  <a:pt x="12" y="9"/>
                  <a:pt x="12" y="9"/>
                  <a:pt x="12" y="9"/>
                </a:cubicBezTo>
                <a:cubicBezTo>
                  <a:pt x="13" y="10"/>
                  <a:pt x="14" y="10"/>
                  <a:pt x="13" y="11"/>
                </a:cubicBezTo>
                <a:cubicBezTo>
                  <a:pt x="13" y="12"/>
                  <a:pt x="13" y="12"/>
                  <a:pt x="12" y="12"/>
                </a:cubicBezTo>
                <a:moveTo>
                  <a:pt x="13" y="6"/>
                </a:moveTo>
                <a:cubicBezTo>
                  <a:pt x="12" y="7"/>
                  <a:pt x="12" y="7"/>
                  <a:pt x="12" y="7"/>
                </a:cubicBezTo>
                <a:cubicBezTo>
                  <a:pt x="11" y="7"/>
                  <a:pt x="11" y="7"/>
                  <a:pt x="11" y="7"/>
                </a:cubicBezTo>
                <a:cubicBezTo>
                  <a:pt x="10" y="6"/>
                  <a:pt x="10" y="6"/>
                  <a:pt x="10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8"/>
                  <a:pt x="9" y="8"/>
                  <a:pt x="9" y="8"/>
                </a:cubicBezTo>
                <a:cubicBezTo>
                  <a:pt x="9" y="8"/>
                  <a:pt x="9" y="8"/>
                  <a:pt x="9" y="8"/>
                </a:cubicBezTo>
                <a:cubicBezTo>
                  <a:pt x="7" y="8"/>
                  <a:pt x="7" y="8"/>
                  <a:pt x="7" y="8"/>
                </a:cubicBezTo>
                <a:cubicBezTo>
                  <a:pt x="7" y="10"/>
                  <a:pt x="7" y="10"/>
                  <a:pt x="7" y="10"/>
                </a:cubicBezTo>
                <a:cubicBezTo>
                  <a:pt x="8" y="10"/>
                  <a:pt x="8" y="10"/>
                  <a:pt x="8" y="10"/>
                </a:cubicBezTo>
                <a:cubicBezTo>
                  <a:pt x="8" y="11"/>
                  <a:pt x="8" y="11"/>
                  <a:pt x="8" y="11"/>
                </a:cubicBezTo>
                <a:cubicBezTo>
                  <a:pt x="7" y="12"/>
                  <a:pt x="7" y="12"/>
                  <a:pt x="7" y="12"/>
                </a:cubicBezTo>
                <a:cubicBezTo>
                  <a:pt x="8" y="14"/>
                  <a:pt x="8" y="14"/>
                  <a:pt x="8" y="14"/>
                </a:cubicBezTo>
                <a:cubicBezTo>
                  <a:pt x="9" y="13"/>
                  <a:pt x="9" y="13"/>
                  <a:pt x="9" y="13"/>
                </a:cubicBezTo>
                <a:cubicBezTo>
                  <a:pt x="10" y="14"/>
                  <a:pt x="10" y="14"/>
                  <a:pt x="10" y="14"/>
                </a:cubicBezTo>
                <a:cubicBezTo>
                  <a:pt x="9" y="15"/>
                  <a:pt x="9" y="15"/>
                  <a:pt x="9" y="15"/>
                </a:cubicBezTo>
                <a:cubicBezTo>
                  <a:pt x="11" y="16"/>
                  <a:pt x="11" y="16"/>
                  <a:pt x="11" y="16"/>
                </a:cubicBezTo>
                <a:cubicBezTo>
                  <a:pt x="12" y="15"/>
                  <a:pt x="12" y="15"/>
                  <a:pt x="12" y="15"/>
                </a:cubicBezTo>
                <a:cubicBezTo>
                  <a:pt x="12" y="15"/>
                  <a:pt x="12" y="15"/>
                  <a:pt x="12" y="15"/>
                </a:cubicBezTo>
                <a:cubicBezTo>
                  <a:pt x="13" y="16"/>
                  <a:pt x="13" y="16"/>
                  <a:pt x="13" y="16"/>
                </a:cubicBezTo>
                <a:cubicBezTo>
                  <a:pt x="15" y="15"/>
                  <a:pt x="15" y="15"/>
                  <a:pt x="15" y="15"/>
                </a:cubicBezTo>
                <a:cubicBezTo>
                  <a:pt x="14" y="14"/>
                  <a:pt x="14" y="14"/>
                  <a:pt x="14" y="14"/>
                </a:cubicBezTo>
                <a:cubicBezTo>
                  <a:pt x="15" y="13"/>
                  <a:pt x="15" y="13"/>
                  <a:pt x="15" y="13"/>
                </a:cubicBezTo>
                <a:cubicBezTo>
                  <a:pt x="16" y="13"/>
                  <a:pt x="16" y="13"/>
                  <a:pt x="16" y="13"/>
                </a:cubicBezTo>
                <a:cubicBezTo>
                  <a:pt x="17" y="12"/>
                  <a:pt x="17" y="12"/>
                  <a:pt x="17" y="12"/>
                </a:cubicBezTo>
                <a:cubicBezTo>
                  <a:pt x="16" y="11"/>
                  <a:pt x="16" y="11"/>
                  <a:pt x="16" y="11"/>
                </a:cubicBezTo>
                <a:cubicBezTo>
                  <a:pt x="16" y="10"/>
                  <a:pt x="16" y="10"/>
                  <a:pt x="16" y="10"/>
                </a:cubicBezTo>
                <a:cubicBezTo>
                  <a:pt x="17" y="9"/>
                  <a:pt x="17" y="9"/>
                  <a:pt x="17" y="9"/>
                </a:cubicBezTo>
                <a:cubicBezTo>
                  <a:pt x="16" y="8"/>
                  <a:pt x="16" y="8"/>
                  <a:pt x="16" y="8"/>
                </a:cubicBezTo>
                <a:cubicBezTo>
                  <a:pt x="15" y="8"/>
                  <a:pt x="15" y="8"/>
                  <a:pt x="15" y="8"/>
                </a:cubicBezTo>
                <a:cubicBezTo>
                  <a:pt x="14" y="8"/>
                  <a:pt x="14" y="8"/>
                  <a:pt x="14" y="8"/>
                </a:cubicBezTo>
                <a:cubicBezTo>
                  <a:pt x="14" y="6"/>
                  <a:pt x="14" y="6"/>
                  <a:pt x="14" y="6"/>
                </a:cubicBezTo>
                <a:cubicBezTo>
                  <a:pt x="13" y="6"/>
                  <a:pt x="13" y="6"/>
                  <a:pt x="13" y="6"/>
                </a:cubicBezTo>
                <a:moveTo>
                  <a:pt x="4" y="6"/>
                </a:moveTo>
                <a:cubicBezTo>
                  <a:pt x="4" y="6"/>
                  <a:pt x="3" y="5"/>
                  <a:pt x="3" y="4"/>
                </a:cubicBezTo>
                <a:cubicBezTo>
                  <a:pt x="3" y="4"/>
                  <a:pt x="4" y="3"/>
                  <a:pt x="4" y="3"/>
                </a:cubicBezTo>
                <a:cubicBezTo>
                  <a:pt x="5" y="3"/>
                  <a:pt x="6" y="4"/>
                  <a:pt x="6" y="4"/>
                </a:cubicBezTo>
                <a:cubicBezTo>
                  <a:pt x="6" y="5"/>
                  <a:pt x="5" y="6"/>
                  <a:pt x="4" y="6"/>
                </a:cubicBezTo>
                <a:moveTo>
                  <a:pt x="5" y="0"/>
                </a:moveTo>
                <a:cubicBezTo>
                  <a:pt x="4" y="0"/>
                  <a:pt x="4" y="0"/>
                  <a:pt x="4" y="0"/>
                </a:cubicBezTo>
                <a:cubicBezTo>
                  <a:pt x="4" y="1"/>
                  <a:pt x="4" y="1"/>
                  <a:pt x="4" y="1"/>
                </a:cubicBezTo>
                <a:cubicBezTo>
                  <a:pt x="3" y="2"/>
                  <a:pt x="3" y="2"/>
                  <a:pt x="3" y="2"/>
                </a:cubicBezTo>
                <a:cubicBezTo>
                  <a:pt x="2" y="1"/>
                  <a:pt x="2" y="1"/>
                  <a:pt x="2" y="1"/>
                </a:cubicBezTo>
                <a:cubicBezTo>
                  <a:pt x="1" y="2"/>
                  <a:pt x="1" y="2"/>
                  <a:pt x="1" y="2"/>
                </a:cubicBezTo>
                <a:cubicBezTo>
                  <a:pt x="2" y="3"/>
                  <a:pt x="2" y="3"/>
                  <a:pt x="2" y="3"/>
                </a:cubicBezTo>
                <a:cubicBezTo>
                  <a:pt x="1" y="3"/>
                  <a:pt x="1" y="3"/>
                  <a:pt x="1" y="3"/>
                </a:cubicBezTo>
                <a:cubicBezTo>
                  <a:pt x="0" y="4"/>
                  <a:pt x="0" y="4"/>
                  <a:pt x="0" y="4"/>
                </a:cubicBezTo>
                <a:cubicBezTo>
                  <a:pt x="0" y="5"/>
                  <a:pt x="0" y="5"/>
                  <a:pt x="0" y="5"/>
                </a:cubicBezTo>
                <a:cubicBezTo>
                  <a:pt x="1" y="5"/>
                  <a:pt x="1" y="5"/>
                  <a:pt x="1" y="5"/>
                </a:cubicBezTo>
                <a:cubicBezTo>
                  <a:pt x="2" y="6"/>
                  <a:pt x="2" y="6"/>
                  <a:pt x="2" y="6"/>
                </a:cubicBezTo>
                <a:cubicBezTo>
                  <a:pt x="1" y="7"/>
                  <a:pt x="1" y="7"/>
                  <a:pt x="1" y="7"/>
                </a:cubicBezTo>
                <a:cubicBezTo>
                  <a:pt x="2" y="8"/>
                  <a:pt x="2" y="8"/>
                  <a:pt x="2" y="8"/>
                </a:cubicBezTo>
                <a:cubicBezTo>
                  <a:pt x="3" y="7"/>
                  <a:pt x="3" y="7"/>
                  <a:pt x="3" y="7"/>
                </a:cubicBezTo>
                <a:cubicBezTo>
                  <a:pt x="4" y="7"/>
                  <a:pt x="4" y="7"/>
                  <a:pt x="4" y="7"/>
                </a:cubicBezTo>
                <a:cubicBezTo>
                  <a:pt x="4" y="9"/>
                  <a:pt x="4" y="9"/>
                  <a:pt x="4" y="9"/>
                </a:cubicBezTo>
                <a:cubicBezTo>
                  <a:pt x="5" y="9"/>
                  <a:pt x="5" y="9"/>
                  <a:pt x="5" y="9"/>
                </a:cubicBezTo>
                <a:cubicBezTo>
                  <a:pt x="5" y="7"/>
                  <a:pt x="5" y="7"/>
                  <a:pt x="5" y="7"/>
                </a:cubicBezTo>
                <a:cubicBezTo>
                  <a:pt x="6" y="7"/>
                  <a:pt x="6" y="7"/>
                  <a:pt x="6" y="7"/>
                </a:cubicBezTo>
                <a:cubicBezTo>
                  <a:pt x="7" y="8"/>
                  <a:pt x="7" y="8"/>
                  <a:pt x="7" y="8"/>
                </a:cubicBezTo>
                <a:cubicBezTo>
                  <a:pt x="8" y="7"/>
                  <a:pt x="8" y="7"/>
                  <a:pt x="8" y="7"/>
                </a:cubicBezTo>
                <a:cubicBezTo>
                  <a:pt x="7" y="6"/>
                  <a:pt x="7" y="6"/>
                  <a:pt x="7" y="6"/>
                </a:cubicBezTo>
                <a:cubicBezTo>
                  <a:pt x="8" y="5"/>
                  <a:pt x="8" y="5"/>
                  <a:pt x="8" y="5"/>
                </a:cubicBezTo>
                <a:cubicBezTo>
                  <a:pt x="9" y="5"/>
                  <a:pt x="9" y="5"/>
                  <a:pt x="9" y="5"/>
                </a:cubicBezTo>
                <a:cubicBezTo>
                  <a:pt x="9" y="4"/>
                  <a:pt x="9" y="4"/>
                  <a:pt x="9" y="4"/>
                </a:cubicBezTo>
                <a:cubicBezTo>
                  <a:pt x="8" y="3"/>
                  <a:pt x="8" y="3"/>
                  <a:pt x="8" y="3"/>
                </a:cubicBezTo>
                <a:cubicBezTo>
                  <a:pt x="7" y="3"/>
                  <a:pt x="7" y="3"/>
                  <a:pt x="7" y="3"/>
                </a:cubicBezTo>
                <a:cubicBezTo>
                  <a:pt x="8" y="2"/>
                  <a:pt x="8" y="2"/>
                  <a:pt x="8" y="2"/>
                </a:cubicBezTo>
                <a:cubicBezTo>
                  <a:pt x="7" y="1"/>
                  <a:pt x="7" y="1"/>
                  <a:pt x="7" y="1"/>
                </a:cubicBezTo>
                <a:cubicBezTo>
                  <a:pt x="6" y="2"/>
                  <a:pt x="6" y="2"/>
                  <a:pt x="6" y="2"/>
                </a:cubicBezTo>
                <a:cubicBezTo>
                  <a:pt x="5" y="1"/>
                  <a:pt x="5" y="1"/>
                  <a:pt x="5" y="1"/>
                </a:cubicBezTo>
                <a:cubicBezTo>
                  <a:pt x="5" y="0"/>
                  <a:pt x="5" y="0"/>
                  <a:pt x="5" y="0"/>
                </a:cubicBezTo>
              </a:path>
            </a:pathLst>
          </a:custGeom>
          <a:solidFill>
            <a:srgbClr val="EAF4DD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06" name="Freeform 81"/>
          <p:cNvSpPr>
            <a:spLocks noEditPoints="1"/>
          </p:cNvSpPr>
          <p:nvPr/>
        </p:nvSpPr>
        <p:spPr bwMode="auto">
          <a:xfrm>
            <a:off x="5765800" y="2652713"/>
            <a:ext cx="44450" cy="44450"/>
          </a:xfrm>
          <a:custGeom>
            <a:avLst/>
            <a:gdLst>
              <a:gd name="T0" fmla="*/ 8 w 16"/>
              <a:gd name="T1" fmla="*/ 4 h 16"/>
              <a:gd name="T2" fmla="*/ 2 w 16"/>
              <a:gd name="T3" fmla="*/ 10 h 16"/>
              <a:gd name="T4" fmla="*/ 2 w 16"/>
              <a:gd name="T5" fmla="*/ 15 h 16"/>
              <a:gd name="T6" fmla="*/ 3 w 16"/>
              <a:gd name="T7" fmla="*/ 16 h 16"/>
              <a:gd name="T8" fmla="*/ 6 w 16"/>
              <a:gd name="T9" fmla="*/ 16 h 16"/>
              <a:gd name="T10" fmla="*/ 6 w 16"/>
              <a:gd name="T11" fmla="*/ 12 h 16"/>
              <a:gd name="T12" fmla="*/ 8 w 16"/>
              <a:gd name="T13" fmla="*/ 10 h 16"/>
              <a:gd name="T14" fmla="*/ 9 w 16"/>
              <a:gd name="T15" fmla="*/ 10 h 16"/>
              <a:gd name="T16" fmla="*/ 10 w 16"/>
              <a:gd name="T17" fmla="*/ 12 h 16"/>
              <a:gd name="T18" fmla="*/ 10 w 16"/>
              <a:gd name="T19" fmla="*/ 16 h 16"/>
              <a:gd name="T20" fmla="*/ 13 w 16"/>
              <a:gd name="T21" fmla="*/ 16 h 16"/>
              <a:gd name="T22" fmla="*/ 14 w 16"/>
              <a:gd name="T23" fmla="*/ 15 h 16"/>
              <a:gd name="T24" fmla="*/ 14 w 16"/>
              <a:gd name="T25" fmla="*/ 10 h 16"/>
              <a:gd name="T26" fmla="*/ 8 w 16"/>
              <a:gd name="T27" fmla="*/ 4 h 16"/>
              <a:gd name="T28" fmla="*/ 8 w 16"/>
              <a:gd name="T29" fmla="*/ 0 h 16"/>
              <a:gd name="T30" fmla="*/ 7 w 16"/>
              <a:gd name="T31" fmla="*/ 0 h 16"/>
              <a:gd name="T32" fmla="*/ 0 w 16"/>
              <a:gd name="T33" fmla="*/ 7 h 16"/>
              <a:gd name="T34" fmla="*/ 0 w 16"/>
              <a:gd name="T35" fmla="*/ 9 h 16"/>
              <a:gd name="T36" fmla="*/ 1 w 16"/>
              <a:gd name="T37" fmla="*/ 10 h 16"/>
              <a:gd name="T38" fmla="*/ 2 w 16"/>
              <a:gd name="T39" fmla="*/ 9 h 16"/>
              <a:gd name="T40" fmla="*/ 8 w 16"/>
              <a:gd name="T41" fmla="*/ 3 h 16"/>
              <a:gd name="T42" fmla="*/ 14 w 16"/>
              <a:gd name="T43" fmla="*/ 9 h 16"/>
              <a:gd name="T44" fmla="*/ 15 w 16"/>
              <a:gd name="T45" fmla="*/ 10 h 16"/>
              <a:gd name="T46" fmla="*/ 16 w 16"/>
              <a:gd name="T47" fmla="*/ 9 h 16"/>
              <a:gd name="T48" fmla="*/ 16 w 16"/>
              <a:gd name="T49" fmla="*/ 7 h 16"/>
              <a:gd name="T50" fmla="*/ 9 w 16"/>
              <a:gd name="T51" fmla="*/ 0 h 16"/>
              <a:gd name="T52" fmla="*/ 8 w 16"/>
              <a:gd name="T53" fmla="*/ 0 h 1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6"/>
              <a:gd name="T82" fmla="*/ 0 h 16"/>
              <a:gd name="T83" fmla="*/ 16 w 16"/>
              <a:gd name="T84" fmla="*/ 16 h 1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6" h="16">
                <a:moveTo>
                  <a:pt x="8" y="4"/>
                </a:moveTo>
                <a:cubicBezTo>
                  <a:pt x="2" y="10"/>
                  <a:pt x="2" y="10"/>
                  <a:pt x="2" y="10"/>
                </a:cubicBezTo>
                <a:cubicBezTo>
                  <a:pt x="2" y="15"/>
                  <a:pt x="2" y="15"/>
                  <a:pt x="2" y="15"/>
                </a:cubicBezTo>
                <a:cubicBezTo>
                  <a:pt x="2" y="15"/>
                  <a:pt x="3" y="16"/>
                  <a:pt x="3" y="16"/>
                </a:cubicBezTo>
                <a:cubicBezTo>
                  <a:pt x="6" y="16"/>
                  <a:pt x="6" y="16"/>
                  <a:pt x="6" y="16"/>
                </a:cubicBezTo>
                <a:cubicBezTo>
                  <a:pt x="6" y="12"/>
                  <a:pt x="6" y="12"/>
                  <a:pt x="6" y="12"/>
                </a:cubicBezTo>
                <a:cubicBezTo>
                  <a:pt x="6" y="11"/>
                  <a:pt x="7" y="10"/>
                  <a:pt x="8" y="10"/>
                </a:cubicBezTo>
                <a:cubicBezTo>
                  <a:pt x="9" y="10"/>
                  <a:pt x="9" y="10"/>
                  <a:pt x="9" y="10"/>
                </a:cubicBezTo>
                <a:cubicBezTo>
                  <a:pt x="9" y="10"/>
                  <a:pt x="10" y="11"/>
                  <a:pt x="10" y="12"/>
                </a:cubicBezTo>
                <a:cubicBezTo>
                  <a:pt x="10" y="16"/>
                  <a:pt x="10" y="16"/>
                  <a:pt x="10" y="16"/>
                </a:cubicBezTo>
                <a:cubicBezTo>
                  <a:pt x="13" y="16"/>
                  <a:pt x="13" y="16"/>
                  <a:pt x="13" y="16"/>
                </a:cubicBezTo>
                <a:cubicBezTo>
                  <a:pt x="13" y="16"/>
                  <a:pt x="14" y="15"/>
                  <a:pt x="14" y="15"/>
                </a:cubicBezTo>
                <a:cubicBezTo>
                  <a:pt x="14" y="10"/>
                  <a:pt x="14" y="10"/>
                  <a:pt x="14" y="10"/>
                </a:cubicBezTo>
                <a:cubicBezTo>
                  <a:pt x="8" y="4"/>
                  <a:pt x="8" y="4"/>
                  <a:pt x="8" y="4"/>
                </a:cubicBezTo>
                <a:moveTo>
                  <a:pt x="8" y="0"/>
                </a:moveTo>
                <a:cubicBezTo>
                  <a:pt x="8" y="0"/>
                  <a:pt x="7" y="0"/>
                  <a:pt x="7" y="0"/>
                </a:cubicBezTo>
                <a:cubicBezTo>
                  <a:pt x="0" y="7"/>
                  <a:pt x="0" y="7"/>
                  <a:pt x="0" y="7"/>
                </a:cubicBezTo>
                <a:cubicBezTo>
                  <a:pt x="0" y="8"/>
                  <a:pt x="0" y="9"/>
                  <a:pt x="0" y="9"/>
                </a:cubicBezTo>
                <a:cubicBezTo>
                  <a:pt x="0" y="9"/>
                  <a:pt x="1" y="10"/>
                  <a:pt x="1" y="10"/>
                </a:cubicBezTo>
                <a:cubicBezTo>
                  <a:pt x="1" y="10"/>
                  <a:pt x="2" y="9"/>
                  <a:pt x="2" y="9"/>
                </a:cubicBezTo>
                <a:cubicBezTo>
                  <a:pt x="8" y="3"/>
                  <a:pt x="8" y="3"/>
                  <a:pt x="8" y="3"/>
                </a:cubicBezTo>
                <a:cubicBezTo>
                  <a:pt x="14" y="9"/>
                  <a:pt x="14" y="9"/>
                  <a:pt x="14" y="9"/>
                </a:cubicBezTo>
                <a:cubicBezTo>
                  <a:pt x="14" y="9"/>
                  <a:pt x="15" y="10"/>
                  <a:pt x="15" y="10"/>
                </a:cubicBezTo>
                <a:cubicBezTo>
                  <a:pt x="15" y="10"/>
                  <a:pt x="16" y="9"/>
                  <a:pt x="16" y="9"/>
                </a:cubicBezTo>
                <a:cubicBezTo>
                  <a:pt x="16" y="9"/>
                  <a:pt x="16" y="8"/>
                  <a:pt x="16" y="7"/>
                </a:cubicBezTo>
                <a:cubicBezTo>
                  <a:pt x="9" y="0"/>
                  <a:pt x="9" y="0"/>
                  <a:pt x="9" y="0"/>
                </a:cubicBezTo>
                <a:cubicBezTo>
                  <a:pt x="9" y="0"/>
                  <a:pt x="9" y="0"/>
                  <a:pt x="8" y="0"/>
                </a:cubicBezTo>
              </a:path>
            </a:pathLst>
          </a:custGeom>
          <a:solidFill>
            <a:srgbClr val="EAF4DD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07" name="Freeform 82"/>
          <p:cNvSpPr>
            <a:spLocks noEditPoints="1"/>
          </p:cNvSpPr>
          <p:nvPr/>
        </p:nvSpPr>
        <p:spPr bwMode="auto">
          <a:xfrm>
            <a:off x="6134100" y="2652713"/>
            <a:ext cx="39688" cy="44450"/>
          </a:xfrm>
          <a:custGeom>
            <a:avLst/>
            <a:gdLst>
              <a:gd name="T0" fmla="*/ 10 w 15"/>
              <a:gd name="T1" fmla="*/ 9 h 16"/>
              <a:gd name="T2" fmla="*/ 10 w 15"/>
              <a:gd name="T3" fmla="*/ 10 h 16"/>
              <a:gd name="T4" fmla="*/ 9 w 15"/>
              <a:gd name="T5" fmla="*/ 12 h 16"/>
              <a:gd name="T6" fmla="*/ 13 w 15"/>
              <a:gd name="T7" fmla="*/ 15 h 16"/>
              <a:gd name="T8" fmla="*/ 14 w 15"/>
              <a:gd name="T9" fmla="*/ 16 h 16"/>
              <a:gd name="T10" fmla="*/ 15 w 15"/>
              <a:gd name="T11" fmla="*/ 15 h 16"/>
              <a:gd name="T12" fmla="*/ 15 w 15"/>
              <a:gd name="T13" fmla="*/ 13 h 16"/>
              <a:gd name="T14" fmla="*/ 12 w 15"/>
              <a:gd name="T15" fmla="*/ 10 h 16"/>
              <a:gd name="T16" fmla="*/ 10 w 15"/>
              <a:gd name="T17" fmla="*/ 9 h 16"/>
              <a:gd name="T18" fmla="*/ 5 w 15"/>
              <a:gd name="T19" fmla="*/ 9 h 16"/>
              <a:gd name="T20" fmla="*/ 2 w 15"/>
              <a:gd name="T21" fmla="*/ 5 h 16"/>
              <a:gd name="T22" fmla="*/ 5 w 15"/>
              <a:gd name="T23" fmla="*/ 2 h 16"/>
              <a:gd name="T24" fmla="*/ 9 w 15"/>
              <a:gd name="T25" fmla="*/ 5 h 16"/>
              <a:gd name="T26" fmla="*/ 5 w 15"/>
              <a:gd name="T27" fmla="*/ 9 h 16"/>
              <a:gd name="T28" fmla="*/ 5 w 15"/>
              <a:gd name="T29" fmla="*/ 0 h 16"/>
              <a:gd name="T30" fmla="*/ 0 w 15"/>
              <a:gd name="T31" fmla="*/ 5 h 16"/>
              <a:gd name="T32" fmla="*/ 5 w 15"/>
              <a:gd name="T33" fmla="*/ 11 h 16"/>
              <a:gd name="T34" fmla="*/ 11 w 15"/>
              <a:gd name="T35" fmla="*/ 5 h 16"/>
              <a:gd name="T36" fmla="*/ 5 w 15"/>
              <a:gd name="T37" fmla="*/ 0 h 1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5"/>
              <a:gd name="T58" fmla="*/ 0 h 16"/>
              <a:gd name="T59" fmla="*/ 15 w 15"/>
              <a:gd name="T60" fmla="*/ 16 h 1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5" h="16">
                <a:moveTo>
                  <a:pt x="10" y="9"/>
                </a:moveTo>
                <a:cubicBezTo>
                  <a:pt x="10" y="9"/>
                  <a:pt x="10" y="10"/>
                  <a:pt x="10" y="10"/>
                </a:cubicBezTo>
                <a:cubicBezTo>
                  <a:pt x="9" y="10"/>
                  <a:pt x="9" y="11"/>
                  <a:pt x="9" y="12"/>
                </a:cubicBezTo>
                <a:cubicBezTo>
                  <a:pt x="13" y="15"/>
                  <a:pt x="13" y="15"/>
                  <a:pt x="13" y="15"/>
                </a:cubicBezTo>
                <a:cubicBezTo>
                  <a:pt x="13" y="16"/>
                  <a:pt x="13" y="16"/>
                  <a:pt x="14" y="16"/>
                </a:cubicBezTo>
                <a:cubicBezTo>
                  <a:pt x="14" y="16"/>
                  <a:pt x="14" y="16"/>
                  <a:pt x="15" y="15"/>
                </a:cubicBezTo>
                <a:cubicBezTo>
                  <a:pt x="15" y="15"/>
                  <a:pt x="15" y="14"/>
                  <a:pt x="15" y="13"/>
                </a:cubicBezTo>
                <a:cubicBezTo>
                  <a:pt x="12" y="10"/>
                  <a:pt x="12" y="10"/>
                  <a:pt x="12" y="10"/>
                </a:cubicBezTo>
                <a:cubicBezTo>
                  <a:pt x="11" y="10"/>
                  <a:pt x="11" y="9"/>
                  <a:pt x="10" y="9"/>
                </a:cubicBezTo>
                <a:moveTo>
                  <a:pt x="5" y="9"/>
                </a:moveTo>
                <a:cubicBezTo>
                  <a:pt x="4" y="9"/>
                  <a:pt x="2" y="7"/>
                  <a:pt x="2" y="5"/>
                </a:cubicBezTo>
                <a:cubicBezTo>
                  <a:pt x="2" y="3"/>
                  <a:pt x="4" y="2"/>
                  <a:pt x="5" y="2"/>
                </a:cubicBezTo>
                <a:cubicBezTo>
                  <a:pt x="7" y="2"/>
                  <a:pt x="9" y="3"/>
                  <a:pt x="9" y="5"/>
                </a:cubicBezTo>
                <a:cubicBezTo>
                  <a:pt x="9" y="7"/>
                  <a:pt x="7" y="9"/>
                  <a:pt x="5" y="9"/>
                </a:cubicBezTo>
                <a:moveTo>
                  <a:pt x="5" y="0"/>
                </a:moveTo>
                <a:cubicBezTo>
                  <a:pt x="2" y="0"/>
                  <a:pt x="0" y="2"/>
                  <a:pt x="0" y="5"/>
                </a:cubicBezTo>
                <a:cubicBezTo>
                  <a:pt x="0" y="8"/>
                  <a:pt x="2" y="11"/>
                  <a:pt x="5" y="11"/>
                </a:cubicBezTo>
                <a:cubicBezTo>
                  <a:pt x="8" y="11"/>
                  <a:pt x="11" y="8"/>
                  <a:pt x="11" y="5"/>
                </a:cubicBezTo>
                <a:cubicBezTo>
                  <a:pt x="11" y="2"/>
                  <a:pt x="8" y="0"/>
                  <a:pt x="5" y="0"/>
                </a:cubicBezTo>
              </a:path>
            </a:pathLst>
          </a:custGeom>
          <a:solidFill>
            <a:srgbClr val="EAF4DD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08" name="Freeform 83"/>
          <p:cNvSpPr>
            <a:spLocks/>
          </p:cNvSpPr>
          <p:nvPr/>
        </p:nvSpPr>
        <p:spPr bwMode="auto">
          <a:xfrm>
            <a:off x="6010275" y="2655888"/>
            <a:ext cx="47625" cy="39687"/>
          </a:xfrm>
          <a:custGeom>
            <a:avLst/>
            <a:gdLst>
              <a:gd name="T0" fmla="*/ 7 w 17"/>
              <a:gd name="T1" fmla="*/ 0 h 14"/>
              <a:gd name="T2" fmla="*/ 0 w 17"/>
              <a:gd name="T3" fmla="*/ 4 h 14"/>
              <a:gd name="T4" fmla="*/ 7 w 17"/>
              <a:gd name="T5" fmla="*/ 8 h 14"/>
              <a:gd name="T6" fmla="*/ 7 w 17"/>
              <a:gd name="T7" fmla="*/ 5 h 14"/>
              <a:gd name="T8" fmla="*/ 11 w 17"/>
              <a:gd name="T9" fmla="*/ 5 h 14"/>
              <a:gd name="T10" fmla="*/ 15 w 17"/>
              <a:gd name="T11" fmla="*/ 8 h 14"/>
              <a:gd name="T12" fmla="*/ 11 w 17"/>
              <a:gd name="T13" fmla="*/ 12 h 14"/>
              <a:gd name="T14" fmla="*/ 10 w 17"/>
              <a:gd name="T15" fmla="*/ 12 h 14"/>
              <a:gd name="T16" fmla="*/ 8 w 17"/>
              <a:gd name="T17" fmla="*/ 12 h 14"/>
              <a:gd name="T18" fmla="*/ 8 w 17"/>
              <a:gd name="T19" fmla="*/ 12 h 14"/>
              <a:gd name="T20" fmla="*/ 7 w 17"/>
              <a:gd name="T21" fmla="*/ 13 h 14"/>
              <a:gd name="T22" fmla="*/ 8 w 17"/>
              <a:gd name="T23" fmla="*/ 14 h 14"/>
              <a:gd name="T24" fmla="*/ 8 w 17"/>
              <a:gd name="T25" fmla="*/ 14 h 14"/>
              <a:gd name="T26" fmla="*/ 8 w 17"/>
              <a:gd name="T27" fmla="*/ 14 h 14"/>
              <a:gd name="T28" fmla="*/ 11 w 17"/>
              <a:gd name="T29" fmla="*/ 14 h 14"/>
              <a:gd name="T30" fmla="*/ 17 w 17"/>
              <a:gd name="T31" fmla="*/ 8 h 14"/>
              <a:gd name="T32" fmla="*/ 11 w 17"/>
              <a:gd name="T33" fmla="*/ 3 h 14"/>
              <a:gd name="T34" fmla="*/ 7 w 17"/>
              <a:gd name="T35" fmla="*/ 3 h 14"/>
              <a:gd name="T36" fmla="*/ 7 w 17"/>
              <a:gd name="T37" fmla="*/ 0 h 1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7"/>
              <a:gd name="T58" fmla="*/ 0 h 14"/>
              <a:gd name="T59" fmla="*/ 17 w 17"/>
              <a:gd name="T60" fmla="*/ 14 h 14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7" h="14">
                <a:moveTo>
                  <a:pt x="7" y="0"/>
                </a:moveTo>
                <a:cubicBezTo>
                  <a:pt x="0" y="4"/>
                  <a:pt x="0" y="4"/>
                  <a:pt x="0" y="4"/>
                </a:cubicBezTo>
                <a:cubicBezTo>
                  <a:pt x="7" y="8"/>
                  <a:pt x="7" y="8"/>
                  <a:pt x="7" y="8"/>
                </a:cubicBezTo>
                <a:cubicBezTo>
                  <a:pt x="7" y="5"/>
                  <a:pt x="7" y="5"/>
                  <a:pt x="7" y="5"/>
                </a:cubicBezTo>
                <a:cubicBezTo>
                  <a:pt x="11" y="5"/>
                  <a:pt x="11" y="5"/>
                  <a:pt x="11" y="5"/>
                </a:cubicBezTo>
                <a:cubicBezTo>
                  <a:pt x="13" y="5"/>
                  <a:pt x="15" y="7"/>
                  <a:pt x="15" y="8"/>
                </a:cubicBezTo>
                <a:cubicBezTo>
                  <a:pt x="15" y="10"/>
                  <a:pt x="13" y="12"/>
                  <a:pt x="11" y="12"/>
                </a:cubicBezTo>
                <a:cubicBezTo>
                  <a:pt x="10" y="12"/>
                  <a:pt x="10" y="12"/>
                  <a:pt x="10" y="12"/>
                </a:cubicBezTo>
                <a:cubicBezTo>
                  <a:pt x="8" y="12"/>
                  <a:pt x="8" y="12"/>
                  <a:pt x="8" y="12"/>
                </a:cubicBezTo>
                <a:cubicBezTo>
                  <a:pt x="8" y="12"/>
                  <a:pt x="8" y="12"/>
                  <a:pt x="8" y="12"/>
                </a:cubicBezTo>
                <a:cubicBezTo>
                  <a:pt x="8" y="12"/>
                  <a:pt x="7" y="12"/>
                  <a:pt x="7" y="13"/>
                </a:cubicBezTo>
                <a:cubicBezTo>
                  <a:pt x="7" y="13"/>
                  <a:pt x="8" y="14"/>
                  <a:pt x="8" y="14"/>
                </a:cubicBezTo>
                <a:cubicBezTo>
                  <a:pt x="8" y="14"/>
                  <a:pt x="8" y="14"/>
                  <a:pt x="8" y="14"/>
                </a:cubicBezTo>
                <a:cubicBezTo>
                  <a:pt x="8" y="14"/>
                  <a:pt x="8" y="14"/>
                  <a:pt x="8" y="14"/>
                </a:cubicBezTo>
                <a:cubicBezTo>
                  <a:pt x="11" y="14"/>
                  <a:pt x="11" y="14"/>
                  <a:pt x="11" y="14"/>
                </a:cubicBezTo>
                <a:cubicBezTo>
                  <a:pt x="14" y="14"/>
                  <a:pt x="17" y="11"/>
                  <a:pt x="17" y="8"/>
                </a:cubicBezTo>
                <a:cubicBezTo>
                  <a:pt x="17" y="6"/>
                  <a:pt x="14" y="3"/>
                  <a:pt x="11" y="3"/>
                </a:cubicBezTo>
                <a:cubicBezTo>
                  <a:pt x="7" y="3"/>
                  <a:pt x="7" y="3"/>
                  <a:pt x="7" y="3"/>
                </a:cubicBezTo>
                <a:cubicBezTo>
                  <a:pt x="7" y="0"/>
                  <a:pt x="7" y="0"/>
                  <a:pt x="7" y="0"/>
                </a:cubicBezTo>
              </a:path>
            </a:pathLst>
          </a:custGeom>
          <a:solidFill>
            <a:srgbClr val="EAF4DD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09" name="Rectangle 84"/>
          <p:cNvSpPr>
            <a:spLocks noChangeArrowheads="1"/>
          </p:cNvSpPr>
          <p:nvPr/>
        </p:nvSpPr>
        <p:spPr bwMode="auto">
          <a:xfrm>
            <a:off x="5745163" y="1797050"/>
            <a:ext cx="463550" cy="83185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10" name="Freeform 85"/>
          <p:cNvSpPr>
            <a:spLocks/>
          </p:cNvSpPr>
          <p:nvPr/>
        </p:nvSpPr>
        <p:spPr bwMode="auto">
          <a:xfrm>
            <a:off x="6884988" y="3803650"/>
            <a:ext cx="644525" cy="1160463"/>
          </a:xfrm>
          <a:custGeom>
            <a:avLst/>
            <a:gdLst>
              <a:gd name="T0" fmla="*/ 117 w 235"/>
              <a:gd name="T1" fmla="*/ 423 h 423"/>
              <a:gd name="T2" fmla="*/ 11 w 235"/>
              <a:gd name="T3" fmla="*/ 405 h 423"/>
              <a:gd name="T4" fmla="*/ 0 w 235"/>
              <a:gd name="T5" fmla="*/ 366 h 423"/>
              <a:gd name="T6" fmla="*/ 0 w 235"/>
              <a:gd name="T7" fmla="*/ 355 h 423"/>
              <a:gd name="T8" fmla="*/ 0 w 235"/>
              <a:gd name="T9" fmla="*/ 69 h 423"/>
              <a:gd name="T10" fmla="*/ 0 w 235"/>
              <a:gd name="T11" fmla="*/ 58 h 423"/>
              <a:gd name="T12" fmla="*/ 11 w 235"/>
              <a:gd name="T13" fmla="*/ 19 h 423"/>
              <a:gd name="T14" fmla="*/ 117 w 235"/>
              <a:gd name="T15" fmla="*/ 0 h 423"/>
              <a:gd name="T16" fmla="*/ 224 w 235"/>
              <a:gd name="T17" fmla="*/ 19 h 423"/>
              <a:gd name="T18" fmla="*/ 234 w 235"/>
              <a:gd name="T19" fmla="*/ 58 h 423"/>
              <a:gd name="T20" fmla="*/ 234 w 235"/>
              <a:gd name="T21" fmla="*/ 69 h 423"/>
              <a:gd name="T22" fmla="*/ 234 w 235"/>
              <a:gd name="T23" fmla="*/ 355 h 423"/>
              <a:gd name="T24" fmla="*/ 234 w 235"/>
              <a:gd name="T25" fmla="*/ 366 h 423"/>
              <a:gd name="T26" fmla="*/ 224 w 235"/>
              <a:gd name="T27" fmla="*/ 405 h 423"/>
              <a:gd name="T28" fmla="*/ 117 w 235"/>
              <a:gd name="T29" fmla="*/ 423 h 423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35"/>
              <a:gd name="T46" fmla="*/ 0 h 423"/>
              <a:gd name="T47" fmla="*/ 235 w 235"/>
              <a:gd name="T48" fmla="*/ 423 h 423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35" h="423">
                <a:moveTo>
                  <a:pt x="117" y="423"/>
                </a:moveTo>
                <a:cubicBezTo>
                  <a:pt x="75" y="423"/>
                  <a:pt x="25" y="421"/>
                  <a:pt x="11" y="405"/>
                </a:cubicBezTo>
                <a:cubicBezTo>
                  <a:pt x="0" y="393"/>
                  <a:pt x="0" y="385"/>
                  <a:pt x="0" y="366"/>
                </a:cubicBezTo>
                <a:cubicBezTo>
                  <a:pt x="0" y="363"/>
                  <a:pt x="0" y="359"/>
                  <a:pt x="0" y="355"/>
                </a:cubicBezTo>
                <a:cubicBezTo>
                  <a:pt x="0" y="69"/>
                  <a:pt x="0" y="69"/>
                  <a:pt x="0" y="69"/>
                </a:cubicBezTo>
                <a:cubicBezTo>
                  <a:pt x="0" y="65"/>
                  <a:pt x="0" y="62"/>
                  <a:pt x="0" y="58"/>
                </a:cubicBezTo>
                <a:cubicBezTo>
                  <a:pt x="0" y="39"/>
                  <a:pt x="0" y="31"/>
                  <a:pt x="11" y="19"/>
                </a:cubicBezTo>
                <a:cubicBezTo>
                  <a:pt x="24" y="4"/>
                  <a:pt x="70" y="0"/>
                  <a:pt x="117" y="0"/>
                </a:cubicBezTo>
                <a:cubicBezTo>
                  <a:pt x="165" y="0"/>
                  <a:pt x="211" y="4"/>
                  <a:pt x="224" y="19"/>
                </a:cubicBezTo>
                <a:cubicBezTo>
                  <a:pt x="235" y="31"/>
                  <a:pt x="235" y="39"/>
                  <a:pt x="234" y="58"/>
                </a:cubicBezTo>
                <a:cubicBezTo>
                  <a:pt x="234" y="62"/>
                  <a:pt x="234" y="65"/>
                  <a:pt x="234" y="69"/>
                </a:cubicBezTo>
                <a:cubicBezTo>
                  <a:pt x="234" y="355"/>
                  <a:pt x="234" y="355"/>
                  <a:pt x="234" y="355"/>
                </a:cubicBezTo>
                <a:cubicBezTo>
                  <a:pt x="234" y="359"/>
                  <a:pt x="234" y="363"/>
                  <a:pt x="234" y="366"/>
                </a:cubicBezTo>
                <a:cubicBezTo>
                  <a:pt x="235" y="385"/>
                  <a:pt x="235" y="393"/>
                  <a:pt x="224" y="405"/>
                </a:cubicBezTo>
                <a:cubicBezTo>
                  <a:pt x="210" y="421"/>
                  <a:pt x="160" y="423"/>
                  <a:pt x="117" y="423"/>
                </a:cubicBezTo>
              </a:path>
            </a:pathLst>
          </a:custGeom>
          <a:solidFill>
            <a:srgbClr val="EEB211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11" name="Freeform 86"/>
          <p:cNvSpPr>
            <a:spLocks noEditPoints="1"/>
          </p:cNvSpPr>
          <p:nvPr/>
        </p:nvSpPr>
        <p:spPr bwMode="auto">
          <a:xfrm>
            <a:off x="7110413" y="4824413"/>
            <a:ext cx="55562" cy="52387"/>
          </a:xfrm>
          <a:custGeom>
            <a:avLst/>
            <a:gdLst>
              <a:gd name="T0" fmla="*/ 13 w 20"/>
              <a:gd name="T1" fmla="*/ 15 h 19"/>
              <a:gd name="T2" fmla="*/ 14 w 20"/>
              <a:gd name="T3" fmla="*/ 11 h 19"/>
              <a:gd name="T4" fmla="*/ 16 w 20"/>
              <a:gd name="T5" fmla="*/ 14 h 19"/>
              <a:gd name="T6" fmla="*/ 15 w 20"/>
              <a:gd name="T7" fmla="*/ 7 h 19"/>
              <a:gd name="T8" fmla="*/ 14 w 20"/>
              <a:gd name="T9" fmla="*/ 8 h 19"/>
              <a:gd name="T10" fmla="*/ 12 w 20"/>
              <a:gd name="T11" fmla="*/ 7 h 19"/>
              <a:gd name="T12" fmla="*/ 11 w 20"/>
              <a:gd name="T13" fmla="*/ 9 h 19"/>
              <a:gd name="T14" fmla="*/ 8 w 20"/>
              <a:gd name="T15" fmla="*/ 10 h 19"/>
              <a:gd name="T16" fmla="*/ 9 w 20"/>
              <a:gd name="T17" fmla="*/ 13 h 19"/>
              <a:gd name="T18" fmla="*/ 8 w 20"/>
              <a:gd name="T19" fmla="*/ 15 h 19"/>
              <a:gd name="T20" fmla="*/ 10 w 20"/>
              <a:gd name="T21" fmla="*/ 16 h 19"/>
              <a:gd name="T22" fmla="*/ 11 w 20"/>
              <a:gd name="T23" fmla="*/ 19 h 19"/>
              <a:gd name="T24" fmla="*/ 14 w 20"/>
              <a:gd name="T25" fmla="*/ 18 h 19"/>
              <a:gd name="T26" fmla="*/ 15 w 20"/>
              <a:gd name="T27" fmla="*/ 18 h 19"/>
              <a:gd name="T28" fmla="*/ 18 w 20"/>
              <a:gd name="T29" fmla="*/ 18 h 19"/>
              <a:gd name="T30" fmla="*/ 18 w 20"/>
              <a:gd name="T31" fmla="*/ 16 h 19"/>
              <a:gd name="T32" fmla="*/ 20 w 20"/>
              <a:gd name="T33" fmla="*/ 14 h 19"/>
              <a:gd name="T34" fmla="*/ 19 w 20"/>
              <a:gd name="T35" fmla="*/ 12 h 19"/>
              <a:gd name="T36" fmla="*/ 20 w 20"/>
              <a:gd name="T37" fmla="*/ 9 h 19"/>
              <a:gd name="T38" fmla="*/ 17 w 20"/>
              <a:gd name="T39" fmla="*/ 9 h 19"/>
              <a:gd name="T40" fmla="*/ 15 w 20"/>
              <a:gd name="T41" fmla="*/ 7 h 19"/>
              <a:gd name="T42" fmla="*/ 3 w 20"/>
              <a:gd name="T43" fmla="*/ 5 h 19"/>
              <a:gd name="T44" fmla="*/ 6 w 20"/>
              <a:gd name="T45" fmla="*/ 5 h 19"/>
              <a:gd name="T46" fmla="*/ 5 w 20"/>
              <a:gd name="T47" fmla="*/ 0 h 19"/>
              <a:gd name="T48" fmla="*/ 4 w 20"/>
              <a:gd name="T49" fmla="*/ 1 h 19"/>
              <a:gd name="T50" fmla="*/ 2 w 20"/>
              <a:gd name="T51" fmla="*/ 1 h 19"/>
              <a:gd name="T52" fmla="*/ 1 w 20"/>
              <a:gd name="T53" fmla="*/ 3 h 19"/>
              <a:gd name="T54" fmla="*/ 0 w 20"/>
              <a:gd name="T55" fmla="*/ 4 h 19"/>
              <a:gd name="T56" fmla="*/ 1 w 20"/>
              <a:gd name="T57" fmla="*/ 6 h 19"/>
              <a:gd name="T58" fmla="*/ 0 w 20"/>
              <a:gd name="T59" fmla="*/ 8 h 19"/>
              <a:gd name="T60" fmla="*/ 3 w 20"/>
              <a:gd name="T61" fmla="*/ 8 h 19"/>
              <a:gd name="T62" fmla="*/ 4 w 20"/>
              <a:gd name="T63" fmla="*/ 10 h 19"/>
              <a:gd name="T64" fmla="*/ 6 w 20"/>
              <a:gd name="T65" fmla="*/ 9 h 19"/>
              <a:gd name="T66" fmla="*/ 8 w 20"/>
              <a:gd name="T67" fmla="*/ 9 h 19"/>
              <a:gd name="T68" fmla="*/ 8 w 20"/>
              <a:gd name="T69" fmla="*/ 7 h 19"/>
              <a:gd name="T70" fmla="*/ 10 w 20"/>
              <a:gd name="T71" fmla="*/ 6 h 19"/>
              <a:gd name="T72" fmla="*/ 9 w 20"/>
              <a:gd name="T73" fmla="*/ 4 h 19"/>
              <a:gd name="T74" fmla="*/ 9 w 20"/>
              <a:gd name="T75" fmla="*/ 2 h 19"/>
              <a:gd name="T76" fmla="*/ 7 w 20"/>
              <a:gd name="T77" fmla="*/ 1 h 19"/>
              <a:gd name="T78" fmla="*/ 5 w 20"/>
              <a:gd name="T79" fmla="*/ 0 h 19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0"/>
              <a:gd name="T121" fmla="*/ 0 h 19"/>
              <a:gd name="T122" fmla="*/ 20 w 20"/>
              <a:gd name="T123" fmla="*/ 19 h 19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0" h="19">
                <a:moveTo>
                  <a:pt x="14" y="15"/>
                </a:moveTo>
                <a:cubicBezTo>
                  <a:pt x="14" y="15"/>
                  <a:pt x="14" y="15"/>
                  <a:pt x="13" y="15"/>
                </a:cubicBezTo>
                <a:cubicBezTo>
                  <a:pt x="12" y="15"/>
                  <a:pt x="12" y="13"/>
                  <a:pt x="12" y="12"/>
                </a:cubicBezTo>
                <a:cubicBezTo>
                  <a:pt x="12" y="11"/>
                  <a:pt x="13" y="11"/>
                  <a:pt x="14" y="11"/>
                </a:cubicBezTo>
                <a:cubicBezTo>
                  <a:pt x="14" y="11"/>
                  <a:pt x="15" y="11"/>
                  <a:pt x="15" y="11"/>
                </a:cubicBezTo>
                <a:cubicBezTo>
                  <a:pt x="16" y="11"/>
                  <a:pt x="16" y="13"/>
                  <a:pt x="16" y="14"/>
                </a:cubicBezTo>
                <a:cubicBezTo>
                  <a:pt x="16" y="15"/>
                  <a:pt x="15" y="15"/>
                  <a:pt x="14" y="15"/>
                </a:cubicBezTo>
                <a:moveTo>
                  <a:pt x="15" y="7"/>
                </a:moveTo>
                <a:cubicBezTo>
                  <a:pt x="14" y="8"/>
                  <a:pt x="14" y="8"/>
                  <a:pt x="14" y="8"/>
                </a:cubicBezTo>
                <a:cubicBezTo>
                  <a:pt x="14" y="8"/>
                  <a:pt x="14" y="8"/>
                  <a:pt x="14" y="8"/>
                </a:cubicBezTo>
                <a:cubicBezTo>
                  <a:pt x="14" y="8"/>
                  <a:pt x="14" y="8"/>
                  <a:pt x="13" y="8"/>
                </a:cubicBezTo>
                <a:cubicBezTo>
                  <a:pt x="12" y="7"/>
                  <a:pt x="12" y="7"/>
                  <a:pt x="12" y="7"/>
                </a:cubicBezTo>
                <a:cubicBezTo>
                  <a:pt x="10" y="8"/>
                  <a:pt x="10" y="8"/>
                  <a:pt x="10" y="8"/>
                </a:cubicBezTo>
                <a:cubicBezTo>
                  <a:pt x="11" y="9"/>
                  <a:pt x="11" y="9"/>
                  <a:pt x="11" y="9"/>
                </a:cubicBezTo>
                <a:cubicBezTo>
                  <a:pt x="10" y="10"/>
                  <a:pt x="10" y="10"/>
                  <a:pt x="10" y="10"/>
                </a:cubicBezTo>
                <a:cubicBezTo>
                  <a:pt x="8" y="10"/>
                  <a:pt x="8" y="10"/>
                  <a:pt x="8" y="10"/>
                </a:cubicBezTo>
                <a:cubicBezTo>
                  <a:pt x="8" y="12"/>
                  <a:pt x="8" y="12"/>
                  <a:pt x="8" y="12"/>
                </a:cubicBezTo>
                <a:cubicBezTo>
                  <a:pt x="9" y="13"/>
                  <a:pt x="9" y="13"/>
                  <a:pt x="9" y="13"/>
                </a:cubicBezTo>
                <a:cubicBezTo>
                  <a:pt x="9" y="13"/>
                  <a:pt x="9" y="13"/>
                  <a:pt x="9" y="14"/>
                </a:cubicBezTo>
                <a:cubicBezTo>
                  <a:pt x="8" y="15"/>
                  <a:pt x="8" y="15"/>
                  <a:pt x="8" y="15"/>
                </a:cubicBezTo>
                <a:cubicBezTo>
                  <a:pt x="9" y="17"/>
                  <a:pt x="9" y="17"/>
                  <a:pt x="9" y="17"/>
                </a:cubicBezTo>
                <a:cubicBezTo>
                  <a:pt x="10" y="16"/>
                  <a:pt x="10" y="16"/>
                  <a:pt x="10" y="16"/>
                </a:cubicBezTo>
                <a:cubicBezTo>
                  <a:pt x="11" y="17"/>
                  <a:pt x="11" y="17"/>
                  <a:pt x="11" y="17"/>
                </a:cubicBezTo>
                <a:cubicBezTo>
                  <a:pt x="11" y="19"/>
                  <a:pt x="11" y="19"/>
                  <a:pt x="11" y="19"/>
                </a:cubicBezTo>
                <a:cubicBezTo>
                  <a:pt x="13" y="19"/>
                  <a:pt x="13" y="19"/>
                  <a:pt x="13" y="19"/>
                </a:cubicBezTo>
                <a:cubicBezTo>
                  <a:pt x="14" y="18"/>
                  <a:pt x="14" y="18"/>
                  <a:pt x="14" y="18"/>
                </a:cubicBezTo>
                <a:cubicBezTo>
                  <a:pt x="14" y="18"/>
                  <a:pt x="14" y="18"/>
                  <a:pt x="14" y="18"/>
                </a:cubicBezTo>
                <a:cubicBezTo>
                  <a:pt x="14" y="18"/>
                  <a:pt x="15" y="18"/>
                  <a:pt x="15" y="18"/>
                </a:cubicBezTo>
                <a:cubicBezTo>
                  <a:pt x="16" y="19"/>
                  <a:pt x="16" y="19"/>
                  <a:pt x="16" y="19"/>
                </a:cubicBezTo>
                <a:cubicBezTo>
                  <a:pt x="18" y="18"/>
                  <a:pt x="18" y="18"/>
                  <a:pt x="18" y="18"/>
                </a:cubicBezTo>
                <a:cubicBezTo>
                  <a:pt x="17" y="17"/>
                  <a:pt x="17" y="17"/>
                  <a:pt x="17" y="17"/>
                </a:cubicBezTo>
                <a:cubicBezTo>
                  <a:pt x="18" y="16"/>
                  <a:pt x="18" y="16"/>
                  <a:pt x="18" y="16"/>
                </a:cubicBezTo>
                <a:cubicBezTo>
                  <a:pt x="20" y="16"/>
                  <a:pt x="20" y="16"/>
                  <a:pt x="20" y="16"/>
                </a:cubicBezTo>
                <a:cubicBezTo>
                  <a:pt x="20" y="14"/>
                  <a:pt x="20" y="14"/>
                  <a:pt x="20" y="14"/>
                </a:cubicBezTo>
                <a:cubicBezTo>
                  <a:pt x="19" y="13"/>
                  <a:pt x="19" y="13"/>
                  <a:pt x="19" y="13"/>
                </a:cubicBezTo>
                <a:cubicBezTo>
                  <a:pt x="19" y="13"/>
                  <a:pt x="19" y="13"/>
                  <a:pt x="19" y="12"/>
                </a:cubicBezTo>
                <a:cubicBezTo>
                  <a:pt x="20" y="11"/>
                  <a:pt x="20" y="11"/>
                  <a:pt x="20" y="11"/>
                </a:cubicBezTo>
                <a:cubicBezTo>
                  <a:pt x="20" y="9"/>
                  <a:pt x="20" y="9"/>
                  <a:pt x="20" y="9"/>
                </a:cubicBezTo>
                <a:cubicBezTo>
                  <a:pt x="18" y="10"/>
                  <a:pt x="18" y="10"/>
                  <a:pt x="18" y="10"/>
                </a:cubicBezTo>
                <a:cubicBezTo>
                  <a:pt x="17" y="9"/>
                  <a:pt x="17" y="9"/>
                  <a:pt x="17" y="9"/>
                </a:cubicBezTo>
                <a:cubicBezTo>
                  <a:pt x="17" y="7"/>
                  <a:pt x="17" y="7"/>
                  <a:pt x="17" y="7"/>
                </a:cubicBezTo>
                <a:cubicBezTo>
                  <a:pt x="15" y="7"/>
                  <a:pt x="15" y="7"/>
                  <a:pt x="15" y="7"/>
                </a:cubicBezTo>
                <a:moveTo>
                  <a:pt x="5" y="6"/>
                </a:moveTo>
                <a:cubicBezTo>
                  <a:pt x="4" y="6"/>
                  <a:pt x="3" y="6"/>
                  <a:pt x="3" y="5"/>
                </a:cubicBezTo>
                <a:cubicBezTo>
                  <a:pt x="3" y="4"/>
                  <a:pt x="4" y="3"/>
                  <a:pt x="5" y="3"/>
                </a:cubicBezTo>
                <a:cubicBezTo>
                  <a:pt x="6" y="3"/>
                  <a:pt x="6" y="4"/>
                  <a:pt x="6" y="5"/>
                </a:cubicBezTo>
                <a:cubicBezTo>
                  <a:pt x="6" y="6"/>
                  <a:pt x="6" y="6"/>
                  <a:pt x="5" y="6"/>
                </a:cubicBezTo>
                <a:moveTo>
                  <a:pt x="5" y="0"/>
                </a:moveTo>
                <a:cubicBezTo>
                  <a:pt x="4" y="0"/>
                  <a:pt x="4" y="0"/>
                  <a:pt x="4" y="0"/>
                </a:cubicBezTo>
                <a:cubicBezTo>
                  <a:pt x="4" y="1"/>
                  <a:pt x="4" y="1"/>
                  <a:pt x="4" y="1"/>
                </a:cubicBezTo>
                <a:cubicBezTo>
                  <a:pt x="3" y="1"/>
                  <a:pt x="3" y="1"/>
                  <a:pt x="3" y="1"/>
                </a:cubicBezTo>
                <a:cubicBezTo>
                  <a:pt x="2" y="1"/>
                  <a:pt x="2" y="1"/>
                  <a:pt x="2" y="1"/>
                </a:cubicBezTo>
                <a:cubicBezTo>
                  <a:pt x="0" y="2"/>
                  <a:pt x="0" y="2"/>
                  <a:pt x="0" y="2"/>
                </a:cubicBezTo>
                <a:cubicBezTo>
                  <a:pt x="1" y="3"/>
                  <a:pt x="1" y="3"/>
                  <a:pt x="1" y="3"/>
                </a:cubicBezTo>
                <a:cubicBezTo>
                  <a:pt x="1" y="4"/>
                  <a:pt x="1" y="4"/>
                  <a:pt x="1" y="4"/>
                </a:cubicBezTo>
                <a:cubicBezTo>
                  <a:pt x="0" y="4"/>
                  <a:pt x="0" y="4"/>
                  <a:pt x="0" y="4"/>
                </a:cubicBezTo>
                <a:cubicBezTo>
                  <a:pt x="0" y="6"/>
                  <a:pt x="0" y="6"/>
                  <a:pt x="0" y="6"/>
                </a:cubicBezTo>
                <a:cubicBezTo>
                  <a:pt x="1" y="6"/>
                  <a:pt x="1" y="6"/>
                  <a:pt x="1" y="6"/>
                </a:cubicBezTo>
                <a:cubicBezTo>
                  <a:pt x="1" y="7"/>
                  <a:pt x="1" y="7"/>
                  <a:pt x="1" y="7"/>
                </a:cubicBezTo>
                <a:cubicBezTo>
                  <a:pt x="0" y="8"/>
                  <a:pt x="0" y="8"/>
                  <a:pt x="0" y="8"/>
                </a:cubicBezTo>
                <a:cubicBezTo>
                  <a:pt x="2" y="9"/>
                  <a:pt x="2" y="9"/>
                  <a:pt x="2" y="9"/>
                </a:cubicBezTo>
                <a:cubicBezTo>
                  <a:pt x="3" y="8"/>
                  <a:pt x="3" y="8"/>
                  <a:pt x="3" y="8"/>
                </a:cubicBezTo>
                <a:cubicBezTo>
                  <a:pt x="4" y="9"/>
                  <a:pt x="4" y="9"/>
                  <a:pt x="4" y="9"/>
                </a:cubicBezTo>
                <a:cubicBezTo>
                  <a:pt x="4" y="10"/>
                  <a:pt x="4" y="10"/>
                  <a:pt x="4" y="10"/>
                </a:cubicBezTo>
                <a:cubicBezTo>
                  <a:pt x="5" y="10"/>
                  <a:pt x="5" y="10"/>
                  <a:pt x="5" y="10"/>
                </a:cubicBezTo>
                <a:cubicBezTo>
                  <a:pt x="6" y="9"/>
                  <a:pt x="6" y="9"/>
                  <a:pt x="6" y="9"/>
                </a:cubicBezTo>
                <a:cubicBezTo>
                  <a:pt x="7" y="8"/>
                  <a:pt x="7" y="8"/>
                  <a:pt x="7" y="8"/>
                </a:cubicBezTo>
                <a:cubicBezTo>
                  <a:pt x="8" y="9"/>
                  <a:pt x="8" y="9"/>
                  <a:pt x="8" y="9"/>
                </a:cubicBezTo>
                <a:cubicBezTo>
                  <a:pt x="9" y="8"/>
                  <a:pt x="9" y="8"/>
                  <a:pt x="9" y="8"/>
                </a:cubicBezTo>
                <a:cubicBezTo>
                  <a:pt x="8" y="7"/>
                  <a:pt x="8" y="7"/>
                  <a:pt x="8" y="7"/>
                </a:cubicBezTo>
                <a:cubicBezTo>
                  <a:pt x="9" y="6"/>
                  <a:pt x="9" y="6"/>
                  <a:pt x="9" y="6"/>
                </a:cubicBezTo>
                <a:cubicBezTo>
                  <a:pt x="10" y="6"/>
                  <a:pt x="10" y="6"/>
                  <a:pt x="10" y="6"/>
                </a:cubicBezTo>
                <a:cubicBezTo>
                  <a:pt x="10" y="4"/>
                  <a:pt x="10" y="4"/>
                  <a:pt x="10" y="4"/>
                </a:cubicBezTo>
                <a:cubicBezTo>
                  <a:pt x="9" y="4"/>
                  <a:pt x="9" y="4"/>
                  <a:pt x="9" y="4"/>
                </a:cubicBezTo>
                <a:cubicBezTo>
                  <a:pt x="8" y="3"/>
                  <a:pt x="8" y="3"/>
                  <a:pt x="8" y="3"/>
                </a:cubicBezTo>
                <a:cubicBezTo>
                  <a:pt x="9" y="2"/>
                  <a:pt x="9" y="2"/>
                  <a:pt x="9" y="2"/>
                </a:cubicBezTo>
                <a:cubicBezTo>
                  <a:pt x="8" y="1"/>
                  <a:pt x="8" y="1"/>
                  <a:pt x="8" y="1"/>
                </a:cubicBezTo>
                <a:cubicBezTo>
                  <a:pt x="7" y="1"/>
                  <a:pt x="7" y="1"/>
                  <a:pt x="7" y="1"/>
                </a:cubicBezTo>
                <a:cubicBezTo>
                  <a:pt x="6" y="1"/>
                  <a:pt x="6" y="1"/>
                  <a:pt x="6" y="1"/>
                </a:cubicBezTo>
                <a:cubicBezTo>
                  <a:pt x="5" y="0"/>
                  <a:pt x="5" y="0"/>
                  <a:pt x="5" y="0"/>
                </a:cubicBezTo>
              </a:path>
            </a:pathLst>
          </a:custGeom>
          <a:solidFill>
            <a:srgbClr val="FCF4DC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12" name="Freeform 87"/>
          <p:cNvSpPr>
            <a:spLocks noEditPoints="1"/>
          </p:cNvSpPr>
          <p:nvPr/>
        </p:nvSpPr>
        <p:spPr bwMode="auto">
          <a:xfrm>
            <a:off x="6970713" y="4822825"/>
            <a:ext cx="60325" cy="53975"/>
          </a:xfrm>
          <a:custGeom>
            <a:avLst/>
            <a:gdLst>
              <a:gd name="T0" fmla="*/ 11 w 22"/>
              <a:gd name="T1" fmla="*/ 6 h 20"/>
              <a:gd name="T2" fmla="*/ 4 w 22"/>
              <a:gd name="T3" fmla="*/ 13 h 20"/>
              <a:gd name="T4" fmla="*/ 4 w 22"/>
              <a:gd name="T5" fmla="*/ 19 h 20"/>
              <a:gd name="T6" fmla="*/ 5 w 22"/>
              <a:gd name="T7" fmla="*/ 20 h 20"/>
              <a:gd name="T8" fmla="*/ 9 w 22"/>
              <a:gd name="T9" fmla="*/ 20 h 20"/>
              <a:gd name="T10" fmla="*/ 9 w 22"/>
              <a:gd name="T11" fmla="*/ 15 h 20"/>
              <a:gd name="T12" fmla="*/ 10 w 22"/>
              <a:gd name="T13" fmla="*/ 13 h 20"/>
              <a:gd name="T14" fmla="*/ 12 w 22"/>
              <a:gd name="T15" fmla="*/ 13 h 20"/>
              <a:gd name="T16" fmla="*/ 13 w 22"/>
              <a:gd name="T17" fmla="*/ 15 h 20"/>
              <a:gd name="T18" fmla="*/ 13 w 22"/>
              <a:gd name="T19" fmla="*/ 20 h 20"/>
              <a:gd name="T20" fmla="*/ 17 w 22"/>
              <a:gd name="T21" fmla="*/ 20 h 20"/>
              <a:gd name="T22" fmla="*/ 18 w 22"/>
              <a:gd name="T23" fmla="*/ 19 h 20"/>
              <a:gd name="T24" fmla="*/ 18 w 22"/>
              <a:gd name="T25" fmla="*/ 13 h 20"/>
              <a:gd name="T26" fmla="*/ 11 w 22"/>
              <a:gd name="T27" fmla="*/ 6 h 20"/>
              <a:gd name="T28" fmla="*/ 11 w 22"/>
              <a:gd name="T29" fmla="*/ 0 h 20"/>
              <a:gd name="T30" fmla="*/ 10 w 22"/>
              <a:gd name="T31" fmla="*/ 1 h 20"/>
              <a:gd name="T32" fmla="*/ 1 w 22"/>
              <a:gd name="T33" fmla="*/ 10 h 20"/>
              <a:gd name="T34" fmla="*/ 1 w 22"/>
              <a:gd name="T35" fmla="*/ 12 h 20"/>
              <a:gd name="T36" fmla="*/ 2 w 22"/>
              <a:gd name="T37" fmla="*/ 13 h 20"/>
              <a:gd name="T38" fmla="*/ 3 w 22"/>
              <a:gd name="T39" fmla="*/ 12 h 20"/>
              <a:gd name="T40" fmla="*/ 11 w 22"/>
              <a:gd name="T41" fmla="*/ 5 h 20"/>
              <a:gd name="T42" fmla="*/ 19 w 22"/>
              <a:gd name="T43" fmla="*/ 12 h 20"/>
              <a:gd name="T44" fmla="*/ 20 w 22"/>
              <a:gd name="T45" fmla="*/ 13 h 20"/>
              <a:gd name="T46" fmla="*/ 21 w 22"/>
              <a:gd name="T47" fmla="*/ 12 h 20"/>
              <a:gd name="T48" fmla="*/ 21 w 22"/>
              <a:gd name="T49" fmla="*/ 10 h 20"/>
              <a:gd name="T50" fmla="*/ 12 w 22"/>
              <a:gd name="T51" fmla="*/ 1 h 20"/>
              <a:gd name="T52" fmla="*/ 11 w 22"/>
              <a:gd name="T53" fmla="*/ 0 h 2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22"/>
              <a:gd name="T82" fmla="*/ 0 h 20"/>
              <a:gd name="T83" fmla="*/ 22 w 22"/>
              <a:gd name="T84" fmla="*/ 20 h 20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22" h="20">
                <a:moveTo>
                  <a:pt x="11" y="6"/>
                </a:moveTo>
                <a:cubicBezTo>
                  <a:pt x="4" y="13"/>
                  <a:pt x="4" y="13"/>
                  <a:pt x="4" y="13"/>
                </a:cubicBezTo>
                <a:cubicBezTo>
                  <a:pt x="4" y="19"/>
                  <a:pt x="4" y="19"/>
                  <a:pt x="4" y="19"/>
                </a:cubicBezTo>
                <a:cubicBezTo>
                  <a:pt x="4" y="20"/>
                  <a:pt x="4" y="20"/>
                  <a:pt x="5" y="20"/>
                </a:cubicBezTo>
                <a:cubicBezTo>
                  <a:pt x="9" y="20"/>
                  <a:pt x="9" y="20"/>
                  <a:pt x="9" y="20"/>
                </a:cubicBezTo>
                <a:cubicBezTo>
                  <a:pt x="9" y="15"/>
                  <a:pt x="9" y="15"/>
                  <a:pt x="9" y="15"/>
                </a:cubicBezTo>
                <a:cubicBezTo>
                  <a:pt x="9" y="14"/>
                  <a:pt x="9" y="13"/>
                  <a:pt x="10" y="13"/>
                </a:cubicBezTo>
                <a:cubicBezTo>
                  <a:pt x="12" y="13"/>
                  <a:pt x="12" y="13"/>
                  <a:pt x="12" y="13"/>
                </a:cubicBezTo>
                <a:cubicBezTo>
                  <a:pt x="13" y="13"/>
                  <a:pt x="13" y="14"/>
                  <a:pt x="13" y="15"/>
                </a:cubicBezTo>
                <a:cubicBezTo>
                  <a:pt x="13" y="20"/>
                  <a:pt x="13" y="20"/>
                  <a:pt x="13" y="20"/>
                </a:cubicBezTo>
                <a:cubicBezTo>
                  <a:pt x="17" y="20"/>
                  <a:pt x="17" y="20"/>
                  <a:pt x="17" y="20"/>
                </a:cubicBezTo>
                <a:cubicBezTo>
                  <a:pt x="18" y="20"/>
                  <a:pt x="18" y="20"/>
                  <a:pt x="18" y="19"/>
                </a:cubicBezTo>
                <a:cubicBezTo>
                  <a:pt x="18" y="13"/>
                  <a:pt x="18" y="13"/>
                  <a:pt x="18" y="13"/>
                </a:cubicBezTo>
                <a:cubicBezTo>
                  <a:pt x="11" y="6"/>
                  <a:pt x="11" y="6"/>
                  <a:pt x="11" y="6"/>
                </a:cubicBezTo>
                <a:moveTo>
                  <a:pt x="11" y="0"/>
                </a:moveTo>
                <a:cubicBezTo>
                  <a:pt x="10" y="0"/>
                  <a:pt x="10" y="0"/>
                  <a:pt x="10" y="1"/>
                </a:cubicBezTo>
                <a:cubicBezTo>
                  <a:pt x="1" y="10"/>
                  <a:pt x="1" y="10"/>
                  <a:pt x="1" y="10"/>
                </a:cubicBezTo>
                <a:cubicBezTo>
                  <a:pt x="0" y="10"/>
                  <a:pt x="0" y="11"/>
                  <a:pt x="1" y="12"/>
                </a:cubicBezTo>
                <a:cubicBezTo>
                  <a:pt x="1" y="12"/>
                  <a:pt x="2" y="13"/>
                  <a:pt x="2" y="13"/>
                </a:cubicBezTo>
                <a:cubicBezTo>
                  <a:pt x="2" y="13"/>
                  <a:pt x="3" y="12"/>
                  <a:pt x="3" y="12"/>
                </a:cubicBezTo>
                <a:cubicBezTo>
                  <a:pt x="11" y="5"/>
                  <a:pt x="11" y="5"/>
                  <a:pt x="11" y="5"/>
                </a:cubicBezTo>
                <a:cubicBezTo>
                  <a:pt x="19" y="12"/>
                  <a:pt x="19" y="12"/>
                  <a:pt x="19" y="12"/>
                </a:cubicBezTo>
                <a:cubicBezTo>
                  <a:pt x="19" y="12"/>
                  <a:pt x="19" y="13"/>
                  <a:pt x="20" y="13"/>
                </a:cubicBezTo>
                <a:cubicBezTo>
                  <a:pt x="20" y="13"/>
                  <a:pt x="21" y="12"/>
                  <a:pt x="21" y="12"/>
                </a:cubicBezTo>
                <a:cubicBezTo>
                  <a:pt x="22" y="11"/>
                  <a:pt x="22" y="10"/>
                  <a:pt x="21" y="10"/>
                </a:cubicBezTo>
                <a:cubicBezTo>
                  <a:pt x="12" y="1"/>
                  <a:pt x="12" y="1"/>
                  <a:pt x="12" y="1"/>
                </a:cubicBezTo>
                <a:cubicBezTo>
                  <a:pt x="12" y="0"/>
                  <a:pt x="12" y="0"/>
                  <a:pt x="11" y="0"/>
                </a:cubicBezTo>
              </a:path>
            </a:pathLst>
          </a:custGeom>
          <a:solidFill>
            <a:srgbClr val="FCF4DC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13" name="Freeform 88"/>
          <p:cNvSpPr>
            <a:spLocks noEditPoints="1"/>
          </p:cNvSpPr>
          <p:nvPr/>
        </p:nvSpPr>
        <p:spPr bwMode="auto">
          <a:xfrm>
            <a:off x="7385050" y="4822825"/>
            <a:ext cx="52388" cy="53975"/>
          </a:xfrm>
          <a:custGeom>
            <a:avLst/>
            <a:gdLst>
              <a:gd name="T0" fmla="*/ 13 w 19"/>
              <a:gd name="T1" fmla="*/ 12 h 20"/>
              <a:gd name="T2" fmla="*/ 12 w 19"/>
              <a:gd name="T3" fmla="*/ 13 h 20"/>
              <a:gd name="T4" fmla="*/ 12 w 19"/>
              <a:gd name="T5" fmla="*/ 15 h 20"/>
              <a:gd name="T6" fmla="*/ 16 w 19"/>
              <a:gd name="T7" fmla="*/ 20 h 20"/>
              <a:gd name="T8" fmla="*/ 17 w 19"/>
              <a:gd name="T9" fmla="*/ 20 h 20"/>
              <a:gd name="T10" fmla="*/ 19 w 19"/>
              <a:gd name="T11" fmla="*/ 20 h 20"/>
              <a:gd name="T12" fmla="*/ 19 w 19"/>
              <a:gd name="T13" fmla="*/ 17 h 20"/>
              <a:gd name="T14" fmla="*/ 15 w 19"/>
              <a:gd name="T15" fmla="*/ 13 h 20"/>
              <a:gd name="T16" fmla="*/ 13 w 19"/>
              <a:gd name="T17" fmla="*/ 12 h 20"/>
              <a:gd name="T18" fmla="*/ 7 w 19"/>
              <a:gd name="T19" fmla="*/ 11 h 20"/>
              <a:gd name="T20" fmla="*/ 3 w 19"/>
              <a:gd name="T21" fmla="*/ 7 h 20"/>
              <a:gd name="T22" fmla="*/ 7 w 19"/>
              <a:gd name="T23" fmla="*/ 3 h 20"/>
              <a:gd name="T24" fmla="*/ 11 w 19"/>
              <a:gd name="T25" fmla="*/ 7 h 20"/>
              <a:gd name="T26" fmla="*/ 7 w 19"/>
              <a:gd name="T27" fmla="*/ 11 h 20"/>
              <a:gd name="T28" fmla="*/ 7 w 19"/>
              <a:gd name="T29" fmla="*/ 0 h 20"/>
              <a:gd name="T30" fmla="*/ 0 w 19"/>
              <a:gd name="T31" fmla="*/ 7 h 20"/>
              <a:gd name="T32" fmla="*/ 7 w 19"/>
              <a:gd name="T33" fmla="*/ 14 h 20"/>
              <a:gd name="T34" fmla="*/ 14 w 19"/>
              <a:gd name="T35" fmla="*/ 7 h 20"/>
              <a:gd name="T36" fmla="*/ 7 w 19"/>
              <a:gd name="T37" fmla="*/ 0 h 2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9"/>
              <a:gd name="T58" fmla="*/ 0 h 20"/>
              <a:gd name="T59" fmla="*/ 19 w 19"/>
              <a:gd name="T60" fmla="*/ 20 h 20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9" h="20">
                <a:moveTo>
                  <a:pt x="13" y="12"/>
                </a:moveTo>
                <a:cubicBezTo>
                  <a:pt x="13" y="12"/>
                  <a:pt x="13" y="12"/>
                  <a:pt x="12" y="13"/>
                </a:cubicBezTo>
                <a:cubicBezTo>
                  <a:pt x="12" y="13"/>
                  <a:pt x="11" y="14"/>
                  <a:pt x="12" y="15"/>
                </a:cubicBezTo>
                <a:cubicBezTo>
                  <a:pt x="16" y="20"/>
                  <a:pt x="16" y="20"/>
                  <a:pt x="16" y="20"/>
                </a:cubicBezTo>
                <a:cubicBezTo>
                  <a:pt x="16" y="20"/>
                  <a:pt x="17" y="20"/>
                  <a:pt x="17" y="20"/>
                </a:cubicBezTo>
                <a:cubicBezTo>
                  <a:pt x="18" y="20"/>
                  <a:pt x="18" y="20"/>
                  <a:pt x="19" y="20"/>
                </a:cubicBezTo>
                <a:cubicBezTo>
                  <a:pt x="19" y="19"/>
                  <a:pt x="19" y="18"/>
                  <a:pt x="19" y="17"/>
                </a:cubicBezTo>
                <a:cubicBezTo>
                  <a:pt x="15" y="13"/>
                  <a:pt x="15" y="13"/>
                  <a:pt x="15" y="13"/>
                </a:cubicBezTo>
                <a:cubicBezTo>
                  <a:pt x="14" y="13"/>
                  <a:pt x="14" y="12"/>
                  <a:pt x="13" y="12"/>
                </a:cubicBezTo>
                <a:moveTo>
                  <a:pt x="7" y="11"/>
                </a:moveTo>
                <a:cubicBezTo>
                  <a:pt x="5" y="11"/>
                  <a:pt x="3" y="9"/>
                  <a:pt x="3" y="7"/>
                </a:cubicBezTo>
                <a:cubicBezTo>
                  <a:pt x="3" y="5"/>
                  <a:pt x="5" y="3"/>
                  <a:pt x="7" y="3"/>
                </a:cubicBezTo>
                <a:cubicBezTo>
                  <a:pt x="9" y="3"/>
                  <a:pt x="11" y="5"/>
                  <a:pt x="11" y="7"/>
                </a:cubicBezTo>
                <a:cubicBezTo>
                  <a:pt x="11" y="9"/>
                  <a:pt x="9" y="11"/>
                  <a:pt x="7" y="11"/>
                </a:cubicBezTo>
                <a:moveTo>
                  <a:pt x="7" y="0"/>
                </a:moveTo>
                <a:cubicBezTo>
                  <a:pt x="3" y="0"/>
                  <a:pt x="0" y="3"/>
                  <a:pt x="0" y="7"/>
                </a:cubicBezTo>
                <a:cubicBezTo>
                  <a:pt x="0" y="11"/>
                  <a:pt x="3" y="14"/>
                  <a:pt x="7" y="14"/>
                </a:cubicBezTo>
                <a:cubicBezTo>
                  <a:pt x="11" y="14"/>
                  <a:pt x="14" y="11"/>
                  <a:pt x="14" y="7"/>
                </a:cubicBezTo>
                <a:cubicBezTo>
                  <a:pt x="14" y="3"/>
                  <a:pt x="11" y="0"/>
                  <a:pt x="7" y="0"/>
                </a:cubicBezTo>
              </a:path>
            </a:pathLst>
          </a:custGeom>
          <a:solidFill>
            <a:srgbClr val="FCF4DC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14" name="Freeform 89"/>
          <p:cNvSpPr>
            <a:spLocks/>
          </p:cNvSpPr>
          <p:nvPr/>
        </p:nvSpPr>
        <p:spPr bwMode="auto">
          <a:xfrm>
            <a:off x="7248525" y="4827588"/>
            <a:ext cx="57150" cy="47625"/>
          </a:xfrm>
          <a:custGeom>
            <a:avLst/>
            <a:gdLst>
              <a:gd name="T0" fmla="*/ 8 w 21"/>
              <a:gd name="T1" fmla="*/ 0 h 17"/>
              <a:gd name="T2" fmla="*/ 0 w 21"/>
              <a:gd name="T3" fmla="*/ 5 h 17"/>
              <a:gd name="T4" fmla="*/ 8 w 21"/>
              <a:gd name="T5" fmla="*/ 10 h 17"/>
              <a:gd name="T6" fmla="*/ 8 w 21"/>
              <a:gd name="T7" fmla="*/ 6 h 17"/>
              <a:gd name="T8" fmla="*/ 13 w 21"/>
              <a:gd name="T9" fmla="*/ 6 h 17"/>
              <a:gd name="T10" fmla="*/ 18 w 21"/>
              <a:gd name="T11" fmla="*/ 10 h 17"/>
              <a:gd name="T12" fmla="*/ 13 w 21"/>
              <a:gd name="T13" fmla="*/ 14 h 17"/>
              <a:gd name="T14" fmla="*/ 13 w 21"/>
              <a:gd name="T15" fmla="*/ 14 h 17"/>
              <a:gd name="T16" fmla="*/ 10 w 21"/>
              <a:gd name="T17" fmla="*/ 14 h 17"/>
              <a:gd name="T18" fmla="*/ 10 w 21"/>
              <a:gd name="T19" fmla="*/ 14 h 17"/>
              <a:gd name="T20" fmla="*/ 9 w 21"/>
              <a:gd name="T21" fmla="*/ 16 h 17"/>
              <a:gd name="T22" fmla="*/ 10 w 21"/>
              <a:gd name="T23" fmla="*/ 17 h 17"/>
              <a:gd name="T24" fmla="*/ 10 w 21"/>
              <a:gd name="T25" fmla="*/ 17 h 17"/>
              <a:gd name="T26" fmla="*/ 10 w 21"/>
              <a:gd name="T27" fmla="*/ 17 h 17"/>
              <a:gd name="T28" fmla="*/ 13 w 21"/>
              <a:gd name="T29" fmla="*/ 17 h 17"/>
              <a:gd name="T30" fmla="*/ 21 w 21"/>
              <a:gd name="T31" fmla="*/ 10 h 17"/>
              <a:gd name="T32" fmla="*/ 13 w 21"/>
              <a:gd name="T33" fmla="*/ 4 h 17"/>
              <a:gd name="T34" fmla="*/ 8 w 21"/>
              <a:gd name="T35" fmla="*/ 4 h 17"/>
              <a:gd name="T36" fmla="*/ 8 w 21"/>
              <a:gd name="T37" fmla="*/ 0 h 1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21"/>
              <a:gd name="T58" fmla="*/ 0 h 17"/>
              <a:gd name="T59" fmla="*/ 21 w 21"/>
              <a:gd name="T60" fmla="*/ 17 h 17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21" h="17">
                <a:moveTo>
                  <a:pt x="8" y="0"/>
                </a:moveTo>
                <a:cubicBezTo>
                  <a:pt x="0" y="5"/>
                  <a:pt x="0" y="5"/>
                  <a:pt x="0" y="5"/>
                </a:cubicBezTo>
                <a:cubicBezTo>
                  <a:pt x="8" y="10"/>
                  <a:pt x="8" y="10"/>
                  <a:pt x="8" y="10"/>
                </a:cubicBezTo>
                <a:cubicBezTo>
                  <a:pt x="8" y="6"/>
                  <a:pt x="8" y="6"/>
                  <a:pt x="8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6" y="6"/>
                  <a:pt x="18" y="8"/>
                  <a:pt x="18" y="10"/>
                </a:cubicBezTo>
                <a:cubicBezTo>
                  <a:pt x="18" y="13"/>
                  <a:pt x="16" y="14"/>
                  <a:pt x="13" y="14"/>
                </a:cubicBezTo>
                <a:cubicBezTo>
                  <a:pt x="13" y="14"/>
                  <a:pt x="13" y="14"/>
                  <a:pt x="13" y="14"/>
                </a:cubicBezTo>
                <a:cubicBezTo>
                  <a:pt x="10" y="14"/>
                  <a:pt x="10" y="14"/>
                  <a:pt x="10" y="14"/>
                </a:cubicBezTo>
                <a:cubicBezTo>
                  <a:pt x="10" y="14"/>
                  <a:pt x="10" y="14"/>
                  <a:pt x="10" y="14"/>
                </a:cubicBezTo>
                <a:cubicBezTo>
                  <a:pt x="10" y="14"/>
                  <a:pt x="9" y="15"/>
                  <a:pt x="9" y="16"/>
                </a:cubicBezTo>
                <a:cubicBezTo>
                  <a:pt x="9" y="16"/>
                  <a:pt x="10" y="17"/>
                  <a:pt x="10" y="17"/>
                </a:cubicBezTo>
                <a:cubicBezTo>
                  <a:pt x="10" y="17"/>
                  <a:pt x="10" y="17"/>
                  <a:pt x="10" y="17"/>
                </a:cubicBezTo>
                <a:cubicBezTo>
                  <a:pt x="10" y="17"/>
                  <a:pt x="10" y="17"/>
                  <a:pt x="10" y="17"/>
                </a:cubicBezTo>
                <a:cubicBezTo>
                  <a:pt x="13" y="17"/>
                  <a:pt x="13" y="17"/>
                  <a:pt x="13" y="17"/>
                </a:cubicBezTo>
                <a:cubicBezTo>
                  <a:pt x="18" y="17"/>
                  <a:pt x="21" y="14"/>
                  <a:pt x="21" y="10"/>
                </a:cubicBezTo>
                <a:cubicBezTo>
                  <a:pt x="21" y="7"/>
                  <a:pt x="18" y="4"/>
                  <a:pt x="13" y="4"/>
                </a:cubicBezTo>
                <a:cubicBezTo>
                  <a:pt x="8" y="4"/>
                  <a:pt x="8" y="4"/>
                  <a:pt x="8" y="4"/>
                </a:cubicBezTo>
                <a:cubicBezTo>
                  <a:pt x="8" y="0"/>
                  <a:pt x="8" y="0"/>
                  <a:pt x="8" y="0"/>
                </a:cubicBezTo>
              </a:path>
            </a:pathLst>
          </a:custGeom>
          <a:solidFill>
            <a:srgbClr val="FCF4DC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15" name="Rectangle 90"/>
          <p:cNvSpPr>
            <a:spLocks noChangeArrowheads="1"/>
          </p:cNvSpPr>
          <p:nvPr/>
        </p:nvSpPr>
        <p:spPr bwMode="auto">
          <a:xfrm>
            <a:off x="6929438" y="3987800"/>
            <a:ext cx="555625" cy="7842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16" name="Oval 91"/>
          <p:cNvSpPr>
            <a:spLocks noChangeArrowheads="1"/>
          </p:cNvSpPr>
          <p:nvPr/>
        </p:nvSpPr>
        <p:spPr bwMode="auto">
          <a:xfrm>
            <a:off x="7162800" y="3851275"/>
            <a:ext cx="90488" cy="88900"/>
          </a:xfrm>
          <a:prstGeom prst="ellipse">
            <a:avLst/>
          </a:pr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17" name="Oval 92"/>
          <p:cNvSpPr>
            <a:spLocks noChangeArrowheads="1"/>
          </p:cNvSpPr>
          <p:nvPr/>
        </p:nvSpPr>
        <p:spPr bwMode="auto">
          <a:xfrm>
            <a:off x="7165975" y="3852863"/>
            <a:ext cx="82550" cy="82550"/>
          </a:xfrm>
          <a:prstGeom prst="ellipse">
            <a:avLst/>
          </a:prstGeom>
          <a:solidFill>
            <a:srgbClr val="B3B2B3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18" name="Freeform 93"/>
          <p:cNvSpPr>
            <a:spLocks/>
          </p:cNvSpPr>
          <p:nvPr/>
        </p:nvSpPr>
        <p:spPr bwMode="auto">
          <a:xfrm>
            <a:off x="7178675" y="3905250"/>
            <a:ext cx="22225" cy="30163"/>
          </a:xfrm>
          <a:custGeom>
            <a:avLst/>
            <a:gdLst>
              <a:gd name="T0" fmla="*/ 0 w 8"/>
              <a:gd name="T1" fmla="*/ 8 h 11"/>
              <a:gd name="T2" fmla="*/ 7 w 8"/>
              <a:gd name="T3" fmla="*/ 11 h 11"/>
              <a:gd name="T4" fmla="*/ 8 w 8"/>
              <a:gd name="T5" fmla="*/ 0 h 11"/>
              <a:gd name="T6" fmla="*/ 0 w 8"/>
              <a:gd name="T7" fmla="*/ 8 h 11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11"/>
              <a:gd name="T14" fmla="*/ 8 w 8"/>
              <a:gd name="T15" fmla="*/ 11 h 1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11">
                <a:moveTo>
                  <a:pt x="0" y="8"/>
                </a:moveTo>
                <a:cubicBezTo>
                  <a:pt x="2" y="9"/>
                  <a:pt x="4" y="10"/>
                  <a:pt x="7" y="11"/>
                </a:cubicBezTo>
                <a:cubicBezTo>
                  <a:pt x="8" y="0"/>
                  <a:pt x="8" y="0"/>
                  <a:pt x="8" y="0"/>
                </a:cubicBezTo>
                <a:lnTo>
                  <a:pt x="0" y="8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19" name="Freeform 94"/>
          <p:cNvSpPr>
            <a:spLocks/>
          </p:cNvSpPr>
          <p:nvPr/>
        </p:nvSpPr>
        <p:spPr bwMode="auto">
          <a:xfrm>
            <a:off x="7169150" y="3900488"/>
            <a:ext cx="28575" cy="22225"/>
          </a:xfrm>
          <a:custGeom>
            <a:avLst/>
            <a:gdLst>
              <a:gd name="T0" fmla="*/ 0 w 11"/>
              <a:gd name="T1" fmla="*/ 2 h 8"/>
              <a:gd name="T2" fmla="*/ 3 w 11"/>
              <a:gd name="T3" fmla="*/ 8 h 8"/>
              <a:gd name="T4" fmla="*/ 11 w 11"/>
              <a:gd name="T5" fmla="*/ 0 h 8"/>
              <a:gd name="T6" fmla="*/ 0 w 11"/>
              <a:gd name="T7" fmla="*/ 2 h 8"/>
              <a:gd name="T8" fmla="*/ 0 60000 65536"/>
              <a:gd name="T9" fmla="*/ 0 60000 65536"/>
              <a:gd name="T10" fmla="*/ 0 60000 65536"/>
              <a:gd name="T11" fmla="*/ 0 60000 65536"/>
              <a:gd name="T12" fmla="*/ 0 w 11"/>
              <a:gd name="T13" fmla="*/ 0 h 8"/>
              <a:gd name="T14" fmla="*/ 11 w 11"/>
              <a:gd name="T15" fmla="*/ 8 h 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1" h="8">
                <a:moveTo>
                  <a:pt x="0" y="2"/>
                </a:moveTo>
                <a:cubicBezTo>
                  <a:pt x="0" y="4"/>
                  <a:pt x="1" y="6"/>
                  <a:pt x="3" y="8"/>
                </a:cubicBezTo>
                <a:cubicBezTo>
                  <a:pt x="11" y="0"/>
                  <a:pt x="11" y="0"/>
                  <a:pt x="11" y="0"/>
                </a:cubicBezTo>
                <a:lnTo>
                  <a:pt x="0" y="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20" name="Freeform 95"/>
          <p:cNvSpPr>
            <a:spLocks/>
          </p:cNvSpPr>
          <p:nvPr/>
        </p:nvSpPr>
        <p:spPr bwMode="auto">
          <a:xfrm>
            <a:off x="7213600" y="3903663"/>
            <a:ext cx="28575" cy="26987"/>
          </a:xfrm>
          <a:custGeom>
            <a:avLst/>
            <a:gdLst>
              <a:gd name="T0" fmla="*/ 5 w 10"/>
              <a:gd name="T1" fmla="*/ 10 h 10"/>
              <a:gd name="T2" fmla="*/ 10 w 10"/>
              <a:gd name="T3" fmla="*/ 5 h 10"/>
              <a:gd name="T4" fmla="*/ 0 w 10"/>
              <a:gd name="T5" fmla="*/ 0 h 10"/>
              <a:gd name="T6" fmla="*/ 5 w 10"/>
              <a:gd name="T7" fmla="*/ 10 h 10"/>
              <a:gd name="T8" fmla="*/ 0 60000 65536"/>
              <a:gd name="T9" fmla="*/ 0 60000 65536"/>
              <a:gd name="T10" fmla="*/ 0 60000 65536"/>
              <a:gd name="T11" fmla="*/ 0 60000 65536"/>
              <a:gd name="T12" fmla="*/ 0 w 10"/>
              <a:gd name="T13" fmla="*/ 0 h 10"/>
              <a:gd name="T14" fmla="*/ 10 w 10"/>
              <a:gd name="T15" fmla="*/ 10 h 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" h="10">
                <a:moveTo>
                  <a:pt x="5" y="10"/>
                </a:moveTo>
                <a:cubicBezTo>
                  <a:pt x="7" y="9"/>
                  <a:pt x="9" y="7"/>
                  <a:pt x="10" y="5"/>
                </a:cubicBezTo>
                <a:cubicBezTo>
                  <a:pt x="0" y="0"/>
                  <a:pt x="0" y="0"/>
                  <a:pt x="0" y="0"/>
                </a:cubicBezTo>
                <a:lnTo>
                  <a:pt x="5" y="1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21" name="Freeform 96"/>
          <p:cNvSpPr>
            <a:spLocks/>
          </p:cNvSpPr>
          <p:nvPr/>
        </p:nvSpPr>
        <p:spPr bwMode="auto">
          <a:xfrm>
            <a:off x="7216775" y="3890963"/>
            <a:ext cx="31750" cy="20637"/>
          </a:xfrm>
          <a:custGeom>
            <a:avLst/>
            <a:gdLst>
              <a:gd name="T0" fmla="*/ 10 w 11"/>
              <a:gd name="T1" fmla="*/ 7 h 7"/>
              <a:gd name="T2" fmla="*/ 11 w 11"/>
              <a:gd name="T3" fmla="*/ 1 h 7"/>
              <a:gd name="T4" fmla="*/ 11 w 11"/>
              <a:gd name="T5" fmla="*/ 0 h 7"/>
              <a:gd name="T6" fmla="*/ 0 w 11"/>
              <a:gd name="T7" fmla="*/ 2 h 7"/>
              <a:gd name="T8" fmla="*/ 10 w 11"/>
              <a:gd name="T9" fmla="*/ 7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7"/>
              <a:gd name="T17" fmla="*/ 11 w 11"/>
              <a:gd name="T18" fmla="*/ 7 h 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7">
                <a:moveTo>
                  <a:pt x="10" y="7"/>
                </a:moveTo>
                <a:cubicBezTo>
                  <a:pt x="11" y="5"/>
                  <a:pt x="11" y="3"/>
                  <a:pt x="11" y="1"/>
                </a:cubicBezTo>
                <a:cubicBezTo>
                  <a:pt x="11" y="1"/>
                  <a:pt x="11" y="1"/>
                  <a:pt x="11" y="0"/>
                </a:cubicBezTo>
                <a:cubicBezTo>
                  <a:pt x="0" y="2"/>
                  <a:pt x="0" y="2"/>
                  <a:pt x="0" y="2"/>
                </a:cubicBezTo>
                <a:lnTo>
                  <a:pt x="10" y="7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22" name="Freeform 97"/>
          <p:cNvSpPr>
            <a:spLocks/>
          </p:cNvSpPr>
          <p:nvPr/>
        </p:nvSpPr>
        <p:spPr bwMode="auto">
          <a:xfrm>
            <a:off x="7170738" y="3860800"/>
            <a:ext cx="26987" cy="25400"/>
          </a:xfrm>
          <a:custGeom>
            <a:avLst/>
            <a:gdLst>
              <a:gd name="T0" fmla="*/ 5 w 10"/>
              <a:gd name="T1" fmla="*/ 0 h 9"/>
              <a:gd name="T2" fmla="*/ 0 w 10"/>
              <a:gd name="T3" fmla="*/ 4 h 9"/>
              <a:gd name="T4" fmla="*/ 10 w 10"/>
              <a:gd name="T5" fmla="*/ 9 h 9"/>
              <a:gd name="T6" fmla="*/ 5 w 10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  <a:gd name="T12" fmla="*/ 0 w 10"/>
              <a:gd name="T13" fmla="*/ 0 h 9"/>
              <a:gd name="T14" fmla="*/ 10 w 10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" h="9">
                <a:moveTo>
                  <a:pt x="5" y="0"/>
                </a:moveTo>
                <a:cubicBezTo>
                  <a:pt x="3" y="1"/>
                  <a:pt x="2" y="2"/>
                  <a:pt x="0" y="4"/>
                </a:cubicBezTo>
                <a:cubicBezTo>
                  <a:pt x="10" y="9"/>
                  <a:pt x="10" y="9"/>
                  <a:pt x="10" y="9"/>
                </a:cubicBezTo>
                <a:lnTo>
                  <a:pt x="5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23" name="Freeform 98"/>
          <p:cNvSpPr>
            <a:spLocks/>
          </p:cNvSpPr>
          <p:nvPr/>
        </p:nvSpPr>
        <p:spPr bwMode="auto">
          <a:xfrm>
            <a:off x="7212013" y="3856038"/>
            <a:ext cx="22225" cy="30162"/>
          </a:xfrm>
          <a:custGeom>
            <a:avLst/>
            <a:gdLst>
              <a:gd name="T0" fmla="*/ 8 w 8"/>
              <a:gd name="T1" fmla="*/ 3 h 11"/>
              <a:gd name="T2" fmla="*/ 2 w 8"/>
              <a:gd name="T3" fmla="*/ 0 h 11"/>
              <a:gd name="T4" fmla="*/ 0 w 8"/>
              <a:gd name="T5" fmla="*/ 11 h 11"/>
              <a:gd name="T6" fmla="*/ 8 w 8"/>
              <a:gd name="T7" fmla="*/ 3 h 11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11"/>
              <a:gd name="T14" fmla="*/ 8 w 8"/>
              <a:gd name="T15" fmla="*/ 11 h 1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11">
                <a:moveTo>
                  <a:pt x="8" y="3"/>
                </a:moveTo>
                <a:cubicBezTo>
                  <a:pt x="6" y="1"/>
                  <a:pt x="4" y="0"/>
                  <a:pt x="2" y="0"/>
                </a:cubicBezTo>
                <a:cubicBezTo>
                  <a:pt x="0" y="11"/>
                  <a:pt x="0" y="11"/>
                  <a:pt x="0" y="11"/>
                </a:cubicBezTo>
                <a:lnTo>
                  <a:pt x="8" y="3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24" name="Freeform 99"/>
          <p:cNvSpPr>
            <a:spLocks/>
          </p:cNvSpPr>
          <p:nvPr/>
        </p:nvSpPr>
        <p:spPr bwMode="auto">
          <a:xfrm>
            <a:off x="7192963" y="3852863"/>
            <a:ext cx="15875" cy="30162"/>
          </a:xfrm>
          <a:custGeom>
            <a:avLst/>
            <a:gdLst>
              <a:gd name="T0" fmla="*/ 6 w 6"/>
              <a:gd name="T1" fmla="*/ 0 h 11"/>
              <a:gd name="T2" fmla="*/ 5 w 6"/>
              <a:gd name="T3" fmla="*/ 0 h 11"/>
              <a:gd name="T4" fmla="*/ 0 w 6"/>
              <a:gd name="T5" fmla="*/ 1 h 11"/>
              <a:gd name="T6" fmla="*/ 5 w 6"/>
              <a:gd name="T7" fmla="*/ 11 h 11"/>
              <a:gd name="T8" fmla="*/ 6 w 6"/>
              <a:gd name="T9" fmla="*/ 0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11"/>
              <a:gd name="T17" fmla="*/ 6 w 6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11">
                <a:moveTo>
                  <a:pt x="6" y="0"/>
                </a:moveTo>
                <a:cubicBezTo>
                  <a:pt x="6" y="0"/>
                  <a:pt x="6" y="0"/>
                  <a:pt x="5" y="0"/>
                </a:cubicBezTo>
                <a:cubicBezTo>
                  <a:pt x="3" y="0"/>
                  <a:pt x="1" y="1"/>
                  <a:pt x="0" y="1"/>
                </a:cubicBezTo>
                <a:cubicBezTo>
                  <a:pt x="5" y="11"/>
                  <a:pt x="5" y="11"/>
                  <a:pt x="5" y="11"/>
                </a:cubicBezTo>
                <a:lnTo>
                  <a:pt x="6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25" name="Freeform 100"/>
          <p:cNvSpPr>
            <a:spLocks/>
          </p:cNvSpPr>
          <p:nvPr/>
        </p:nvSpPr>
        <p:spPr bwMode="auto">
          <a:xfrm>
            <a:off x="7216775" y="3870325"/>
            <a:ext cx="31750" cy="17463"/>
          </a:xfrm>
          <a:custGeom>
            <a:avLst/>
            <a:gdLst>
              <a:gd name="T0" fmla="*/ 11 w 11"/>
              <a:gd name="T1" fmla="*/ 6 h 7"/>
              <a:gd name="T2" fmla="*/ 8 w 11"/>
              <a:gd name="T3" fmla="*/ 0 h 7"/>
              <a:gd name="T4" fmla="*/ 0 w 11"/>
              <a:gd name="T5" fmla="*/ 7 h 7"/>
              <a:gd name="T6" fmla="*/ 11 w 11"/>
              <a:gd name="T7" fmla="*/ 6 h 7"/>
              <a:gd name="T8" fmla="*/ 0 60000 65536"/>
              <a:gd name="T9" fmla="*/ 0 60000 65536"/>
              <a:gd name="T10" fmla="*/ 0 60000 65536"/>
              <a:gd name="T11" fmla="*/ 0 60000 65536"/>
              <a:gd name="T12" fmla="*/ 0 w 11"/>
              <a:gd name="T13" fmla="*/ 0 h 7"/>
              <a:gd name="T14" fmla="*/ 11 w 11"/>
              <a:gd name="T15" fmla="*/ 7 h 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1" h="7">
                <a:moveTo>
                  <a:pt x="11" y="6"/>
                </a:moveTo>
                <a:cubicBezTo>
                  <a:pt x="10" y="3"/>
                  <a:pt x="9" y="1"/>
                  <a:pt x="8" y="0"/>
                </a:cubicBezTo>
                <a:cubicBezTo>
                  <a:pt x="0" y="7"/>
                  <a:pt x="0" y="7"/>
                  <a:pt x="0" y="7"/>
                </a:cubicBezTo>
                <a:lnTo>
                  <a:pt x="11" y="6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26" name="Freeform 101"/>
          <p:cNvSpPr>
            <a:spLocks/>
          </p:cNvSpPr>
          <p:nvPr/>
        </p:nvSpPr>
        <p:spPr bwMode="auto">
          <a:xfrm>
            <a:off x="7165975" y="3879850"/>
            <a:ext cx="30163" cy="17463"/>
          </a:xfrm>
          <a:custGeom>
            <a:avLst/>
            <a:gdLst>
              <a:gd name="T0" fmla="*/ 1 w 11"/>
              <a:gd name="T1" fmla="*/ 0 h 6"/>
              <a:gd name="T2" fmla="*/ 0 w 11"/>
              <a:gd name="T3" fmla="*/ 5 h 6"/>
              <a:gd name="T4" fmla="*/ 0 w 11"/>
              <a:gd name="T5" fmla="*/ 6 h 6"/>
              <a:gd name="T6" fmla="*/ 11 w 11"/>
              <a:gd name="T7" fmla="*/ 5 h 6"/>
              <a:gd name="T8" fmla="*/ 1 w 11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6"/>
              <a:gd name="T17" fmla="*/ 11 w 11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6">
                <a:moveTo>
                  <a:pt x="1" y="0"/>
                </a:moveTo>
                <a:cubicBezTo>
                  <a:pt x="1" y="1"/>
                  <a:pt x="0" y="3"/>
                  <a:pt x="0" y="5"/>
                </a:cubicBezTo>
                <a:cubicBezTo>
                  <a:pt x="0" y="6"/>
                  <a:pt x="0" y="6"/>
                  <a:pt x="0" y="6"/>
                </a:cubicBezTo>
                <a:cubicBezTo>
                  <a:pt x="11" y="5"/>
                  <a:pt x="11" y="5"/>
                  <a:pt x="11" y="5"/>
                </a:cubicBezTo>
                <a:lnTo>
                  <a:pt x="1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27" name="Freeform 102"/>
          <p:cNvSpPr>
            <a:spLocks/>
          </p:cNvSpPr>
          <p:nvPr/>
        </p:nvSpPr>
        <p:spPr bwMode="auto">
          <a:xfrm>
            <a:off x="7204075" y="3905250"/>
            <a:ext cx="17463" cy="30163"/>
          </a:xfrm>
          <a:custGeom>
            <a:avLst/>
            <a:gdLst>
              <a:gd name="T0" fmla="*/ 0 w 7"/>
              <a:gd name="T1" fmla="*/ 11 h 11"/>
              <a:gd name="T2" fmla="*/ 1 w 7"/>
              <a:gd name="T3" fmla="*/ 11 h 11"/>
              <a:gd name="T4" fmla="*/ 7 w 7"/>
              <a:gd name="T5" fmla="*/ 10 h 11"/>
              <a:gd name="T6" fmla="*/ 2 w 7"/>
              <a:gd name="T7" fmla="*/ 0 h 11"/>
              <a:gd name="T8" fmla="*/ 0 w 7"/>
              <a:gd name="T9" fmla="*/ 11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"/>
              <a:gd name="T16" fmla="*/ 0 h 11"/>
              <a:gd name="T17" fmla="*/ 7 w 7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" h="11">
                <a:moveTo>
                  <a:pt x="0" y="11"/>
                </a:moveTo>
                <a:cubicBezTo>
                  <a:pt x="0" y="11"/>
                  <a:pt x="1" y="11"/>
                  <a:pt x="1" y="11"/>
                </a:cubicBezTo>
                <a:cubicBezTo>
                  <a:pt x="3" y="11"/>
                  <a:pt x="5" y="11"/>
                  <a:pt x="7" y="10"/>
                </a:cubicBezTo>
                <a:cubicBezTo>
                  <a:pt x="2" y="0"/>
                  <a:pt x="2" y="0"/>
                  <a:pt x="2" y="0"/>
                </a:cubicBezTo>
                <a:lnTo>
                  <a:pt x="0" y="1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28" name="Oval 103"/>
          <p:cNvSpPr>
            <a:spLocks noChangeArrowheads="1"/>
          </p:cNvSpPr>
          <p:nvPr/>
        </p:nvSpPr>
        <p:spPr bwMode="auto">
          <a:xfrm>
            <a:off x="7192963" y="3879850"/>
            <a:ext cx="26987" cy="28575"/>
          </a:xfrm>
          <a:prstGeom prst="ellipse">
            <a:avLst/>
          </a:prstGeom>
          <a:solidFill>
            <a:srgbClr val="B3B2B3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29" name="Freeform 104"/>
          <p:cNvSpPr>
            <a:spLocks/>
          </p:cNvSpPr>
          <p:nvPr/>
        </p:nvSpPr>
        <p:spPr bwMode="auto">
          <a:xfrm>
            <a:off x="7324725" y="3871913"/>
            <a:ext cx="92075" cy="11112"/>
          </a:xfrm>
          <a:custGeom>
            <a:avLst/>
            <a:gdLst>
              <a:gd name="T0" fmla="*/ 32 w 34"/>
              <a:gd name="T1" fmla="*/ 4 h 4"/>
              <a:gd name="T2" fmla="*/ 34 w 34"/>
              <a:gd name="T3" fmla="*/ 2 h 4"/>
              <a:gd name="T4" fmla="*/ 32 w 34"/>
              <a:gd name="T5" fmla="*/ 0 h 4"/>
              <a:gd name="T6" fmla="*/ 3 w 34"/>
              <a:gd name="T7" fmla="*/ 0 h 4"/>
              <a:gd name="T8" fmla="*/ 0 w 34"/>
              <a:gd name="T9" fmla="*/ 2 h 4"/>
              <a:gd name="T10" fmla="*/ 3 w 34"/>
              <a:gd name="T11" fmla="*/ 4 h 4"/>
              <a:gd name="T12" fmla="*/ 32 w 34"/>
              <a:gd name="T13" fmla="*/ 4 h 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4"/>
              <a:gd name="T22" fmla="*/ 0 h 4"/>
              <a:gd name="T23" fmla="*/ 34 w 34"/>
              <a:gd name="T24" fmla="*/ 4 h 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4" h="4">
                <a:moveTo>
                  <a:pt x="32" y="4"/>
                </a:moveTo>
                <a:cubicBezTo>
                  <a:pt x="33" y="4"/>
                  <a:pt x="34" y="3"/>
                  <a:pt x="34" y="2"/>
                </a:cubicBezTo>
                <a:cubicBezTo>
                  <a:pt x="34" y="1"/>
                  <a:pt x="33" y="0"/>
                  <a:pt x="32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3"/>
                  <a:pt x="1" y="4"/>
                  <a:pt x="3" y="4"/>
                </a:cubicBezTo>
                <a:lnTo>
                  <a:pt x="32" y="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30" name="Freeform 105"/>
          <p:cNvSpPr>
            <a:spLocks/>
          </p:cNvSpPr>
          <p:nvPr/>
        </p:nvSpPr>
        <p:spPr bwMode="auto">
          <a:xfrm>
            <a:off x="7324725" y="3887788"/>
            <a:ext cx="92075" cy="12700"/>
          </a:xfrm>
          <a:custGeom>
            <a:avLst/>
            <a:gdLst>
              <a:gd name="T0" fmla="*/ 32 w 34"/>
              <a:gd name="T1" fmla="*/ 4 h 4"/>
              <a:gd name="T2" fmla="*/ 34 w 34"/>
              <a:gd name="T3" fmla="*/ 2 h 4"/>
              <a:gd name="T4" fmla="*/ 32 w 34"/>
              <a:gd name="T5" fmla="*/ 0 h 4"/>
              <a:gd name="T6" fmla="*/ 3 w 34"/>
              <a:gd name="T7" fmla="*/ 0 h 4"/>
              <a:gd name="T8" fmla="*/ 0 w 34"/>
              <a:gd name="T9" fmla="*/ 2 h 4"/>
              <a:gd name="T10" fmla="*/ 3 w 34"/>
              <a:gd name="T11" fmla="*/ 4 h 4"/>
              <a:gd name="T12" fmla="*/ 32 w 34"/>
              <a:gd name="T13" fmla="*/ 4 h 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4"/>
              <a:gd name="T22" fmla="*/ 0 h 4"/>
              <a:gd name="T23" fmla="*/ 34 w 34"/>
              <a:gd name="T24" fmla="*/ 4 h 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4" h="4">
                <a:moveTo>
                  <a:pt x="32" y="4"/>
                </a:moveTo>
                <a:cubicBezTo>
                  <a:pt x="33" y="4"/>
                  <a:pt x="34" y="3"/>
                  <a:pt x="34" y="2"/>
                </a:cubicBezTo>
                <a:cubicBezTo>
                  <a:pt x="34" y="1"/>
                  <a:pt x="33" y="0"/>
                  <a:pt x="32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3"/>
                  <a:pt x="1" y="4"/>
                  <a:pt x="3" y="4"/>
                </a:cubicBezTo>
                <a:lnTo>
                  <a:pt x="32" y="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31" name="Freeform 106"/>
          <p:cNvSpPr>
            <a:spLocks/>
          </p:cNvSpPr>
          <p:nvPr/>
        </p:nvSpPr>
        <p:spPr bwMode="auto">
          <a:xfrm>
            <a:off x="7324725" y="3908425"/>
            <a:ext cx="92075" cy="11113"/>
          </a:xfrm>
          <a:custGeom>
            <a:avLst/>
            <a:gdLst>
              <a:gd name="T0" fmla="*/ 32 w 34"/>
              <a:gd name="T1" fmla="*/ 4 h 4"/>
              <a:gd name="T2" fmla="*/ 34 w 34"/>
              <a:gd name="T3" fmla="*/ 2 h 4"/>
              <a:gd name="T4" fmla="*/ 32 w 34"/>
              <a:gd name="T5" fmla="*/ 0 h 4"/>
              <a:gd name="T6" fmla="*/ 3 w 34"/>
              <a:gd name="T7" fmla="*/ 0 h 4"/>
              <a:gd name="T8" fmla="*/ 0 w 34"/>
              <a:gd name="T9" fmla="*/ 2 h 4"/>
              <a:gd name="T10" fmla="*/ 3 w 34"/>
              <a:gd name="T11" fmla="*/ 4 h 4"/>
              <a:gd name="T12" fmla="*/ 32 w 34"/>
              <a:gd name="T13" fmla="*/ 4 h 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4"/>
              <a:gd name="T22" fmla="*/ 0 h 4"/>
              <a:gd name="T23" fmla="*/ 34 w 34"/>
              <a:gd name="T24" fmla="*/ 4 h 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4" h="4">
                <a:moveTo>
                  <a:pt x="32" y="4"/>
                </a:moveTo>
                <a:cubicBezTo>
                  <a:pt x="33" y="4"/>
                  <a:pt x="34" y="3"/>
                  <a:pt x="34" y="2"/>
                </a:cubicBezTo>
                <a:cubicBezTo>
                  <a:pt x="34" y="1"/>
                  <a:pt x="33" y="0"/>
                  <a:pt x="32" y="0"/>
                </a:cubicBez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1"/>
                  <a:pt x="0" y="2"/>
                </a:cubicBezTo>
                <a:cubicBezTo>
                  <a:pt x="0" y="3"/>
                  <a:pt x="1" y="4"/>
                  <a:pt x="3" y="4"/>
                </a:cubicBezTo>
                <a:lnTo>
                  <a:pt x="32" y="4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32" name="Freeform 107"/>
          <p:cNvSpPr>
            <a:spLocks/>
          </p:cNvSpPr>
          <p:nvPr/>
        </p:nvSpPr>
        <p:spPr bwMode="auto">
          <a:xfrm>
            <a:off x="2333625" y="3622675"/>
            <a:ext cx="617538" cy="1116013"/>
          </a:xfrm>
          <a:custGeom>
            <a:avLst/>
            <a:gdLst>
              <a:gd name="T0" fmla="*/ 225 w 225"/>
              <a:gd name="T1" fmla="*/ 374 h 407"/>
              <a:gd name="T2" fmla="*/ 193 w 225"/>
              <a:gd name="T3" fmla="*/ 407 h 407"/>
              <a:gd name="T4" fmla="*/ 33 w 225"/>
              <a:gd name="T5" fmla="*/ 407 h 407"/>
              <a:gd name="T6" fmla="*/ 0 w 225"/>
              <a:gd name="T7" fmla="*/ 374 h 407"/>
              <a:gd name="T8" fmla="*/ 0 w 225"/>
              <a:gd name="T9" fmla="*/ 32 h 407"/>
              <a:gd name="T10" fmla="*/ 33 w 225"/>
              <a:gd name="T11" fmla="*/ 0 h 407"/>
              <a:gd name="T12" fmla="*/ 193 w 225"/>
              <a:gd name="T13" fmla="*/ 0 h 407"/>
              <a:gd name="T14" fmla="*/ 225 w 225"/>
              <a:gd name="T15" fmla="*/ 32 h 407"/>
              <a:gd name="T16" fmla="*/ 225 w 225"/>
              <a:gd name="T17" fmla="*/ 374 h 40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25"/>
              <a:gd name="T28" fmla="*/ 0 h 407"/>
              <a:gd name="T29" fmla="*/ 225 w 225"/>
              <a:gd name="T30" fmla="*/ 407 h 40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25" h="407">
                <a:moveTo>
                  <a:pt x="225" y="374"/>
                </a:moveTo>
                <a:cubicBezTo>
                  <a:pt x="225" y="392"/>
                  <a:pt x="211" y="407"/>
                  <a:pt x="193" y="407"/>
                </a:cubicBezTo>
                <a:cubicBezTo>
                  <a:pt x="33" y="407"/>
                  <a:pt x="33" y="407"/>
                  <a:pt x="33" y="407"/>
                </a:cubicBezTo>
                <a:cubicBezTo>
                  <a:pt x="15" y="407"/>
                  <a:pt x="0" y="392"/>
                  <a:pt x="0" y="374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5"/>
                  <a:pt x="15" y="0"/>
                  <a:pt x="33" y="0"/>
                </a:cubicBezTo>
                <a:cubicBezTo>
                  <a:pt x="193" y="0"/>
                  <a:pt x="193" y="0"/>
                  <a:pt x="193" y="0"/>
                </a:cubicBezTo>
                <a:cubicBezTo>
                  <a:pt x="211" y="0"/>
                  <a:pt x="225" y="15"/>
                  <a:pt x="225" y="32"/>
                </a:cubicBezTo>
                <a:cubicBezTo>
                  <a:pt x="225" y="374"/>
                  <a:pt x="225" y="374"/>
                  <a:pt x="225" y="374"/>
                </a:cubicBezTo>
              </a:path>
            </a:pathLst>
          </a:custGeom>
          <a:solidFill>
            <a:srgbClr val="3369E8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33" name="Rectangle 108"/>
          <p:cNvSpPr>
            <a:spLocks noChangeArrowheads="1"/>
          </p:cNvSpPr>
          <p:nvPr/>
        </p:nvSpPr>
        <p:spPr bwMode="auto">
          <a:xfrm>
            <a:off x="2389188" y="3811588"/>
            <a:ext cx="509587" cy="79216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34" name="Freeform 109"/>
          <p:cNvSpPr>
            <a:spLocks/>
          </p:cNvSpPr>
          <p:nvPr/>
        </p:nvSpPr>
        <p:spPr bwMode="auto">
          <a:xfrm>
            <a:off x="2701925" y="3611563"/>
            <a:ext cx="160338" cy="7937"/>
          </a:xfrm>
          <a:custGeom>
            <a:avLst/>
            <a:gdLst>
              <a:gd name="T0" fmla="*/ 0 w 58"/>
              <a:gd name="T1" fmla="*/ 3 h 3"/>
              <a:gd name="T2" fmla="*/ 3 w 58"/>
              <a:gd name="T3" fmla="*/ 0 h 3"/>
              <a:gd name="T4" fmla="*/ 55 w 58"/>
              <a:gd name="T5" fmla="*/ 0 h 3"/>
              <a:gd name="T6" fmla="*/ 58 w 58"/>
              <a:gd name="T7" fmla="*/ 3 h 3"/>
              <a:gd name="T8" fmla="*/ 0 w 58"/>
              <a:gd name="T9" fmla="*/ 3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8"/>
              <a:gd name="T16" fmla="*/ 0 h 3"/>
              <a:gd name="T17" fmla="*/ 58 w 58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8" h="3">
                <a:moveTo>
                  <a:pt x="0" y="3"/>
                </a:moveTo>
                <a:cubicBezTo>
                  <a:pt x="0" y="1"/>
                  <a:pt x="2" y="0"/>
                  <a:pt x="3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57" y="0"/>
                  <a:pt x="58" y="1"/>
                  <a:pt x="58" y="3"/>
                </a:cubicBezTo>
                <a:lnTo>
                  <a:pt x="0" y="3"/>
                </a:lnTo>
                <a:close/>
              </a:path>
            </a:pathLst>
          </a:custGeom>
          <a:solidFill>
            <a:srgbClr val="B3B2B3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35" name="Freeform 110"/>
          <p:cNvSpPr>
            <a:spLocks/>
          </p:cNvSpPr>
          <p:nvPr/>
        </p:nvSpPr>
        <p:spPr bwMode="auto">
          <a:xfrm>
            <a:off x="2574925" y="3694113"/>
            <a:ext cx="11113" cy="65087"/>
          </a:xfrm>
          <a:custGeom>
            <a:avLst/>
            <a:gdLst>
              <a:gd name="T0" fmla="*/ 4 w 4"/>
              <a:gd name="T1" fmla="*/ 22 h 24"/>
              <a:gd name="T2" fmla="*/ 2 w 4"/>
              <a:gd name="T3" fmla="*/ 24 h 24"/>
              <a:gd name="T4" fmla="*/ 0 w 4"/>
              <a:gd name="T5" fmla="*/ 22 h 24"/>
              <a:gd name="T6" fmla="*/ 0 w 4"/>
              <a:gd name="T7" fmla="*/ 3 h 24"/>
              <a:gd name="T8" fmla="*/ 2 w 4"/>
              <a:gd name="T9" fmla="*/ 0 h 24"/>
              <a:gd name="T10" fmla="*/ 4 w 4"/>
              <a:gd name="T11" fmla="*/ 3 h 24"/>
              <a:gd name="T12" fmla="*/ 4 w 4"/>
              <a:gd name="T13" fmla="*/ 22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"/>
              <a:gd name="T22" fmla="*/ 0 h 24"/>
              <a:gd name="T23" fmla="*/ 4 w 4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" h="24">
                <a:moveTo>
                  <a:pt x="4" y="22"/>
                </a:moveTo>
                <a:cubicBezTo>
                  <a:pt x="4" y="23"/>
                  <a:pt x="3" y="24"/>
                  <a:pt x="2" y="24"/>
                </a:cubicBezTo>
                <a:cubicBezTo>
                  <a:pt x="1" y="24"/>
                  <a:pt x="0" y="23"/>
                  <a:pt x="0" y="22"/>
                </a:cubicBezTo>
                <a:cubicBezTo>
                  <a:pt x="0" y="3"/>
                  <a:pt x="0" y="3"/>
                  <a:pt x="0" y="3"/>
                </a:cubicBezTo>
                <a:cubicBezTo>
                  <a:pt x="0" y="2"/>
                  <a:pt x="1" y="0"/>
                  <a:pt x="2" y="0"/>
                </a:cubicBezTo>
                <a:cubicBezTo>
                  <a:pt x="3" y="0"/>
                  <a:pt x="4" y="2"/>
                  <a:pt x="4" y="3"/>
                </a:cubicBezTo>
                <a:lnTo>
                  <a:pt x="4" y="2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36" name="Freeform 111"/>
          <p:cNvSpPr>
            <a:spLocks/>
          </p:cNvSpPr>
          <p:nvPr/>
        </p:nvSpPr>
        <p:spPr bwMode="auto">
          <a:xfrm>
            <a:off x="2593975" y="3694113"/>
            <a:ext cx="9525" cy="65087"/>
          </a:xfrm>
          <a:custGeom>
            <a:avLst/>
            <a:gdLst>
              <a:gd name="T0" fmla="*/ 3 w 3"/>
              <a:gd name="T1" fmla="*/ 22 h 24"/>
              <a:gd name="T2" fmla="*/ 1 w 3"/>
              <a:gd name="T3" fmla="*/ 24 h 24"/>
              <a:gd name="T4" fmla="*/ 0 w 3"/>
              <a:gd name="T5" fmla="*/ 22 h 24"/>
              <a:gd name="T6" fmla="*/ 0 w 3"/>
              <a:gd name="T7" fmla="*/ 3 h 24"/>
              <a:gd name="T8" fmla="*/ 1 w 3"/>
              <a:gd name="T9" fmla="*/ 0 h 24"/>
              <a:gd name="T10" fmla="*/ 3 w 3"/>
              <a:gd name="T11" fmla="*/ 3 h 24"/>
              <a:gd name="T12" fmla="*/ 3 w 3"/>
              <a:gd name="T13" fmla="*/ 22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24"/>
              <a:gd name="T23" fmla="*/ 3 w 3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24">
                <a:moveTo>
                  <a:pt x="3" y="22"/>
                </a:moveTo>
                <a:cubicBezTo>
                  <a:pt x="3" y="23"/>
                  <a:pt x="2" y="24"/>
                  <a:pt x="1" y="24"/>
                </a:cubicBezTo>
                <a:cubicBezTo>
                  <a:pt x="0" y="24"/>
                  <a:pt x="0" y="23"/>
                  <a:pt x="0" y="22"/>
                </a:cubicBezTo>
                <a:cubicBezTo>
                  <a:pt x="0" y="3"/>
                  <a:pt x="0" y="3"/>
                  <a:pt x="0" y="3"/>
                </a:cubicBezTo>
                <a:cubicBezTo>
                  <a:pt x="0" y="2"/>
                  <a:pt x="0" y="0"/>
                  <a:pt x="1" y="0"/>
                </a:cubicBezTo>
                <a:cubicBezTo>
                  <a:pt x="2" y="0"/>
                  <a:pt x="3" y="2"/>
                  <a:pt x="3" y="3"/>
                </a:cubicBezTo>
                <a:lnTo>
                  <a:pt x="3" y="2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37" name="Freeform 112"/>
          <p:cNvSpPr>
            <a:spLocks/>
          </p:cNvSpPr>
          <p:nvPr/>
        </p:nvSpPr>
        <p:spPr bwMode="auto">
          <a:xfrm>
            <a:off x="2611438" y="3694113"/>
            <a:ext cx="11112" cy="65087"/>
          </a:xfrm>
          <a:custGeom>
            <a:avLst/>
            <a:gdLst>
              <a:gd name="T0" fmla="*/ 4 w 4"/>
              <a:gd name="T1" fmla="*/ 22 h 24"/>
              <a:gd name="T2" fmla="*/ 2 w 4"/>
              <a:gd name="T3" fmla="*/ 24 h 24"/>
              <a:gd name="T4" fmla="*/ 0 w 4"/>
              <a:gd name="T5" fmla="*/ 22 h 24"/>
              <a:gd name="T6" fmla="*/ 0 w 4"/>
              <a:gd name="T7" fmla="*/ 3 h 24"/>
              <a:gd name="T8" fmla="*/ 2 w 4"/>
              <a:gd name="T9" fmla="*/ 0 h 24"/>
              <a:gd name="T10" fmla="*/ 4 w 4"/>
              <a:gd name="T11" fmla="*/ 3 h 24"/>
              <a:gd name="T12" fmla="*/ 4 w 4"/>
              <a:gd name="T13" fmla="*/ 22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"/>
              <a:gd name="T22" fmla="*/ 0 h 24"/>
              <a:gd name="T23" fmla="*/ 4 w 4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" h="24">
                <a:moveTo>
                  <a:pt x="4" y="22"/>
                </a:moveTo>
                <a:cubicBezTo>
                  <a:pt x="4" y="23"/>
                  <a:pt x="3" y="24"/>
                  <a:pt x="2" y="24"/>
                </a:cubicBezTo>
                <a:cubicBezTo>
                  <a:pt x="1" y="24"/>
                  <a:pt x="0" y="23"/>
                  <a:pt x="0" y="22"/>
                </a:cubicBezTo>
                <a:cubicBezTo>
                  <a:pt x="0" y="3"/>
                  <a:pt x="0" y="3"/>
                  <a:pt x="0" y="3"/>
                </a:cubicBezTo>
                <a:cubicBezTo>
                  <a:pt x="0" y="2"/>
                  <a:pt x="1" y="0"/>
                  <a:pt x="2" y="0"/>
                </a:cubicBezTo>
                <a:cubicBezTo>
                  <a:pt x="3" y="0"/>
                  <a:pt x="4" y="2"/>
                  <a:pt x="4" y="3"/>
                </a:cubicBezTo>
                <a:lnTo>
                  <a:pt x="4" y="2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38" name="Freeform 113"/>
          <p:cNvSpPr>
            <a:spLocks/>
          </p:cNvSpPr>
          <p:nvPr/>
        </p:nvSpPr>
        <p:spPr bwMode="auto">
          <a:xfrm>
            <a:off x="2630488" y="3694113"/>
            <a:ext cx="7937" cy="65087"/>
          </a:xfrm>
          <a:custGeom>
            <a:avLst/>
            <a:gdLst>
              <a:gd name="T0" fmla="*/ 3 w 3"/>
              <a:gd name="T1" fmla="*/ 22 h 24"/>
              <a:gd name="T2" fmla="*/ 2 w 3"/>
              <a:gd name="T3" fmla="*/ 24 h 24"/>
              <a:gd name="T4" fmla="*/ 0 w 3"/>
              <a:gd name="T5" fmla="*/ 22 h 24"/>
              <a:gd name="T6" fmla="*/ 0 w 3"/>
              <a:gd name="T7" fmla="*/ 3 h 24"/>
              <a:gd name="T8" fmla="*/ 2 w 3"/>
              <a:gd name="T9" fmla="*/ 0 h 24"/>
              <a:gd name="T10" fmla="*/ 3 w 3"/>
              <a:gd name="T11" fmla="*/ 3 h 24"/>
              <a:gd name="T12" fmla="*/ 3 w 3"/>
              <a:gd name="T13" fmla="*/ 22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24"/>
              <a:gd name="T23" fmla="*/ 3 w 3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24">
                <a:moveTo>
                  <a:pt x="3" y="22"/>
                </a:moveTo>
                <a:cubicBezTo>
                  <a:pt x="3" y="23"/>
                  <a:pt x="3" y="24"/>
                  <a:pt x="2" y="24"/>
                </a:cubicBezTo>
                <a:cubicBezTo>
                  <a:pt x="1" y="24"/>
                  <a:pt x="0" y="23"/>
                  <a:pt x="0" y="22"/>
                </a:cubicBezTo>
                <a:cubicBezTo>
                  <a:pt x="0" y="3"/>
                  <a:pt x="0" y="3"/>
                  <a:pt x="0" y="3"/>
                </a:cubicBezTo>
                <a:cubicBezTo>
                  <a:pt x="0" y="2"/>
                  <a:pt x="1" y="0"/>
                  <a:pt x="2" y="0"/>
                </a:cubicBezTo>
                <a:cubicBezTo>
                  <a:pt x="3" y="0"/>
                  <a:pt x="3" y="2"/>
                  <a:pt x="3" y="3"/>
                </a:cubicBezTo>
                <a:lnTo>
                  <a:pt x="3" y="2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39" name="Freeform 114"/>
          <p:cNvSpPr>
            <a:spLocks/>
          </p:cNvSpPr>
          <p:nvPr/>
        </p:nvSpPr>
        <p:spPr bwMode="auto">
          <a:xfrm>
            <a:off x="2646363" y="3694113"/>
            <a:ext cx="11112" cy="65087"/>
          </a:xfrm>
          <a:custGeom>
            <a:avLst/>
            <a:gdLst>
              <a:gd name="T0" fmla="*/ 4 w 4"/>
              <a:gd name="T1" fmla="*/ 22 h 24"/>
              <a:gd name="T2" fmla="*/ 2 w 4"/>
              <a:gd name="T3" fmla="*/ 24 h 24"/>
              <a:gd name="T4" fmla="*/ 0 w 4"/>
              <a:gd name="T5" fmla="*/ 22 h 24"/>
              <a:gd name="T6" fmla="*/ 0 w 4"/>
              <a:gd name="T7" fmla="*/ 3 h 24"/>
              <a:gd name="T8" fmla="*/ 2 w 4"/>
              <a:gd name="T9" fmla="*/ 0 h 24"/>
              <a:gd name="T10" fmla="*/ 4 w 4"/>
              <a:gd name="T11" fmla="*/ 3 h 24"/>
              <a:gd name="T12" fmla="*/ 4 w 4"/>
              <a:gd name="T13" fmla="*/ 22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"/>
              <a:gd name="T22" fmla="*/ 0 h 24"/>
              <a:gd name="T23" fmla="*/ 4 w 4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" h="24">
                <a:moveTo>
                  <a:pt x="4" y="22"/>
                </a:moveTo>
                <a:cubicBezTo>
                  <a:pt x="4" y="23"/>
                  <a:pt x="3" y="24"/>
                  <a:pt x="2" y="24"/>
                </a:cubicBezTo>
                <a:cubicBezTo>
                  <a:pt x="1" y="24"/>
                  <a:pt x="0" y="23"/>
                  <a:pt x="0" y="22"/>
                </a:cubicBezTo>
                <a:cubicBezTo>
                  <a:pt x="0" y="3"/>
                  <a:pt x="0" y="3"/>
                  <a:pt x="0" y="3"/>
                </a:cubicBezTo>
                <a:cubicBezTo>
                  <a:pt x="0" y="2"/>
                  <a:pt x="1" y="0"/>
                  <a:pt x="2" y="0"/>
                </a:cubicBezTo>
                <a:cubicBezTo>
                  <a:pt x="3" y="0"/>
                  <a:pt x="4" y="2"/>
                  <a:pt x="4" y="3"/>
                </a:cubicBezTo>
                <a:lnTo>
                  <a:pt x="4" y="2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40" name="Freeform 115"/>
          <p:cNvSpPr>
            <a:spLocks/>
          </p:cNvSpPr>
          <p:nvPr/>
        </p:nvSpPr>
        <p:spPr bwMode="auto">
          <a:xfrm>
            <a:off x="2667000" y="3694113"/>
            <a:ext cx="11113" cy="65087"/>
          </a:xfrm>
          <a:custGeom>
            <a:avLst/>
            <a:gdLst>
              <a:gd name="T0" fmla="*/ 4 w 4"/>
              <a:gd name="T1" fmla="*/ 22 h 24"/>
              <a:gd name="T2" fmla="*/ 2 w 4"/>
              <a:gd name="T3" fmla="*/ 24 h 24"/>
              <a:gd name="T4" fmla="*/ 0 w 4"/>
              <a:gd name="T5" fmla="*/ 22 h 24"/>
              <a:gd name="T6" fmla="*/ 0 w 4"/>
              <a:gd name="T7" fmla="*/ 3 h 24"/>
              <a:gd name="T8" fmla="*/ 2 w 4"/>
              <a:gd name="T9" fmla="*/ 0 h 24"/>
              <a:gd name="T10" fmla="*/ 4 w 4"/>
              <a:gd name="T11" fmla="*/ 3 h 24"/>
              <a:gd name="T12" fmla="*/ 4 w 4"/>
              <a:gd name="T13" fmla="*/ 22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"/>
              <a:gd name="T22" fmla="*/ 0 h 24"/>
              <a:gd name="T23" fmla="*/ 4 w 4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" h="24">
                <a:moveTo>
                  <a:pt x="4" y="22"/>
                </a:moveTo>
                <a:cubicBezTo>
                  <a:pt x="4" y="23"/>
                  <a:pt x="3" y="24"/>
                  <a:pt x="2" y="24"/>
                </a:cubicBezTo>
                <a:cubicBezTo>
                  <a:pt x="1" y="24"/>
                  <a:pt x="0" y="23"/>
                  <a:pt x="0" y="22"/>
                </a:cubicBezTo>
                <a:cubicBezTo>
                  <a:pt x="0" y="3"/>
                  <a:pt x="0" y="3"/>
                  <a:pt x="0" y="3"/>
                </a:cubicBezTo>
                <a:cubicBezTo>
                  <a:pt x="0" y="2"/>
                  <a:pt x="1" y="0"/>
                  <a:pt x="2" y="0"/>
                </a:cubicBezTo>
                <a:cubicBezTo>
                  <a:pt x="3" y="0"/>
                  <a:pt x="4" y="2"/>
                  <a:pt x="4" y="3"/>
                </a:cubicBezTo>
                <a:lnTo>
                  <a:pt x="4" y="2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41" name="Freeform 116"/>
          <p:cNvSpPr>
            <a:spLocks/>
          </p:cNvSpPr>
          <p:nvPr/>
        </p:nvSpPr>
        <p:spPr bwMode="auto">
          <a:xfrm>
            <a:off x="2686050" y="3694113"/>
            <a:ext cx="7938" cy="65087"/>
          </a:xfrm>
          <a:custGeom>
            <a:avLst/>
            <a:gdLst>
              <a:gd name="T0" fmla="*/ 3 w 3"/>
              <a:gd name="T1" fmla="*/ 22 h 24"/>
              <a:gd name="T2" fmla="*/ 1 w 3"/>
              <a:gd name="T3" fmla="*/ 24 h 24"/>
              <a:gd name="T4" fmla="*/ 0 w 3"/>
              <a:gd name="T5" fmla="*/ 22 h 24"/>
              <a:gd name="T6" fmla="*/ 0 w 3"/>
              <a:gd name="T7" fmla="*/ 3 h 24"/>
              <a:gd name="T8" fmla="*/ 1 w 3"/>
              <a:gd name="T9" fmla="*/ 0 h 24"/>
              <a:gd name="T10" fmla="*/ 3 w 3"/>
              <a:gd name="T11" fmla="*/ 3 h 24"/>
              <a:gd name="T12" fmla="*/ 3 w 3"/>
              <a:gd name="T13" fmla="*/ 22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24"/>
              <a:gd name="T23" fmla="*/ 3 w 3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24">
                <a:moveTo>
                  <a:pt x="3" y="22"/>
                </a:moveTo>
                <a:cubicBezTo>
                  <a:pt x="3" y="23"/>
                  <a:pt x="2" y="24"/>
                  <a:pt x="1" y="24"/>
                </a:cubicBezTo>
                <a:cubicBezTo>
                  <a:pt x="0" y="24"/>
                  <a:pt x="0" y="23"/>
                  <a:pt x="0" y="22"/>
                </a:cubicBezTo>
                <a:cubicBezTo>
                  <a:pt x="0" y="3"/>
                  <a:pt x="0" y="3"/>
                  <a:pt x="0" y="3"/>
                </a:cubicBezTo>
                <a:cubicBezTo>
                  <a:pt x="0" y="2"/>
                  <a:pt x="0" y="0"/>
                  <a:pt x="1" y="0"/>
                </a:cubicBezTo>
                <a:cubicBezTo>
                  <a:pt x="2" y="0"/>
                  <a:pt x="3" y="2"/>
                  <a:pt x="3" y="3"/>
                </a:cubicBezTo>
                <a:lnTo>
                  <a:pt x="3" y="2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42" name="Freeform 117"/>
          <p:cNvSpPr>
            <a:spLocks/>
          </p:cNvSpPr>
          <p:nvPr/>
        </p:nvSpPr>
        <p:spPr bwMode="auto">
          <a:xfrm>
            <a:off x="2701925" y="3694113"/>
            <a:ext cx="11113" cy="65087"/>
          </a:xfrm>
          <a:custGeom>
            <a:avLst/>
            <a:gdLst>
              <a:gd name="T0" fmla="*/ 4 w 4"/>
              <a:gd name="T1" fmla="*/ 22 h 24"/>
              <a:gd name="T2" fmla="*/ 2 w 4"/>
              <a:gd name="T3" fmla="*/ 24 h 24"/>
              <a:gd name="T4" fmla="*/ 0 w 4"/>
              <a:gd name="T5" fmla="*/ 22 h 24"/>
              <a:gd name="T6" fmla="*/ 0 w 4"/>
              <a:gd name="T7" fmla="*/ 3 h 24"/>
              <a:gd name="T8" fmla="*/ 2 w 4"/>
              <a:gd name="T9" fmla="*/ 0 h 24"/>
              <a:gd name="T10" fmla="*/ 4 w 4"/>
              <a:gd name="T11" fmla="*/ 3 h 24"/>
              <a:gd name="T12" fmla="*/ 4 w 4"/>
              <a:gd name="T13" fmla="*/ 22 h 2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"/>
              <a:gd name="T22" fmla="*/ 0 h 24"/>
              <a:gd name="T23" fmla="*/ 4 w 4"/>
              <a:gd name="T24" fmla="*/ 24 h 2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" h="24">
                <a:moveTo>
                  <a:pt x="4" y="22"/>
                </a:moveTo>
                <a:cubicBezTo>
                  <a:pt x="4" y="23"/>
                  <a:pt x="3" y="24"/>
                  <a:pt x="2" y="24"/>
                </a:cubicBezTo>
                <a:cubicBezTo>
                  <a:pt x="1" y="24"/>
                  <a:pt x="0" y="23"/>
                  <a:pt x="0" y="22"/>
                </a:cubicBezTo>
                <a:cubicBezTo>
                  <a:pt x="0" y="3"/>
                  <a:pt x="0" y="3"/>
                  <a:pt x="0" y="3"/>
                </a:cubicBezTo>
                <a:cubicBezTo>
                  <a:pt x="0" y="2"/>
                  <a:pt x="1" y="0"/>
                  <a:pt x="2" y="0"/>
                </a:cubicBezTo>
                <a:cubicBezTo>
                  <a:pt x="3" y="0"/>
                  <a:pt x="4" y="2"/>
                  <a:pt x="4" y="3"/>
                </a:cubicBezTo>
                <a:lnTo>
                  <a:pt x="4" y="2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43" name="Freeform 118"/>
          <p:cNvSpPr>
            <a:spLocks noEditPoints="1"/>
          </p:cNvSpPr>
          <p:nvPr/>
        </p:nvSpPr>
        <p:spPr bwMode="auto">
          <a:xfrm>
            <a:off x="2546350" y="4635500"/>
            <a:ext cx="57150" cy="55563"/>
          </a:xfrm>
          <a:custGeom>
            <a:avLst/>
            <a:gdLst>
              <a:gd name="T0" fmla="*/ 14 w 21"/>
              <a:gd name="T1" fmla="*/ 15 h 20"/>
              <a:gd name="T2" fmla="*/ 14 w 21"/>
              <a:gd name="T3" fmla="*/ 11 h 20"/>
              <a:gd name="T4" fmla="*/ 16 w 21"/>
              <a:gd name="T5" fmla="*/ 14 h 20"/>
              <a:gd name="T6" fmla="*/ 16 w 21"/>
              <a:gd name="T7" fmla="*/ 7 h 20"/>
              <a:gd name="T8" fmla="*/ 14 w 21"/>
              <a:gd name="T9" fmla="*/ 8 h 20"/>
              <a:gd name="T10" fmla="*/ 13 w 21"/>
              <a:gd name="T11" fmla="*/ 7 h 20"/>
              <a:gd name="T12" fmla="*/ 11 w 21"/>
              <a:gd name="T13" fmla="*/ 9 h 20"/>
              <a:gd name="T14" fmla="*/ 9 w 21"/>
              <a:gd name="T15" fmla="*/ 10 h 20"/>
              <a:gd name="T16" fmla="*/ 10 w 21"/>
              <a:gd name="T17" fmla="*/ 13 h 20"/>
              <a:gd name="T18" fmla="*/ 8 w 21"/>
              <a:gd name="T19" fmla="*/ 15 h 20"/>
              <a:gd name="T20" fmla="*/ 11 w 21"/>
              <a:gd name="T21" fmla="*/ 16 h 20"/>
              <a:gd name="T22" fmla="*/ 11 w 21"/>
              <a:gd name="T23" fmla="*/ 19 h 20"/>
              <a:gd name="T24" fmla="*/ 14 w 21"/>
              <a:gd name="T25" fmla="*/ 18 h 20"/>
              <a:gd name="T26" fmla="*/ 15 w 21"/>
              <a:gd name="T27" fmla="*/ 18 h 20"/>
              <a:gd name="T28" fmla="*/ 18 w 21"/>
              <a:gd name="T29" fmla="*/ 19 h 20"/>
              <a:gd name="T30" fmla="*/ 18 w 21"/>
              <a:gd name="T31" fmla="*/ 16 h 20"/>
              <a:gd name="T32" fmla="*/ 21 w 21"/>
              <a:gd name="T33" fmla="*/ 14 h 20"/>
              <a:gd name="T34" fmla="*/ 19 w 21"/>
              <a:gd name="T35" fmla="*/ 12 h 20"/>
              <a:gd name="T36" fmla="*/ 20 w 21"/>
              <a:gd name="T37" fmla="*/ 10 h 20"/>
              <a:gd name="T38" fmla="*/ 17 w 21"/>
              <a:gd name="T39" fmla="*/ 9 h 20"/>
              <a:gd name="T40" fmla="*/ 16 w 21"/>
              <a:gd name="T41" fmla="*/ 7 h 20"/>
              <a:gd name="T42" fmla="*/ 4 w 21"/>
              <a:gd name="T43" fmla="*/ 5 h 20"/>
              <a:gd name="T44" fmla="*/ 7 w 21"/>
              <a:gd name="T45" fmla="*/ 5 h 20"/>
              <a:gd name="T46" fmla="*/ 6 w 21"/>
              <a:gd name="T47" fmla="*/ 0 h 20"/>
              <a:gd name="T48" fmla="*/ 4 w 21"/>
              <a:gd name="T49" fmla="*/ 1 h 20"/>
              <a:gd name="T50" fmla="*/ 2 w 21"/>
              <a:gd name="T51" fmla="*/ 1 h 20"/>
              <a:gd name="T52" fmla="*/ 2 w 21"/>
              <a:gd name="T53" fmla="*/ 3 h 20"/>
              <a:gd name="T54" fmla="*/ 0 w 21"/>
              <a:gd name="T55" fmla="*/ 4 h 20"/>
              <a:gd name="T56" fmla="*/ 1 w 21"/>
              <a:gd name="T57" fmla="*/ 6 h 20"/>
              <a:gd name="T58" fmla="*/ 1 w 21"/>
              <a:gd name="T59" fmla="*/ 8 h 20"/>
              <a:gd name="T60" fmla="*/ 3 w 21"/>
              <a:gd name="T61" fmla="*/ 8 h 20"/>
              <a:gd name="T62" fmla="*/ 4 w 21"/>
              <a:gd name="T63" fmla="*/ 10 h 20"/>
              <a:gd name="T64" fmla="*/ 6 w 21"/>
              <a:gd name="T65" fmla="*/ 9 h 20"/>
              <a:gd name="T66" fmla="*/ 8 w 21"/>
              <a:gd name="T67" fmla="*/ 9 h 20"/>
              <a:gd name="T68" fmla="*/ 9 w 21"/>
              <a:gd name="T69" fmla="*/ 7 h 20"/>
              <a:gd name="T70" fmla="*/ 10 w 21"/>
              <a:gd name="T71" fmla="*/ 6 h 20"/>
              <a:gd name="T72" fmla="*/ 9 w 21"/>
              <a:gd name="T73" fmla="*/ 4 h 20"/>
              <a:gd name="T74" fmla="*/ 9 w 21"/>
              <a:gd name="T75" fmla="*/ 2 h 20"/>
              <a:gd name="T76" fmla="*/ 7 w 21"/>
              <a:gd name="T77" fmla="*/ 2 h 20"/>
              <a:gd name="T78" fmla="*/ 6 w 21"/>
              <a:gd name="T79" fmla="*/ 0 h 2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1"/>
              <a:gd name="T121" fmla="*/ 0 h 20"/>
              <a:gd name="T122" fmla="*/ 21 w 21"/>
              <a:gd name="T123" fmla="*/ 20 h 2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1" h="20">
                <a:moveTo>
                  <a:pt x="14" y="15"/>
                </a:moveTo>
                <a:cubicBezTo>
                  <a:pt x="14" y="15"/>
                  <a:pt x="14" y="15"/>
                  <a:pt x="14" y="15"/>
                </a:cubicBezTo>
                <a:cubicBezTo>
                  <a:pt x="13" y="15"/>
                  <a:pt x="12" y="13"/>
                  <a:pt x="13" y="12"/>
                </a:cubicBezTo>
                <a:cubicBezTo>
                  <a:pt x="13" y="12"/>
                  <a:pt x="14" y="11"/>
                  <a:pt x="14" y="11"/>
                </a:cubicBezTo>
                <a:cubicBezTo>
                  <a:pt x="15" y="11"/>
                  <a:pt x="15" y="11"/>
                  <a:pt x="15" y="11"/>
                </a:cubicBezTo>
                <a:cubicBezTo>
                  <a:pt x="16" y="12"/>
                  <a:pt x="17" y="13"/>
                  <a:pt x="16" y="14"/>
                </a:cubicBezTo>
                <a:cubicBezTo>
                  <a:pt x="16" y="15"/>
                  <a:pt x="15" y="15"/>
                  <a:pt x="14" y="15"/>
                </a:cubicBezTo>
                <a:moveTo>
                  <a:pt x="16" y="7"/>
                </a:moveTo>
                <a:cubicBezTo>
                  <a:pt x="15" y="8"/>
                  <a:pt x="15" y="8"/>
                  <a:pt x="15" y="8"/>
                </a:cubicBezTo>
                <a:cubicBezTo>
                  <a:pt x="15" y="8"/>
                  <a:pt x="15" y="8"/>
                  <a:pt x="14" y="8"/>
                </a:cubicBezTo>
                <a:cubicBezTo>
                  <a:pt x="14" y="8"/>
                  <a:pt x="14" y="8"/>
                  <a:pt x="14" y="8"/>
                </a:cubicBezTo>
                <a:cubicBezTo>
                  <a:pt x="13" y="7"/>
                  <a:pt x="13" y="7"/>
                  <a:pt x="13" y="7"/>
                </a:cubicBezTo>
                <a:cubicBezTo>
                  <a:pt x="11" y="8"/>
                  <a:pt x="11" y="8"/>
                  <a:pt x="11" y="8"/>
                </a:cubicBezTo>
                <a:cubicBezTo>
                  <a:pt x="11" y="9"/>
                  <a:pt x="11" y="9"/>
                  <a:pt x="11" y="9"/>
                </a:cubicBezTo>
                <a:cubicBezTo>
                  <a:pt x="10" y="10"/>
                  <a:pt x="10" y="10"/>
                  <a:pt x="10" y="10"/>
                </a:cubicBezTo>
                <a:cubicBezTo>
                  <a:pt x="9" y="10"/>
                  <a:pt x="9" y="10"/>
                  <a:pt x="9" y="10"/>
                </a:cubicBezTo>
                <a:cubicBezTo>
                  <a:pt x="8" y="12"/>
                  <a:pt x="8" y="12"/>
                  <a:pt x="8" y="12"/>
                </a:cubicBezTo>
                <a:cubicBezTo>
                  <a:pt x="10" y="13"/>
                  <a:pt x="10" y="13"/>
                  <a:pt x="10" y="13"/>
                </a:cubicBezTo>
                <a:cubicBezTo>
                  <a:pt x="10" y="13"/>
                  <a:pt x="10" y="14"/>
                  <a:pt x="10" y="14"/>
                </a:cubicBezTo>
                <a:cubicBezTo>
                  <a:pt x="8" y="15"/>
                  <a:pt x="8" y="15"/>
                  <a:pt x="8" y="15"/>
                </a:cubicBezTo>
                <a:cubicBezTo>
                  <a:pt x="9" y="17"/>
                  <a:pt x="9" y="17"/>
                  <a:pt x="9" y="17"/>
                </a:cubicBezTo>
                <a:cubicBezTo>
                  <a:pt x="11" y="16"/>
                  <a:pt x="11" y="16"/>
                  <a:pt x="11" y="16"/>
                </a:cubicBezTo>
                <a:cubicBezTo>
                  <a:pt x="12" y="17"/>
                  <a:pt x="12" y="17"/>
                  <a:pt x="12" y="17"/>
                </a:cubicBezTo>
                <a:cubicBezTo>
                  <a:pt x="11" y="19"/>
                  <a:pt x="11" y="19"/>
                  <a:pt x="11" y="19"/>
                </a:cubicBezTo>
                <a:cubicBezTo>
                  <a:pt x="13" y="20"/>
                  <a:pt x="13" y="20"/>
                  <a:pt x="13" y="20"/>
                </a:cubicBezTo>
                <a:cubicBezTo>
                  <a:pt x="14" y="18"/>
                  <a:pt x="14" y="18"/>
                  <a:pt x="14" y="18"/>
                </a:cubicBezTo>
                <a:cubicBezTo>
                  <a:pt x="14" y="18"/>
                  <a:pt x="14" y="18"/>
                  <a:pt x="14" y="18"/>
                </a:cubicBezTo>
                <a:cubicBezTo>
                  <a:pt x="15" y="18"/>
                  <a:pt x="15" y="18"/>
                  <a:pt x="15" y="18"/>
                </a:cubicBezTo>
                <a:cubicBezTo>
                  <a:pt x="16" y="19"/>
                  <a:pt x="16" y="19"/>
                  <a:pt x="16" y="19"/>
                </a:cubicBezTo>
                <a:cubicBezTo>
                  <a:pt x="18" y="19"/>
                  <a:pt x="18" y="19"/>
                  <a:pt x="18" y="19"/>
                </a:cubicBezTo>
                <a:cubicBezTo>
                  <a:pt x="18" y="17"/>
                  <a:pt x="18" y="17"/>
                  <a:pt x="18" y="17"/>
                </a:cubicBezTo>
                <a:cubicBezTo>
                  <a:pt x="18" y="16"/>
                  <a:pt x="18" y="16"/>
                  <a:pt x="18" y="16"/>
                </a:cubicBezTo>
                <a:cubicBezTo>
                  <a:pt x="20" y="16"/>
                  <a:pt x="20" y="16"/>
                  <a:pt x="20" y="16"/>
                </a:cubicBezTo>
                <a:cubicBezTo>
                  <a:pt x="21" y="14"/>
                  <a:pt x="21" y="14"/>
                  <a:pt x="21" y="14"/>
                </a:cubicBezTo>
                <a:cubicBezTo>
                  <a:pt x="19" y="14"/>
                  <a:pt x="19" y="14"/>
                  <a:pt x="19" y="14"/>
                </a:cubicBezTo>
                <a:cubicBezTo>
                  <a:pt x="19" y="13"/>
                  <a:pt x="19" y="13"/>
                  <a:pt x="19" y="12"/>
                </a:cubicBezTo>
                <a:cubicBezTo>
                  <a:pt x="21" y="11"/>
                  <a:pt x="21" y="11"/>
                  <a:pt x="21" y="11"/>
                </a:cubicBezTo>
                <a:cubicBezTo>
                  <a:pt x="20" y="10"/>
                  <a:pt x="20" y="10"/>
                  <a:pt x="20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7" y="9"/>
                  <a:pt x="17" y="9"/>
                  <a:pt x="17" y="9"/>
                </a:cubicBezTo>
                <a:cubicBezTo>
                  <a:pt x="18" y="8"/>
                  <a:pt x="18" y="8"/>
                  <a:pt x="18" y="8"/>
                </a:cubicBezTo>
                <a:cubicBezTo>
                  <a:pt x="16" y="7"/>
                  <a:pt x="16" y="7"/>
                  <a:pt x="16" y="7"/>
                </a:cubicBezTo>
                <a:moveTo>
                  <a:pt x="5" y="7"/>
                </a:moveTo>
                <a:cubicBezTo>
                  <a:pt x="4" y="7"/>
                  <a:pt x="4" y="6"/>
                  <a:pt x="4" y="5"/>
                </a:cubicBezTo>
                <a:cubicBezTo>
                  <a:pt x="4" y="4"/>
                  <a:pt x="4" y="3"/>
                  <a:pt x="5" y="3"/>
                </a:cubicBezTo>
                <a:cubicBezTo>
                  <a:pt x="6" y="3"/>
                  <a:pt x="7" y="4"/>
                  <a:pt x="7" y="5"/>
                </a:cubicBezTo>
                <a:cubicBezTo>
                  <a:pt x="7" y="6"/>
                  <a:pt x="6" y="7"/>
                  <a:pt x="5" y="7"/>
                </a:cubicBezTo>
                <a:moveTo>
                  <a:pt x="6" y="0"/>
                </a:moveTo>
                <a:cubicBezTo>
                  <a:pt x="4" y="0"/>
                  <a:pt x="4" y="0"/>
                  <a:pt x="4" y="0"/>
                </a:cubicBezTo>
                <a:cubicBezTo>
                  <a:pt x="4" y="1"/>
                  <a:pt x="4" y="1"/>
                  <a:pt x="4" y="1"/>
                </a:cubicBezTo>
                <a:cubicBezTo>
                  <a:pt x="3" y="2"/>
                  <a:pt x="3" y="2"/>
                  <a:pt x="3" y="2"/>
                </a:cubicBezTo>
                <a:cubicBezTo>
                  <a:pt x="2" y="1"/>
                  <a:pt x="2" y="1"/>
                  <a:pt x="2" y="1"/>
                </a:cubicBezTo>
                <a:cubicBezTo>
                  <a:pt x="1" y="2"/>
                  <a:pt x="1" y="2"/>
                  <a:pt x="1" y="2"/>
                </a:cubicBezTo>
                <a:cubicBezTo>
                  <a:pt x="2" y="3"/>
                  <a:pt x="2" y="3"/>
                  <a:pt x="2" y="3"/>
                </a:cubicBezTo>
                <a:cubicBezTo>
                  <a:pt x="1" y="4"/>
                  <a:pt x="1" y="4"/>
                  <a:pt x="1" y="4"/>
                </a:cubicBezTo>
                <a:cubicBezTo>
                  <a:pt x="0" y="4"/>
                  <a:pt x="0" y="4"/>
                  <a:pt x="0" y="4"/>
                </a:cubicBezTo>
                <a:cubicBezTo>
                  <a:pt x="0" y="6"/>
                  <a:pt x="0" y="6"/>
                  <a:pt x="0" y="6"/>
                </a:cubicBezTo>
                <a:cubicBezTo>
                  <a:pt x="1" y="6"/>
                  <a:pt x="1" y="6"/>
                  <a:pt x="1" y="6"/>
                </a:cubicBezTo>
                <a:cubicBezTo>
                  <a:pt x="2" y="7"/>
                  <a:pt x="2" y="7"/>
                  <a:pt x="2" y="7"/>
                </a:cubicBezTo>
                <a:cubicBezTo>
                  <a:pt x="1" y="8"/>
                  <a:pt x="1" y="8"/>
                  <a:pt x="1" y="8"/>
                </a:cubicBezTo>
                <a:cubicBezTo>
                  <a:pt x="2" y="9"/>
                  <a:pt x="2" y="9"/>
                  <a:pt x="2" y="9"/>
                </a:cubicBezTo>
                <a:cubicBezTo>
                  <a:pt x="3" y="8"/>
                  <a:pt x="3" y="8"/>
                  <a:pt x="3" y="8"/>
                </a:cubicBezTo>
                <a:cubicBezTo>
                  <a:pt x="4" y="9"/>
                  <a:pt x="4" y="9"/>
                  <a:pt x="4" y="9"/>
                </a:cubicBezTo>
                <a:cubicBezTo>
                  <a:pt x="4" y="10"/>
                  <a:pt x="4" y="10"/>
                  <a:pt x="4" y="10"/>
                </a:cubicBezTo>
                <a:cubicBezTo>
                  <a:pt x="6" y="10"/>
                  <a:pt x="6" y="10"/>
                  <a:pt x="6" y="10"/>
                </a:cubicBezTo>
                <a:cubicBezTo>
                  <a:pt x="6" y="9"/>
                  <a:pt x="6" y="9"/>
                  <a:pt x="6" y="9"/>
                </a:cubicBezTo>
                <a:cubicBezTo>
                  <a:pt x="7" y="9"/>
                  <a:pt x="7" y="9"/>
                  <a:pt x="7" y="9"/>
                </a:cubicBezTo>
                <a:cubicBezTo>
                  <a:pt x="8" y="9"/>
                  <a:pt x="8" y="9"/>
                  <a:pt x="8" y="9"/>
                </a:cubicBezTo>
                <a:cubicBezTo>
                  <a:pt x="9" y="8"/>
                  <a:pt x="9" y="8"/>
                  <a:pt x="9" y="8"/>
                </a:cubicBezTo>
                <a:cubicBezTo>
                  <a:pt x="9" y="7"/>
                  <a:pt x="9" y="7"/>
                  <a:pt x="9" y="7"/>
                </a:cubicBezTo>
                <a:cubicBezTo>
                  <a:pt x="9" y="6"/>
                  <a:pt x="9" y="6"/>
                  <a:pt x="9" y="6"/>
                </a:cubicBezTo>
                <a:cubicBezTo>
                  <a:pt x="10" y="6"/>
                  <a:pt x="10" y="6"/>
                  <a:pt x="10" y="6"/>
                </a:cubicBezTo>
                <a:cubicBezTo>
                  <a:pt x="10" y="4"/>
                  <a:pt x="10" y="4"/>
                  <a:pt x="10" y="4"/>
                </a:cubicBezTo>
                <a:cubicBezTo>
                  <a:pt x="9" y="4"/>
                  <a:pt x="9" y="4"/>
                  <a:pt x="9" y="4"/>
                </a:cubicBezTo>
                <a:cubicBezTo>
                  <a:pt x="9" y="3"/>
                  <a:pt x="9" y="3"/>
                  <a:pt x="9" y="3"/>
                </a:cubicBezTo>
                <a:cubicBezTo>
                  <a:pt x="9" y="2"/>
                  <a:pt x="9" y="2"/>
                  <a:pt x="9" y="2"/>
                </a:cubicBezTo>
                <a:cubicBezTo>
                  <a:pt x="8" y="1"/>
                  <a:pt x="8" y="1"/>
                  <a:pt x="8" y="1"/>
                </a:cubicBezTo>
                <a:cubicBezTo>
                  <a:pt x="7" y="2"/>
                  <a:pt x="7" y="2"/>
                  <a:pt x="7" y="2"/>
                </a:cubicBezTo>
                <a:cubicBezTo>
                  <a:pt x="6" y="1"/>
                  <a:pt x="6" y="1"/>
                  <a:pt x="6" y="1"/>
                </a:cubicBezTo>
                <a:cubicBezTo>
                  <a:pt x="6" y="0"/>
                  <a:pt x="6" y="0"/>
                  <a:pt x="6" y="0"/>
                </a:cubicBezTo>
              </a:path>
            </a:pathLst>
          </a:custGeom>
          <a:solidFill>
            <a:srgbClr val="E1E9FC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44" name="Freeform 119"/>
          <p:cNvSpPr>
            <a:spLocks noEditPoints="1"/>
          </p:cNvSpPr>
          <p:nvPr/>
        </p:nvSpPr>
        <p:spPr bwMode="auto">
          <a:xfrm>
            <a:off x="2408238" y="4632325"/>
            <a:ext cx="57150" cy="58738"/>
          </a:xfrm>
          <a:custGeom>
            <a:avLst/>
            <a:gdLst>
              <a:gd name="T0" fmla="*/ 11 w 21"/>
              <a:gd name="T1" fmla="*/ 6 h 21"/>
              <a:gd name="T2" fmla="*/ 4 w 21"/>
              <a:gd name="T3" fmla="*/ 13 h 21"/>
              <a:gd name="T4" fmla="*/ 4 w 21"/>
              <a:gd name="T5" fmla="*/ 19 h 21"/>
              <a:gd name="T6" fmla="*/ 5 w 21"/>
              <a:gd name="T7" fmla="*/ 21 h 21"/>
              <a:gd name="T8" fmla="*/ 9 w 21"/>
              <a:gd name="T9" fmla="*/ 21 h 21"/>
              <a:gd name="T10" fmla="*/ 9 w 21"/>
              <a:gd name="T11" fmla="*/ 15 h 21"/>
              <a:gd name="T12" fmla="*/ 10 w 21"/>
              <a:gd name="T13" fmla="*/ 13 h 21"/>
              <a:gd name="T14" fmla="*/ 12 w 21"/>
              <a:gd name="T15" fmla="*/ 13 h 21"/>
              <a:gd name="T16" fmla="*/ 13 w 21"/>
              <a:gd name="T17" fmla="*/ 15 h 21"/>
              <a:gd name="T18" fmla="*/ 13 w 21"/>
              <a:gd name="T19" fmla="*/ 21 h 21"/>
              <a:gd name="T20" fmla="*/ 17 w 21"/>
              <a:gd name="T21" fmla="*/ 21 h 21"/>
              <a:gd name="T22" fmla="*/ 18 w 21"/>
              <a:gd name="T23" fmla="*/ 19 h 21"/>
              <a:gd name="T24" fmla="*/ 18 w 21"/>
              <a:gd name="T25" fmla="*/ 13 h 21"/>
              <a:gd name="T26" fmla="*/ 11 w 21"/>
              <a:gd name="T27" fmla="*/ 6 h 21"/>
              <a:gd name="T28" fmla="*/ 11 w 21"/>
              <a:gd name="T29" fmla="*/ 0 h 21"/>
              <a:gd name="T30" fmla="*/ 10 w 21"/>
              <a:gd name="T31" fmla="*/ 1 h 21"/>
              <a:gd name="T32" fmla="*/ 1 w 21"/>
              <a:gd name="T33" fmla="*/ 10 h 21"/>
              <a:gd name="T34" fmla="*/ 1 w 21"/>
              <a:gd name="T35" fmla="*/ 12 h 21"/>
              <a:gd name="T36" fmla="*/ 2 w 21"/>
              <a:gd name="T37" fmla="*/ 13 h 21"/>
              <a:gd name="T38" fmla="*/ 3 w 21"/>
              <a:gd name="T39" fmla="*/ 12 h 21"/>
              <a:gd name="T40" fmla="*/ 11 w 21"/>
              <a:gd name="T41" fmla="*/ 5 h 21"/>
              <a:gd name="T42" fmla="*/ 19 w 21"/>
              <a:gd name="T43" fmla="*/ 12 h 21"/>
              <a:gd name="T44" fmla="*/ 20 w 21"/>
              <a:gd name="T45" fmla="*/ 13 h 21"/>
              <a:gd name="T46" fmla="*/ 21 w 21"/>
              <a:gd name="T47" fmla="*/ 12 h 21"/>
              <a:gd name="T48" fmla="*/ 21 w 21"/>
              <a:gd name="T49" fmla="*/ 10 h 21"/>
              <a:gd name="T50" fmla="*/ 12 w 21"/>
              <a:gd name="T51" fmla="*/ 1 h 21"/>
              <a:gd name="T52" fmla="*/ 11 w 21"/>
              <a:gd name="T53" fmla="*/ 0 h 21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21"/>
              <a:gd name="T82" fmla="*/ 0 h 21"/>
              <a:gd name="T83" fmla="*/ 21 w 21"/>
              <a:gd name="T84" fmla="*/ 21 h 21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21" h="21">
                <a:moveTo>
                  <a:pt x="11" y="6"/>
                </a:moveTo>
                <a:cubicBezTo>
                  <a:pt x="4" y="13"/>
                  <a:pt x="4" y="13"/>
                  <a:pt x="4" y="13"/>
                </a:cubicBezTo>
                <a:cubicBezTo>
                  <a:pt x="4" y="19"/>
                  <a:pt x="4" y="19"/>
                  <a:pt x="4" y="19"/>
                </a:cubicBezTo>
                <a:cubicBezTo>
                  <a:pt x="4" y="20"/>
                  <a:pt x="4" y="21"/>
                  <a:pt x="5" y="21"/>
                </a:cubicBezTo>
                <a:cubicBezTo>
                  <a:pt x="9" y="21"/>
                  <a:pt x="9" y="21"/>
                  <a:pt x="9" y="21"/>
                </a:cubicBezTo>
                <a:cubicBezTo>
                  <a:pt x="9" y="15"/>
                  <a:pt x="9" y="15"/>
                  <a:pt x="9" y="15"/>
                </a:cubicBezTo>
                <a:cubicBezTo>
                  <a:pt x="9" y="14"/>
                  <a:pt x="9" y="13"/>
                  <a:pt x="10" y="13"/>
                </a:cubicBezTo>
                <a:cubicBezTo>
                  <a:pt x="12" y="13"/>
                  <a:pt x="12" y="13"/>
                  <a:pt x="12" y="13"/>
                </a:cubicBezTo>
                <a:cubicBezTo>
                  <a:pt x="12" y="13"/>
                  <a:pt x="13" y="14"/>
                  <a:pt x="13" y="15"/>
                </a:cubicBezTo>
                <a:cubicBezTo>
                  <a:pt x="13" y="21"/>
                  <a:pt x="13" y="21"/>
                  <a:pt x="13" y="21"/>
                </a:cubicBezTo>
                <a:cubicBezTo>
                  <a:pt x="17" y="21"/>
                  <a:pt x="17" y="21"/>
                  <a:pt x="17" y="21"/>
                </a:cubicBezTo>
                <a:cubicBezTo>
                  <a:pt x="18" y="21"/>
                  <a:pt x="18" y="20"/>
                  <a:pt x="18" y="19"/>
                </a:cubicBezTo>
                <a:cubicBezTo>
                  <a:pt x="18" y="13"/>
                  <a:pt x="18" y="13"/>
                  <a:pt x="18" y="13"/>
                </a:cubicBezTo>
                <a:cubicBezTo>
                  <a:pt x="11" y="6"/>
                  <a:pt x="11" y="6"/>
                  <a:pt x="11" y="6"/>
                </a:cubicBezTo>
                <a:moveTo>
                  <a:pt x="11" y="0"/>
                </a:moveTo>
                <a:cubicBezTo>
                  <a:pt x="10" y="0"/>
                  <a:pt x="10" y="1"/>
                  <a:pt x="10" y="1"/>
                </a:cubicBezTo>
                <a:cubicBezTo>
                  <a:pt x="1" y="10"/>
                  <a:pt x="1" y="10"/>
                  <a:pt x="1" y="10"/>
                </a:cubicBezTo>
                <a:cubicBezTo>
                  <a:pt x="0" y="11"/>
                  <a:pt x="0" y="12"/>
                  <a:pt x="1" y="12"/>
                </a:cubicBezTo>
                <a:cubicBezTo>
                  <a:pt x="1" y="13"/>
                  <a:pt x="2" y="13"/>
                  <a:pt x="2" y="13"/>
                </a:cubicBezTo>
                <a:cubicBezTo>
                  <a:pt x="2" y="13"/>
                  <a:pt x="3" y="13"/>
                  <a:pt x="3" y="12"/>
                </a:cubicBezTo>
                <a:cubicBezTo>
                  <a:pt x="11" y="5"/>
                  <a:pt x="11" y="5"/>
                  <a:pt x="11" y="5"/>
                </a:cubicBezTo>
                <a:cubicBezTo>
                  <a:pt x="19" y="12"/>
                  <a:pt x="19" y="12"/>
                  <a:pt x="19" y="12"/>
                </a:cubicBezTo>
                <a:cubicBezTo>
                  <a:pt x="19" y="13"/>
                  <a:pt x="19" y="13"/>
                  <a:pt x="20" y="13"/>
                </a:cubicBezTo>
                <a:cubicBezTo>
                  <a:pt x="20" y="13"/>
                  <a:pt x="20" y="13"/>
                  <a:pt x="21" y="12"/>
                </a:cubicBezTo>
                <a:cubicBezTo>
                  <a:pt x="21" y="12"/>
                  <a:pt x="21" y="11"/>
                  <a:pt x="21" y="10"/>
                </a:cubicBezTo>
                <a:cubicBezTo>
                  <a:pt x="12" y="1"/>
                  <a:pt x="12" y="1"/>
                  <a:pt x="12" y="1"/>
                </a:cubicBezTo>
                <a:cubicBezTo>
                  <a:pt x="12" y="1"/>
                  <a:pt x="12" y="0"/>
                  <a:pt x="11" y="0"/>
                </a:cubicBezTo>
              </a:path>
            </a:pathLst>
          </a:custGeom>
          <a:solidFill>
            <a:srgbClr val="E1E9FC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45" name="Freeform 120"/>
          <p:cNvSpPr>
            <a:spLocks noEditPoints="1"/>
          </p:cNvSpPr>
          <p:nvPr/>
        </p:nvSpPr>
        <p:spPr bwMode="auto">
          <a:xfrm>
            <a:off x="2819400" y="4632325"/>
            <a:ext cx="52388" cy="55563"/>
          </a:xfrm>
          <a:custGeom>
            <a:avLst/>
            <a:gdLst>
              <a:gd name="T0" fmla="*/ 13 w 19"/>
              <a:gd name="T1" fmla="*/ 13 h 20"/>
              <a:gd name="T2" fmla="*/ 12 w 19"/>
              <a:gd name="T3" fmla="*/ 13 h 20"/>
              <a:gd name="T4" fmla="*/ 12 w 19"/>
              <a:gd name="T5" fmla="*/ 15 h 20"/>
              <a:gd name="T6" fmla="*/ 15 w 19"/>
              <a:gd name="T7" fmla="*/ 20 h 20"/>
              <a:gd name="T8" fmla="*/ 17 w 19"/>
              <a:gd name="T9" fmla="*/ 20 h 20"/>
              <a:gd name="T10" fmla="*/ 18 w 19"/>
              <a:gd name="T11" fmla="*/ 20 h 20"/>
              <a:gd name="T12" fmla="*/ 18 w 19"/>
              <a:gd name="T13" fmla="*/ 18 h 20"/>
              <a:gd name="T14" fmla="*/ 14 w 19"/>
              <a:gd name="T15" fmla="*/ 13 h 20"/>
              <a:gd name="T16" fmla="*/ 13 w 19"/>
              <a:gd name="T17" fmla="*/ 13 h 20"/>
              <a:gd name="T18" fmla="*/ 7 w 19"/>
              <a:gd name="T19" fmla="*/ 12 h 20"/>
              <a:gd name="T20" fmla="*/ 2 w 19"/>
              <a:gd name="T21" fmla="*/ 7 h 20"/>
              <a:gd name="T22" fmla="*/ 7 w 19"/>
              <a:gd name="T23" fmla="*/ 3 h 20"/>
              <a:gd name="T24" fmla="*/ 11 w 19"/>
              <a:gd name="T25" fmla="*/ 7 h 20"/>
              <a:gd name="T26" fmla="*/ 7 w 19"/>
              <a:gd name="T27" fmla="*/ 12 h 20"/>
              <a:gd name="T28" fmla="*/ 7 w 19"/>
              <a:gd name="T29" fmla="*/ 0 h 20"/>
              <a:gd name="T30" fmla="*/ 0 w 19"/>
              <a:gd name="T31" fmla="*/ 7 h 20"/>
              <a:gd name="T32" fmla="*/ 7 w 19"/>
              <a:gd name="T33" fmla="*/ 14 h 20"/>
              <a:gd name="T34" fmla="*/ 13 w 19"/>
              <a:gd name="T35" fmla="*/ 7 h 20"/>
              <a:gd name="T36" fmla="*/ 7 w 19"/>
              <a:gd name="T37" fmla="*/ 0 h 2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9"/>
              <a:gd name="T58" fmla="*/ 0 h 20"/>
              <a:gd name="T59" fmla="*/ 19 w 19"/>
              <a:gd name="T60" fmla="*/ 20 h 20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9" h="20">
                <a:moveTo>
                  <a:pt x="13" y="13"/>
                </a:moveTo>
                <a:cubicBezTo>
                  <a:pt x="12" y="13"/>
                  <a:pt x="12" y="13"/>
                  <a:pt x="12" y="13"/>
                </a:cubicBezTo>
                <a:cubicBezTo>
                  <a:pt x="11" y="14"/>
                  <a:pt x="11" y="15"/>
                  <a:pt x="12" y="15"/>
                </a:cubicBezTo>
                <a:cubicBezTo>
                  <a:pt x="15" y="20"/>
                  <a:pt x="15" y="20"/>
                  <a:pt x="15" y="20"/>
                </a:cubicBezTo>
                <a:cubicBezTo>
                  <a:pt x="16" y="20"/>
                  <a:pt x="16" y="20"/>
                  <a:pt x="17" y="20"/>
                </a:cubicBezTo>
                <a:cubicBezTo>
                  <a:pt x="17" y="20"/>
                  <a:pt x="18" y="20"/>
                  <a:pt x="18" y="20"/>
                </a:cubicBezTo>
                <a:cubicBezTo>
                  <a:pt x="19" y="19"/>
                  <a:pt x="19" y="18"/>
                  <a:pt x="18" y="18"/>
                </a:cubicBezTo>
                <a:cubicBezTo>
                  <a:pt x="14" y="13"/>
                  <a:pt x="14" y="13"/>
                  <a:pt x="14" y="13"/>
                </a:cubicBezTo>
                <a:cubicBezTo>
                  <a:pt x="14" y="13"/>
                  <a:pt x="13" y="13"/>
                  <a:pt x="13" y="13"/>
                </a:cubicBezTo>
                <a:moveTo>
                  <a:pt x="7" y="12"/>
                </a:moveTo>
                <a:cubicBezTo>
                  <a:pt x="4" y="12"/>
                  <a:pt x="2" y="10"/>
                  <a:pt x="2" y="7"/>
                </a:cubicBezTo>
                <a:cubicBezTo>
                  <a:pt x="2" y="5"/>
                  <a:pt x="4" y="3"/>
                  <a:pt x="7" y="3"/>
                </a:cubicBezTo>
                <a:cubicBezTo>
                  <a:pt x="9" y="3"/>
                  <a:pt x="11" y="5"/>
                  <a:pt x="11" y="7"/>
                </a:cubicBezTo>
                <a:cubicBezTo>
                  <a:pt x="11" y="10"/>
                  <a:pt x="9" y="12"/>
                  <a:pt x="7" y="12"/>
                </a:cubicBezTo>
                <a:moveTo>
                  <a:pt x="7" y="0"/>
                </a:moveTo>
                <a:cubicBezTo>
                  <a:pt x="3" y="0"/>
                  <a:pt x="0" y="3"/>
                  <a:pt x="0" y="7"/>
                </a:cubicBezTo>
                <a:cubicBezTo>
                  <a:pt x="0" y="11"/>
                  <a:pt x="3" y="14"/>
                  <a:pt x="7" y="14"/>
                </a:cubicBezTo>
                <a:cubicBezTo>
                  <a:pt x="10" y="14"/>
                  <a:pt x="13" y="11"/>
                  <a:pt x="13" y="7"/>
                </a:cubicBezTo>
                <a:cubicBezTo>
                  <a:pt x="13" y="3"/>
                  <a:pt x="10" y="0"/>
                  <a:pt x="7" y="0"/>
                </a:cubicBezTo>
              </a:path>
            </a:pathLst>
          </a:custGeom>
          <a:solidFill>
            <a:srgbClr val="E1E9FC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46" name="Freeform 121"/>
          <p:cNvSpPr>
            <a:spLocks/>
          </p:cNvSpPr>
          <p:nvPr/>
        </p:nvSpPr>
        <p:spPr bwMode="auto">
          <a:xfrm>
            <a:off x="2682875" y="4638675"/>
            <a:ext cx="57150" cy="46038"/>
          </a:xfrm>
          <a:custGeom>
            <a:avLst/>
            <a:gdLst>
              <a:gd name="T0" fmla="*/ 8 w 21"/>
              <a:gd name="T1" fmla="*/ 0 h 17"/>
              <a:gd name="T2" fmla="*/ 0 w 21"/>
              <a:gd name="T3" fmla="*/ 5 h 17"/>
              <a:gd name="T4" fmla="*/ 8 w 21"/>
              <a:gd name="T5" fmla="*/ 10 h 17"/>
              <a:gd name="T6" fmla="*/ 8 w 21"/>
              <a:gd name="T7" fmla="*/ 6 h 17"/>
              <a:gd name="T8" fmla="*/ 13 w 21"/>
              <a:gd name="T9" fmla="*/ 6 h 17"/>
              <a:gd name="T10" fmla="*/ 18 w 21"/>
              <a:gd name="T11" fmla="*/ 10 h 17"/>
              <a:gd name="T12" fmla="*/ 13 w 21"/>
              <a:gd name="T13" fmla="*/ 14 h 17"/>
              <a:gd name="T14" fmla="*/ 13 w 21"/>
              <a:gd name="T15" fmla="*/ 14 h 17"/>
              <a:gd name="T16" fmla="*/ 10 w 21"/>
              <a:gd name="T17" fmla="*/ 14 h 17"/>
              <a:gd name="T18" fmla="*/ 10 w 21"/>
              <a:gd name="T19" fmla="*/ 14 h 17"/>
              <a:gd name="T20" fmla="*/ 9 w 21"/>
              <a:gd name="T21" fmla="*/ 16 h 17"/>
              <a:gd name="T22" fmla="*/ 10 w 21"/>
              <a:gd name="T23" fmla="*/ 17 h 17"/>
              <a:gd name="T24" fmla="*/ 10 w 21"/>
              <a:gd name="T25" fmla="*/ 17 h 17"/>
              <a:gd name="T26" fmla="*/ 10 w 21"/>
              <a:gd name="T27" fmla="*/ 17 h 17"/>
              <a:gd name="T28" fmla="*/ 13 w 21"/>
              <a:gd name="T29" fmla="*/ 17 h 17"/>
              <a:gd name="T30" fmla="*/ 21 w 21"/>
              <a:gd name="T31" fmla="*/ 10 h 17"/>
              <a:gd name="T32" fmla="*/ 13 w 21"/>
              <a:gd name="T33" fmla="*/ 4 h 17"/>
              <a:gd name="T34" fmla="*/ 8 w 21"/>
              <a:gd name="T35" fmla="*/ 4 h 17"/>
              <a:gd name="T36" fmla="*/ 8 w 21"/>
              <a:gd name="T37" fmla="*/ 0 h 1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21"/>
              <a:gd name="T58" fmla="*/ 0 h 17"/>
              <a:gd name="T59" fmla="*/ 21 w 21"/>
              <a:gd name="T60" fmla="*/ 17 h 17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21" h="17">
                <a:moveTo>
                  <a:pt x="8" y="0"/>
                </a:moveTo>
                <a:cubicBezTo>
                  <a:pt x="0" y="5"/>
                  <a:pt x="0" y="5"/>
                  <a:pt x="0" y="5"/>
                </a:cubicBezTo>
                <a:cubicBezTo>
                  <a:pt x="8" y="10"/>
                  <a:pt x="8" y="10"/>
                  <a:pt x="8" y="10"/>
                </a:cubicBezTo>
                <a:cubicBezTo>
                  <a:pt x="8" y="6"/>
                  <a:pt x="8" y="6"/>
                  <a:pt x="8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6" y="6"/>
                  <a:pt x="18" y="8"/>
                  <a:pt x="18" y="10"/>
                </a:cubicBezTo>
                <a:cubicBezTo>
                  <a:pt x="18" y="13"/>
                  <a:pt x="16" y="14"/>
                  <a:pt x="13" y="14"/>
                </a:cubicBezTo>
                <a:cubicBezTo>
                  <a:pt x="13" y="14"/>
                  <a:pt x="13" y="14"/>
                  <a:pt x="13" y="14"/>
                </a:cubicBezTo>
                <a:cubicBezTo>
                  <a:pt x="10" y="14"/>
                  <a:pt x="10" y="14"/>
                  <a:pt x="10" y="14"/>
                </a:cubicBezTo>
                <a:cubicBezTo>
                  <a:pt x="10" y="14"/>
                  <a:pt x="10" y="14"/>
                  <a:pt x="10" y="14"/>
                </a:cubicBezTo>
                <a:cubicBezTo>
                  <a:pt x="9" y="14"/>
                  <a:pt x="9" y="15"/>
                  <a:pt x="9" y="16"/>
                </a:cubicBezTo>
                <a:cubicBezTo>
                  <a:pt x="9" y="16"/>
                  <a:pt x="9" y="17"/>
                  <a:pt x="10" y="17"/>
                </a:cubicBezTo>
                <a:cubicBezTo>
                  <a:pt x="10" y="17"/>
                  <a:pt x="10" y="17"/>
                  <a:pt x="10" y="17"/>
                </a:cubicBezTo>
                <a:cubicBezTo>
                  <a:pt x="10" y="17"/>
                  <a:pt x="10" y="17"/>
                  <a:pt x="10" y="17"/>
                </a:cubicBezTo>
                <a:cubicBezTo>
                  <a:pt x="13" y="17"/>
                  <a:pt x="13" y="17"/>
                  <a:pt x="13" y="17"/>
                </a:cubicBezTo>
                <a:cubicBezTo>
                  <a:pt x="17" y="17"/>
                  <a:pt x="21" y="14"/>
                  <a:pt x="21" y="10"/>
                </a:cubicBezTo>
                <a:cubicBezTo>
                  <a:pt x="21" y="7"/>
                  <a:pt x="17" y="4"/>
                  <a:pt x="13" y="4"/>
                </a:cubicBezTo>
                <a:cubicBezTo>
                  <a:pt x="8" y="4"/>
                  <a:pt x="8" y="4"/>
                  <a:pt x="8" y="4"/>
                </a:cubicBezTo>
                <a:cubicBezTo>
                  <a:pt x="8" y="0"/>
                  <a:pt x="8" y="0"/>
                  <a:pt x="8" y="0"/>
                </a:cubicBezTo>
              </a:path>
            </a:pathLst>
          </a:custGeom>
          <a:solidFill>
            <a:srgbClr val="E1E9FC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3847" name="TextBox 130"/>
          <p:cNvSpPr txBox="1">
            <a:spLocks noChangeArrowheads="1"/>
          </p:cNvSpPr>
          <p:nvPr/>
        </p:nvSpPr>
        <p:spPr bwMode="auto">
          <a:xfrm>
            <a:off x="328613" y="1481138"/>
            <a:ext cx="2679700" cy="167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hu-HU" sz="11500" b="1">
                <a:ea typeface="Arial Unicode MS" pitchFamily="34" charset="-128"/>
                <a:cs typeface="Arial Unicode MS" pitchFamily="34" charset="-128"/>
              </a:rPr>
              <a:t>23</a:t>
            </a:r>
            <a:r>
              <a:rPr lang="hu-HU" sz="11500" b="1" baseline="30000">
                <a:ea typeface="Arial Unicode MS" pitchFamily="34" charset="-128"/>
                <a:cs typeface="Arial Unicode MS" pitchFamily="34" charset="-128"/>
              </a:rPr>
              <a:t>%</a:t>
            </a:r>
          </a:p>
        </p:txBody>
      </p:sp>
      <p:sp>
        <p:nvSpPr>
          <p:cNvPr id="73848" name="TextBox 7"/>
          <p:cNvSpPr txBox="1">
            <a:spLocks noChangeArrowheads="1"/>
          </p:cNvSpPr>
          <p:nvPr/>
        </p:nvSpPr>
        <p:spPr bwMode="auto">
          <a:xfrm>
            <a:off x="482283" y="6359525"/>
            <a:ext cx="65151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5000"/>
              </a:lnSpc>
              <a:tabLst>
                <a:tab pos="573088" algn="l"/>
              </a:tabLst>
            </a:pP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Alapja: 	Okostelefon-használók, akik az internetet általánosságban használják okostelefonjukon, n=1000 </a:t>
            </a:r>
          </a:p>
          <a:p>
            <a:pPr>
              <a:lnSpc>
                <a:spcPct val="95000"/>
              </a:lnSpc>
              <a:tabLst>
                <a:tab pos="573088" algn="l"/>
              </a:tabLst>
            </a:pPr>
            <a:r>
              <a:rPr lang="hu-HU" sz="800">
                <a:ea typeface="Arial Unicode MS" pitchFamily="34" charset="-128"/>
                <a:cs typeface="Arial Unicode MS" pitchFamily="34" charset="-128"/>
              </a:rPr>
              <a:t>21. kérdés: </a:t>
            </a:r>
            <a:r>
              <a:rPr lang="hu-HU" sz="800" smtClean="0">
                <a:ea typeface="Arial Unicode MS" pitchFamily="34" charset="-128"/>
                <a:cs typeface="Arial Unicode MS" pitchFamily="34" charset="-128"/>
              </a:rPr>
              <a:t>	Visszagondolva </a:t>
            </a:r>
            <a:r>
              <a:rPr lang="hu-HU" sz="800">
                <a:ea typeface="Arial Unicode MS" pitchFamily="34" charset="-128"/>
                <a:cs typeface="Arial Unicode MS" pitchFamily="34" charset="-128"/>
              </a:rPr>
              <a:t>az elmúlt 6 hónapra, a korábbiakhoz képest többször vagy kevesebbszer használta </a:t>
            </a:r>
            <a:r>
              <a:rPr lang="hu-HU" sz="800" smtClean="0"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z="800" smtClean="0">
                <a:ea typeface="Arial Unicode MS" pitchFamily="34" charset="-128"/>
                <a:cs typeface="Arial Unicode MS" pitchFamily="34" charset="-128"/>
              </a:rPr>
            </a:br>
            <a:r>
              <a:rPr lang="hu-HU" sz="800" smtClean="0">
                <a:ea typeface="Arial Unicode MS" pitchFamily="34" charset="-128"/>
                <a:cs typeface="Arial Unicode MS" pitchFamily="34" charset="-128"/>
              </a:rPr>
              <a:t>	okostelefonját </a:t>
            </a:r>
            <a:r>
              <a:rPr lang="hu-HU" sz="800">
                <a:ea typeface="Arial Unicode MS" pitchFamily="34" charset="-128"/>
                <a:cs typeface="Arial Unicode MS" pitchFamily="34" charset="-128"/>
              </a:rPr>
              <a:t>az internethez való csatlakozásra?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1" name="Title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476250"/>
          </a:xfrm>
        </p:spPr>
        <p:txBody>
          <a:bodyPr>
            <a:noAutofit/>
          </a:bodyPr>
          <a:lstStyle/>
          <a:p>
            <a:r>
              <a:rPr lang="hu-HU" smtClean="0"/>
              <a:t>Az okostelefonokat mindenhol használják</a:t>
            </a:r>
          </a:p>
        </p:txBody>
      </p:sp>
      <p:sp>
        <p:nvSpPr>
          <p:cNvPr id="71682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3AC67907-68E9-4AE5-BF8A-9C9D20CABF3E}" type="slidenum">
              <a:rPr lang="hu-HU"/>
              <a:pPr/>
              <a:t>5</a:t>
            </a:fld>
            <a:endParaRPr lang="hu-HU"/>
          </a:p>
        </p:txBody>
      </p:sp>
      <p:pic>
        <p:nvPicPr>
          <p:cNvPr id="7168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3294" y="1238251"/>
            <a:ext cx="9144000" cy="496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" name="TextBox 86"/>
          <p:cNvSpPr txBox="1"/>
          <p:nvPr/>
        </p:nvSpPr>
        <p:spPr>
          <a:xfrm>
            <a:off x="1279525" y="2714625"/>
            <a:ext cx="1598613" cy="2286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hu-HU" sz="1050" smtClean="0">
                <a:ea typeface="Arial Unicode MS" pitchFamily="34" charset="-128"/>
                <a:cs typeface="Arial Unicode MS" pitchFamily="34" charset="-128"/>
              </a:rPr>
              <a:t>Otthon</a:t>
            </a:r>
            <a:endParaRPr lang="hu-HU" sz="105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1244600" y="2232025"/>
            <a:ext cx="1098550" cy="585788"/>
          </a:xfrm>
          <a:prstGeom prst="rect">
            <a:avLst/>
          </a:prstGeom>
          <a:noFill/>
          <a:ln>
            <a:noFill/>
          </a:ln>
        </p:spPr>
        <p:txBody>
          <a:bodyPr wrap="none" anchor="ctr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hu-HU" sz="3600" smtClean="0">
                <a:solidFill>
                  <a:schemeClr val="accent3">
                    <a:lumMod val="75000"/>
                  </a:schemeClr>
                </a:solidFill>
                <a:ea typeface="Arial Unicode MS" pitchFamily="34" charset="-128"/>
                <a:cs typeface="Arial Unicode MS" pitchFamily="34" charset="-128"/>
              </a:rPr>
              <a:t>93%</a:t>
            </a:r>
            <a:endParaRPr lang="hu-HU" sz="3600">
              <a:solidFill>
                <a:schemeClr val="accent3">
                  <a:lumMod val="75000"/>
                </a:schemeClr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0" y="3898900"/>
            <a:ext cx="1235075" cy="2286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/>
          <a:p>
            <a:pPr algn="r">
              <a:lnSpc>
                <a:spcPct val="90000"/>
              </a:lnSpc>
              <a:defRPr/>
            </a:pPr>
            <a:r>
              <a:rPr lang="hu-HU" sz="1050" smtClean="0">
                <a:ea typeface="Arial Unicode MS" pitchFamily="34" charset="-128"/>
                <a:cs typeface="Arial Unicode MS" pitchFamily="34" charset="-128"/>
              </a:rPr>
              <a:t>Menet közben</a:t>
            </a:r>
            <a:endParaRPr lang="hu-HU" sz="105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136525" y="3416300"/>
            <a:ext cx="1098550" cy="585788"/>
          </a:xfrm>
          <a:prstGeom prst="rect">
            <a:avLst/>
          </a:prstGeom>
          <a:noFill/>
          <a:ln>
            <a:noFill/>
          </a:ln>
        </p:spPr>
        <p:txBody>
          <a:bodyPr wrap="none" anchor="ctr">
            <a:noAutofit/>
          </a:bodyPr>
          <a:lstStyle/>
          <a:p>
            <a:pPr algn="r">
              <a:lnSpc>
                <a:spcPct val="90000"/>
              </a:lnSpc>
              <a:defRPr/>
            </a:pPr>
            <a:r>
              <a:rPr lang="hu-HU" sz="3600" smtClea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74%</a:t>
            </a:r>
            <a:endParaRPr lang="hu-HU" sz="360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1697038" y="5270500"/>
            <a:ext cx="1266825" cy="228600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hu-HU" sz="1050" smtClean="0">
                <a:ea typeface="Arial Unicode MS" pitchFamily="34" charset="-128"/>
                <a:cs typeface="Arial Unicode MS" pitchFamily="34" charset="-128"/>
              </a:rPr>
              <a:t>Boltban</a:t>
            </a:r>
            <a:endParaRPr lang="hu-HU" sz="105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1663700" y="4789488"/>
            <a:ext cx="1098550" cy="585787"/>
          </a:xfrm>
          <a:prstGeom prst="rect">
            <a:avLst/>
          </a:prstGeom>
          <a:noFill/>
          <a:ln>
            <a:noFill/>
          </a:ln>
        </p:spPr>
        <p:txBody>
          <a:bodyPr wrap="none" anchor="ctr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hu-HU" sz="3600" smtClea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40%</a:t>
            </a:r>
            <a:endParaRPr lang="hu-HU" sz="3600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1691" name="Content Placeholder 3"/>
          <p:cNvSpPr>
            <a:spLocks noGrp="1"/>
          </p:cNvSpPr>
          <p:nvPr>
            <p:ph idx="1"/>
          </p:nvPr>
        </p:nvSpPr>
        <p:spPr>
          <a:xfrm>
            <a:off x="1439863" y="1382713"/>
            <a:ext cx="1584325" cy="293687"/>
          </a:xfrm>
        </p:spPr>
        <p:txBody>
          <a:bodyPr wrap="none">
            <a:noAutofit/>
          </a:bodyPr>
          <a:lstStyle/>
          <a:p>
            <a:pPr marL="0" indent="0" algn="ctr"/>
            <a:r>
              <a:rPr lang="hu-HU" sz="1400" smtClean="0"/>
              <a:t>A használat helye</a:t>
            </a:r>
          </a:p>
        </p:txBody>
      </p:sp>
      <p:sp>
        <p:nvSpPr>
          <p:cNvPr id="71692" name="AutoShape 5"/>
          <p:cNvSpPr>
            <a:spLocks noChangeAspect="1" noChangeArrowheads="1" noTextEdit="1"/>
          </p:cNvSpPr>
          <p:nvPr/>
        </p:nvSpPr>
        <p:spPr bwMode="auto">
          <a:xfrm>
            <a:off x="-133350" y="1293813"/>
            <a:ext cx="1397000" cy="138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1" name="Freeform 7"/>
          <p:cNvSpPr>
            <a:spLocks/>
          </p:cNvSpPr>
          <p:nvPr/>
        </p:nvSpPr>
        <p:spPr bwMode="auto">
          <a:xfrm>
            <a:off x="-139700" y="1287463"/>
            <a:ext cx="1409700" cy="1387475"/>
          </a:xfrm>
          <a:custGeom>
            <a:avLst/>
            <a:gdLst/>
            <a:ahLst/>
            <a:cxnLst>
              <a:cxn ang="0">
                <a:pos x="24" y="209"/>
              </a:cxn>
              <a:cxn ang="0">
                <a:pos x="24" y="209"/>
              </a:cxn>
              <a:cxn ang="0">
                <a:pos x="24" y="140"/>
              </a:cxn>
              <a:cxn ang="0">
                <a:pos x="19" y="134"/>
              </a:cxn>
              <a:cxn ang="0">
                <a:pos x="6" y="134"/>
              </a:cxn>
              <a:cxn ang="0">
                <a:pos x="1" y="131"/>
              </a:cxn>
              <a:cxn ang="0">
                <a:pos x="2" y="124"/>
              </a:cxn>
              <a:cxn ang="0">
                <a:pos x="120" y="2"/>
              </a:cxn>
              <a:cxn ang="0">
                <a:pos x="128" y="2"/>
              </a:cxn>
              <a:cxn ang="0">
                <a:pos x="246" y="124"/>
              </a:cxn>
              <a:cxn ang="0">
                <a:pos x="248" y="131"/>
              </a:cxn>
              <a:cxn ang="0">
                <a:pos x="242" y="134"/>
              </a:cxn>
              <a:cxn ang="0">
                <a:pos x="230" y="134"/>
              </a:cxn>
              <a:cxn ang="0">
                <a:pos x="224" y="140"/>
              </a:cxn>
              <a:cxn ang="0">
                <a:pos x="224" y="209"/>
              </a:cxn>
              <a:cxn ang="0">
                <a:pos x="225" y="209"/>
              </a:cxn>
              <a:cxn ang="0">
                <a:pos x="236" y="222"/>
              </a:cxn>
              <a:cxn ang="0">
                <a:pos x="236" y="244"/>
              </a:cxn>
              <a:cxn ang="0">
                <a:pos x="12" y="244"/>
              </a:cxn>
              <a:cxn ang="0">
                <a:pos x="12" y="222"/>
              </a:cxn>
              <a:cxn ang="0">
                <a:pos x="24" y="209"/>
              </a:cxn>
            </a:cxnLst>
            <a:rect l="0" t="0" r="r" b="b"/>
            <a:pathLst>
              <a:path w="248" h="244">
                <a:moveTo>
                  <a:pt x="24" y="209"/>
                </a:moveTo>
                <a:cubicBezTo>
                  <a:pt x="24" y="209"/>
                  <a:pt x="24" y="209"/>
                  <a:pt x="24" y="209"/>
                </a:cubicBezTo>
                <a:cubicBezTo>
                  <a:pt x="24" y="140"/>
                  <a:pt x="24" y="140"/>
                  <a:pt x="24" y="140"/>
                </a:cubicBezTo>
                <a:cubicBezTo>
                  <a:pt x="24" y="137"/>
                  <a:pt x="22" y="134"/>
                  <a:pt x="19" y="134"/>
                </a:cubicBezTo>
                <a:cubicBezTo>
                  <a:pt x="6" y="134"/>
                  <a:pt x="6" y="134"/>
                  <a:pt x="6" y="134"/>
                </a:cubicBezTo>
                <a:cubicBezTo>
                  <a:pt x="4" y="134"/>
                  <a:pt x="2" y="133"/>
                  <a:pt x="1" y="131"/>
                </a:cubicBezTo>
                <a:cubicBezTo>
                  <a:pt x="0" y="129"/>
                  <a:pt x="0" y="126"/>
                  <a:pt x="2" y="124"/>
                </a:cubicBezTo>
                <a:cubicBezTo>
                  <a:pt x="120" y="2"/>
                  <a:pt x="120" y="2"/>
                  <a:pt x="120" y="2"/>
                </a:cubicBezTo>
                <a:cubicBezTo>
                  <a:pt x="122" y="0"/>
                  <a:pt x="126" y="0"/>
                  <a:pt x="128" y="2"/>
                </a:cubicBezTo>
                <a:cubicBezTo>
                  <a:pt x="246" y="124"/>
                  <a:pt x="246" y="124"/>
                  <a:pt x="246" y="124"/>
                </a:cubicBezTo>
                <a:cubicBezTo>
                  <a:pt x="248" y="126"/>
                  <a:pt x="248" y="129"/>
                  <a:pt x="248" y="131"/>
                </a:cubicBezTo>
                <a:cubicBezTo>
                  <a:pt x="247" y="133"/>
                  <a:pt x="245" y="134"/>
                  <a:pt x="242" y="134"/>
                </a:cubicBezTo>
                <a:cubicBezTo>
                  <a:pt x="230" y="134"/>
                  <a:pt x="230" y="134"/>
                  <a:pt x="230" y="134"/>
                </a:cubicBezTo>
                <a:cubicBezTo>
                  <a:pt x="226" y="134"/>
                  <a:pt x="224" y="137"/>
                  <a:pt x="224" y="140"/>
                </a:cubicBezTo>
                <a:cubicBezTo>
                  <a:pt x="224" y="209"/>
                  <a:pt x="224" y="209"/>
                  <a:pt x="224" y="209"/>
                </a:cubicBezTo>
                <a:cubicBezTo>
                  <a:pt x="225" y="209"/>
                  <a:pt x="225" y="209"/>
                  <a:pt x="225" y="209"/>
                </a:cubicBezTo>
                <a:cubicBezTo>
                  <a:pt x="231" y="209"/>
                  <a:pt x="236" y="215"/>
                  <a:pt x="236" y="222"/>
                </a:cubicBezTo>
                <a:cubicBezTo>
                  <a:pt x="236" y="244"/>
                  <a:pt x="236" y="244"/>
                  <a:pt x="236" y="244"/>
                </a:cubicBezTo>
                <a:cubicBezTo>
                  <a:pt x="12" y="244"/>
                  <a:pt x="12" y="244"/>
                  <a:pt x="12" y="244"/>
                </a:cubicBezTo>
                <a:cubicBezTo>
                  <a:pt x="12" y="222"/>
                  <a:pt x="12" y="222"/>
                  <a:pt x="12" y="222"/>
                </a:cubicBezTo>
                <a:cubicBezTo>
                  <a:pt x="12" y="215"/>
                  <a:pt x="17" y="209"/>
                  <a:pt x="24" y="209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1694" name="Freeform 8"/>
          <p:cNvSpPr>
            <a:spLocks noEditPoints="1"/>
          </p:cNvSpPr>
          <p:nvPr/>
        </p:nvSpPr>
        <p:spPr bwMode="auto">
          <a:xfrm>
            <a:off x="400050" y="2065338"/>
            <a:ext cx="334963" cy="392112"/>
          </a:xfrm>
          <a:custGeom>
            <a:avLst/>
            <a:gdLst>
              <a:gd name="T0" fmla="*/ 0 w 139"/>
              <a:gd name="T1" fmla="*/ 0 h 163"/>
              <a:gd name="T2" fmla="*/ 59 w 139"/>
              <a:gd name="T3" fmla="*/ 0 h 163"/>
              <a:gd name="T4" fmla="*/ 59 w 139"/>
              <a:gd name="T5" fmla="*/ 163 h 163"/>
              <a:gd name="T6" fmla="*/ 0 w 139"/>
              <a:gd name="T7" fmla="*/ 163 h 163"/>
              <a:gd name="T8" fmla="*/ 0 w 139"/>
              <a:gd name="T9" fmla="*/ 0 h 163"/>
              <a:gd name="T10" fmla="*/ 0 w 139"/>
              <a:gd name="T11" fmla="*/ 0 h 163"/>
              <a:gd name="T12" fmla="*/ 78 w 139"/>
              <a:gd name="T13" fmla="*/ 0 h 163"/>
              <a:gd name="T14" fmla="*/ 139 w 139"/>
              <a:gd name="T15" fmla="*/ 0 h 163"/>
              <a:gd name="T16" fmla="*/ 139 w 139"/>
              <a:gd name="T17" fmla="*/ 163 h 163"/>
              <a:gd name="T18" fmla="*/ 78 w 139"/>
              <a:gd name="T19" fmla="*/ 163 h 163"/>
              <a:gd name="T20" fmla="*/ 78 w 139"/>
              <a:gd name="T21" fmla="*/ 0 h 16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39"/>
              <a:gd name="T34" fmla="*/ 0 h 163"/>
              <a:gd name="T35" fmla="*/ 139 w 139"/>
              <a:gd name="T36" fmla="*/ 163 h 16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39" h="163">
                <a:moveTo>
                  <a:pt x="0" y="0"/>
                </a:moveTo>
                <a:lnTo>
                  <a:pt x="59" y="0"/>
                </a:lnTo>
                <a:lnTo>
                  <a:pt x="59" y="163"/>
                </a:lnTo>
                <a:lnTo>
                  <a:pt x="0" y="163"/>
                </a:lnTo>
                <a:lnTo>
                  <a:pt x="0" y="0"/>
                </a:lnTo>
                <a:close/>
                <a:moveTo>
                  <a:pt x="78" y="0"/>
                </a:moveTo>
                <a:lnTo>
                  <a:pt x="139" y="0"/>
                </a:lnTo>
                <a:lnTo>
                  <a:pt x="139" y="163"/>
                </a:lnTo>
                <a:lnTo>
                  <a:pt x="78" y="163"/>
                </a:lnTo>
                <a:lnTo>
                  <a:pt x="78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1695" name="Freeform 9"/>
          <p:cNvSpPr>
            <a:spLocks/>
          </p:cNvSpPr>
          <p:nvPr/>
        </p:nvSpPr>
        <p:spPr bwMode="auto">
          <a:xfrm>
            <a:off x="508000" y="1663700"/>
            <a:ext cx="114300" cy="130175"/>
          </a:xfrm>
          <a:custGeom>
            <a:avLst/>
            <a:gdLst>
              <a:gd name="T0" fmla="*/ 8 w 20"/>
              <a:gd name="T1" fmla="*/ 0 h 23"/>
              <a:gd name="T2" fmla="*/ 12 w 20"/>
              <a:gd name="T3" fmla="*/ 0 h 23"/>
              <a:gd name="T4" fmla="*/ 20 w 20"/>
              <a:gd name="T5" fmla="*/ 8 h 23"/>
              <a:gd name="T6" fmla="*/ 20 w 20"/>
              <a:gd name="T7" fmla="*/ 15 h 23"/>
              <a:gd name="T8" fmla="*/ 12 w 20"/>
              <a:gd name="T9" fmla="*/ 23 h 23"/>
              <a:gd name="T10" fmla="*/ 8 w 20"/>
              <a:gd name="T11" fmla="*/ 23 h 23"/>
              <a:gd name="T12" fmla="*/ 0 w 20"/>
              <a:gd name="T13" fmla="*/ 15 h 23"/>
              <a:gd name="T14" fmla="*/ 0 w 20"/>
              <a:gd name="T15" fmla="*/ 8 h 23"/>
              <a:gd name="T16" fmla="*/ 8 w 20"/>
              <a:gd name="T17" fmla="*/ 0 h 2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"/>
              <a:gd name="T28" fmla="*/ 0 h 23"/>
              <a:gd name="T29" fmla="*/ 20 w 20"/>
              <a:gd name="T30" fmla="*/ 23 h 2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" h="23">
                <a:moveTo>
                  <a:pt x="8" y="0"/>
                </a:moveTo>
                <a:cubicBezTo>
                  <a:pt x="12" y="0"/>
                  <a:pt x="12" y="0"/>
                  <a:pt x="12" y="0"/>
                </a:cubicBezTo>
                <a:cubicBezTo>
                  <a:pt x="16" y="0"/>
                  <a:pt x="20" y="3"/>
                  <a:pt x="20" y="8"/>
                </a:cubicBezTo>
                <a:cubicBezTo>
                  <a:pt x="20" y="15"/>
                  <a:pt x="20" y="15"/>
                  <a:pt x="20" y="15"/>
                </a:cubicBezTo>
                <a:cubicBezTo>
                  <a:pt x="20" y="19"/>
                  <a:pt x="16" y="23"/>
                  <a:pt x="12" y="23"/>
                </a:cubicBezTo>
                <a:cubicBezTo>
                  <a:pt x="8" y="23"/>
                  <a:pt x="8" y="23"/>
                  <a:pt x="8" y="23"/>
                </a:cubicBezTo>
                <a:cubicBezTo>
                  <a:pt x="4" y="23"/>
                  <a:pt x="0" y="19"/>
                  <a:pt x="0" y="15"/>
                </a:cubicBezTo>
                <a:cubicBezTo>
                  <a:pt x="0" y="8"/>
                  <a:pt x="0" y="8"/>
                  <a:pt x="0" y="8"/>
                </a:cubicBezTo>
                <a:cubicBezTo>
                  <a:pt x="0" y="3"/>
                  <a:pt x="4" y="0"/>
                  <a:pt x="8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1696" name="AutoShape 10"/>
          <p:cNvSpPr>
            <a:spLocks noChangeAspect="1" noChangeArrowheads="1" noTextEdit="1"/>
          </p:cNvSpPr>
          <p:nvPr/>
        </p:nvSpPr>
        <p:spPr bwMode="auto">
          <a:xfrm>
            <a:off x="1258888" y="2928938"/>
            <a:ext cx="1674812" cy="145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284" name="Oval 12"/>
          <p:cNvSpPr>
            <a:spLocks noChangeArrowheads="1"/>
          </p:cNvSpPr>
          <p:nvPr/>
        </p:nvSpPr>
        <p:spPr bwMode="auto">
          <a:xfrm>
            <a:off x="2016125" y="2933700"/>
            <a:ext cx="220663" cy="225425"/>
          </a:xfrm>
          <a:prstGeom prst="ellipse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1698" name="Freeform 13"/>
          <p:cNvSpPr>
            <a:spLocks/>
          </p:cNvSpPr>
          <p:nvPr/>
        </p:nvSpPr>
        <p:spPr bwMode="auto">
          <a:xfrm>
            <a:off x="2327275" y="3522663"/>
            <a:ext cx="611188" cy="860425"/>
          </a:xfrm>
          <a:custGeom>
            <a:avLst/>
            <a:gdLst>
              <a:gd name="T0" fmla="*/ 137 w 141"/>
              <a:gd name="T1" fmla="*/ 74 h 199"/>
              <a:gd name="T2" fmla="*/ 103 w 141"/>
              <a:gd name="T3" fmla="*/ 61 h 199"/>
              <a:gd name="T4" fmla="*/ 89 w 141"/>
              <a:gd name="T5" fmla="*/ 25 h 199"/>
              <a:gd name="T6" fmla="*/ 69 w 141"/>
              <a:gd name="T7" fmla="*/ 16 h 199"/>
              <a:gd name="T8" fmla="*/ 36 w 141"/>
              <a:gd name="T9" fmla="*/ 26 h 199"/>
              <a:gd name="T10" fmla="*/ 36 w 141"/>
              <a:gd name="T11" fmla="*/ 26 h 199"/>
              <a:gd name="T12" fmla="*/ 36 w 141"/>
              <a:gd name="T13" fmla="*/ 26 h 199"/>
              <a:gd name="T14" fmla="*/ 37 w 141"/>
              <a:gd name="T15" fmla="*/ 7 h 199"/>
              <a:gd name="T16" fmla="*/ 30 w 141"/>
              <a:gd name="T17" fmla="*/ 0 h 199"/>
              <a:gd name="T18" fmla="*/ 22 w 141"/>
              <a:gd name="T19" fmla="*/ 3 h 199"/>
              <a:gd name="T20" fmla="*/ 17 w 141"/>
              <a:gd name="T21" fmla="*/ 28 h 199"/>
              <a:gd name="T22" fmla="*/ 19 w 141"/>
              <a:gd name="T23" fmla="*/ 28 h 199"/>
              <a:gd name="T24" fmla="*/ 20 w 141"/>
              <a:gd name="T25" fmla="*/ 33 h 199"/>
              <a:gd name="T26" fmla="*/ 23 w 141"/>
              <a:gd name="T27" fmla="*/ 46 h 199"/>
              <a:gd name="T28" fmla="*/ 36 w 141"/>
              <a:gd name="T29" fmla="*/ 46 h 199"/>
              <a:gd name="T30" fmla="*/ 46 w 141"/>
              <a:gd name="T31" fmla="*/ 44 h 199"/>
              <a:gd name="T32" fmla="*/ 36 w 141"/>
              <a:gd name="T33" fmla="*/ 80 h 199"/>
              <a:gd name="T34" fmla="*/ 36 w 141"/>
              <a:gd name="T35" fmla="*/ 89 h 199"/>
              <a:gd name="T36" fmla="*/ 40 w 141"/>
              <a:gd name="T37" fmla="*/ 97 h 199"/>
              <a:gd name="T38" fmla="*/ 3 w 141"/>
              <a:gd name="T39" fmla="*/ 182 h 199"/>
              <a:gd name="T40" fmla="*/ 8 w 141"/>
              <a:gd name="T41" fmla="*/ 196 h 199"/>
              <a:gd name="T42" fmla="*/ 23 w 141"/>
              <a:gd name="T43" fmla="*/ 191 h 199"/>
              <a:gd name="T44" fmla="*/ 56 w 141"/>
              <a:gd name="T45" fmla="*/ 120 h 199"/>
              <a:gd name="T46" fmla="*/ 73 w 141"/>
              <a:gd name="T47" fmla="*/ 140 h 199"/>
              <a:gd name="T48" fmla="*/ 78 w 141"/>
              <a:gd name="T49" fmla="*/ 187 h 199"/>
              <a:gd name="T50" fmla="*/ 89 w 141"/>
              <a:gd name="T51" fmla="*/ 198 h 199"/>
              <a:gd name="T52" fmla="*/ 100 w 141"/>
              <a:gd name="T53" fmla="*/ 189 h 199"/>
              <a:gd name="T54" fmla="*/ 96 w 141"/>
              <a:gd name="T55" fmla="*/ 133 h 199"/>
              <a:gd name="T56" fmla="*/ 72 w 141"/>
              <a:gd name="T57" fmla="*/ 100 h 199"/>
              <a:gd name="T58" fmla="*/ 85 w 141"/>
              <a:gd name="T59" fmla="*/ 68 h 199"/>
              <a:gd name="T60" fmla="*/ 91 w 141"/>
              <a:gd name="T61" fmla="*/ 75 h 199"/>
              <a:gd name="T62" fmla="*/ 129 w 141"/>
              <a:gd name="T63" fmla="*/ 89 h 199"/>
              <a:gd name="T64" fmla="*/ 140 w 141"/>
              <a:gd name="T65" fmla="*/ 84 h 199"/>
              <a:gd name="T66" fmla="*/ 137 w 141"/>
              <a:gd name="T67" fmla="*/ 74 h 199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41"/>
              <a:gd name="T103" fmla="*/ 0 h 199"/>
              <a:gd name="T104" fmla="*/ 141 w 141"/>
              <a:gd name="T105" fmla="*/ 199 h 199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41" h="199">
                <a:moveTo>
                  <a:pt x="137" y="74"/>
                </a:moveTo>
                <a:cubicBezTo>
                  <a:pt x="137" y="74"/>
                  <a:pt x="104" y="62"/>
                  <a:pt x="103" y="61"/>
                </a:cubicBezTo>
                <a:cubicBezTo>
                  <a:pt x="102" y="60"/>
                  <a:pt x="91" y="28"/>
                  <a:pt x="89" y="25"/>
                </a:cubicBezTo>
                <a:cubicBezTo>
                  <a:pt x="86" y="23"/>
                  <a:pt x="74" y="15"/>
                  <a:pt x="69" y="16"/>
                </a:cubicBezTo>
                <a:cubicBezTo>
                  <a:pt x="66" y="16"/>
                  <a:pt x="49" y="21"/>
                  <a:pt x="36" y="26"/>
                </a:cubicBezTo>
                <a:cubicBezTo>
                  <a:pt x="36" y="26"/>
                  <a:pt x="36" y="26"/>
                  <a:pt x="36" y="26"/>
                </a:cubicBezTo>
                <a:cubicBezTo>
                  <a:pt x="36" y="26"/>
                  <a:pt x="36" y="26"/>
                  <a:pt x="36" y="26"/>
                </a:cubicBezTo>
                <a:cubicBezTo>
                  <a:pt x="37" y="7"/>
                  <a:pt x="37" y="7"/>
                  <a:pt x="37" y="7"/>
                </a:cubicBezTo>
                <a:cubicBezTo>
                  <a:pt x="37" y="7"/>
                  <a:pt x="36" y="1"/>
                  <a:pt x="30" y="0"/>
                </a:cubicBezTo>
                <a:cubicBezTo>
                  <a:pt x="26" y="0"/>
                  <a:pt x="23" y="1"/>
                  <a:pt x="22" y="3"/>
                </a:cubicBezTo>
                <a:cubicBezTo>
                  <a:pt x="17" y="28"/>
                  <a:pt x="17" y="28"/>
                  <a:pt x="17" y="28"/>
                </a:cubicBezTo>
                <a:cubicBezTo>
                  <a:pt x="18" y="28"/>
                  <a:pt x="19" y="28"/>
                  <a:pt x="19" y="28"/>
                </a:cubicBezTo>
                <a:cubicBezTo>
                  <a:pt x="19" y="30"/>
                  <a:pt x="20" y="32"/>
                  <a:pt x="20" y="33"/>
                </a:cubicBezTo>
                <a:cubicBezTo>
                  <a:pt x="20" y="35"/>
                  <a:pt x="22" y="46"/>
                  <a:pt x="23" y="46"/>
                </a:cubicBezTo>
                <a:cubicBezTo>
                  <a:pt x="24" y="50"/>
                  <a:pt x="32" y="48"/>
                  <a:pt x="36" y="46"/>
                </a:cubicBezTo>
                <a:cubicBezTo>
                  <a:pt x="46" y="44"/>
                  <a:pt x="46" y="44"/>
                  <a:pt x="46" y="44"/>
                </a:cubicBezTo>
                <a:cubicBezTo>
                  <a:pt x="46" y="44"/>
                  <a:pt x="36" y="77"/>
                  <a:pt x="36" y="80"/>
                </a:cubicBezTo>
                <a:cubicBezTo>
                  <a:pt x="36" y="83"/>
                  <a:pt x="36" y="87"/>
                  <a:pt x="36" y="89"/>
                </a:cubicBezTo>
                <a:cubicBezTo>
                  <a:pt x="37" y="92"/>
                  <a:pt x="40" y="97"/>
                  <a:pt x="40" y="97"/>
                </a:cubicBezTo>
                <a:cubicBezTo>
                  <a:pt x="3" y="182"/>
                  <a:pt x="3" y="182"/>
                  <a:pt x="3" y="182"/>
                </a:cubicBezTo>
                <a:cubicBezTo>
                  <a:pt x="3" y="182"/>
                  <a:pt x="0" y="192"/>
                  <a:pt x="8" y="196"/>
                </a:cubicBezTo>
                <a:cubicBezTo>
                  <a:pt x="17" y="199"/>
                  <a:pt x="23" y="191"/>
                  <a:pt x="23" y="191"/>
                </a:cubicBezTo>
                <a:cubicBezTo>
                  <a:pt x="56" y="120"/>
                  <a:pt x="56" y="120"/>
                  <a:pt x="56" y="120"/>
                </a:cubicBezTo>
                <a:cubicBezTo>
                  <a:pt x="56" y="120"/>
                  <a:pt x="73" y="137"/>
                  <a:pt x="73" y="140"/>
                </a:cubicBezTo>
                <a:cubicBezTo>
                  <a:pt x="74" y="143"/>
                  <a:pt x="78" y="187"/>
                  <a:pt x="78" y="187"/>
                </a:cubicBezTo>
                <a:cubicBezTo>
                  <a:pt x="78" y="187"/>
                  <a:pt x="79" y="198"/>
                  <a:pt x="89" y="198"/>
                </a:cubicBezTo>
                <a:cubicBezTo>
                  <a:pt x="99" y="198"/>
                  <a:pt x="100" y="189"/>
                  <a:pt x="100" y="189"/>
                </a:cubicBezTo>
                <a:cubicBezTo>
                  <a:pt x="100" y="189"/>
                  <a:pt x="97" y="137"/>
                  <a:pt x="96" y="133"/>
                </a:cubicBezTo>
                <a:cubicBezTo>
                  <a:pt x="95" y="129"/>
                  <a:pt x="72" y="100"/>
                  <a:pt x="72" y="100"/>
                </a:cubicBezTo>
                <a:cubicBezTo>
                  <a:pt x="85" y="68"/>
                  <a:pt x="85" y="68"/>
                  <a:pt x="85" y="68"/>
                </a:cubicBezTo>
                <a:cubicBezTo>
                  <a:pt x="85" y="68"/>
                  <a:pt x="88" y="73"/>
                  <a:pt x="91" y="75"/>
                </a:cubicBezTo>
                <a:cubicBezTo>
                  <a:pt x="94" y="77"/>
                  <a:pt x="129" y="89"/>
                  <a:pt x="129" y="89"/>
                </a:cubicBezTo>
                <a:cubicBezTo>
                  <a:pt x="129" y="89"/>
                  <a:pt x="138" y="90"/>
                  <a:pt x="140" y="84"/>
                </a:cubicBezTo>
                <a:cubicBezTo>
                  <a:pt x="141" y="79"/>
                  <a:pt x="137" y="74"/>
                  <a:pt x="137" y="74"/>
                </a:cubicBezTo>
                <a:close/>
              </a:path>
            </a:pathLst>
          </a:custGeom>
          <a:solidFill>
            <a:srgbClr val="999999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4286" name="Freeform 14"/>
          <p:cNvSpPr>
            <a:spLocks noEditPoints="1"/>
          </p:cNvSpPr>
          <p:nvPr/>
        </p:nvSpPr>
        <p:spPr bwMode="auto">
          <a:xfrm>
            <a:off x="1250950" y="3141663"/>
            <a:ext cx="1171575" cy="1250950"/>
          </a:xfrm>
          <a:custGeom>
            <a:avLst/>
            <a:gdLst/>
            <a:ahLst/>
            <a:cxnLst>
              <a:cxn ang="0">
                <a:pos x="271" y="91"/>
              </a:cxn>
              <a:cxn ang="0">
                <a:pos x="219" y="71"/>
              </a:cxn>
              <a:cxn ang="0">
                <a:pos x="197" y="16"/>
              </a:cxn>
              <a:cxn ang="0">
                <a:pos x="166" y="0"/>
              </a:cxn>
              <a:cxn ang="0">
                <a:pos x="90" y="27"/>
              </a:cxn>
              <a:cxn ang="0">
                <a:pos x="49" y="90"/>
              </a:cxn>
              <a:cxn ang="0">
                <a:pos x="48" y="92"/>
              </a:cxn>
              <a:cxn ang="0">
                <a:pos x="45" y="91"/>
              </a:cxn>
              <a:cxn ang="0">
                <a:pos x="24" y="102"/>
              </a:cxn>
              <a:cxn ang="0">
                <a:pos x="3" y="148"/>
              </a:cxn>
              <a:cxn ang="0">
                <a:pos x="13" y="168"/>
              </a:cxn>
              <a:cxn ang="0">
                <a:pos x="53" y="182"/>
              </a:cxn>
              <a:cxn ang="0">
                <a:pos x="71" y="173"/>
              </a:cxn>
              <a:cxn ang="0">
                <a:pos x="81" y="119"/>
              </a:cxn>
              <a:cxn ang="0">
                <a:pos x="72" y="99"/>
              </a:cxn>
              <a:cxn ang="0">
                <a:pos x="72" y="99"/>
              </a:cxn>
              <a:cxn ang="0">
                <a:pos x="110" y="48"/>
              </a:cxn>
              <a:cxn ang="0">
                <a:pos x="130" y="45"/>
              </a:cxn>
              <a:cxn ang="0">
                <a:pos x="113" y="101"/>
              </a:cxn>
              <a:cxn ang="0">
                <a:pos x="114" y="116"/>
              </a:cxn>
              <a:cxn ang="0">
                <a:pos x="121" y="128"/>
              </a:cxn>
              <a:cxn ang="0">
                <a:pos x="61" y="262"/>
              </a:cxn>
              <a:cxn ang="0">
                <a:pos x="70" y="284"/>
              </a:cxn>
              <a:cxn ang="0">
                <a:pos x="93" y="277"/>
              </a:cxn>
              <a:cxn ang="0">
                <a:pos x="145" y="164"/>
              </a:cxn>
              <a:cxn ang="0">
                <a:pos x="173" y="196"/>
              </a:cxn>
              <a:cxn ang="0">
                <a:pos x="180" y="271"/>
              </a:cxn>
              <a:cxn ang="0">
                <a:pos x="197" y="288"/>
              </a:cxn>
              <a:cxn ang="0">
                <a:pos x="215" y="273"/>
              </a:cxn>
              <a:cxn ang="0">
                <a:pos x="208" y="185"/>
              </a:cxn>
              <a:cxn ang="0">
                <a:pos x="171" y="133"/>
              </a:cxn>
              <a:cxn ang="0">
                <a:pos x="191" y="83"/>
              </a:cxn>
              <a:cxn ang="0">
                <a:pos x="200" y="93"/>
              </a:cxn>
              <a:cxn ang="0">
                <a:pos x="260" y="116"/>
              </a:cxn>
              <a:cxn ang="0">
                <a:pos x="266" y="116"/>
              </a:cxn>
              <a:cxn ang="0">
                <a:pos x="271" y="91"/>
              </a:cxn>
              <a:cxn ang="0">
                <a:pos x="271" y="91"/>
              </a:cxn>
              <a:cxn ang="0">
                <a:pos x="54" y="107"/>
              </a:cxn>
              <a:cxn ang="0">
                <a:pos x="41" y="99"/>
              </a:cxn>
              <a:cxn ang="0">
                <a:pos x="49" y="97"/>
              </a:cxn>
              <a:cxn ang="0">
                <a:pos x="54" y="105"/>
              </a:cxn>
              <a:cxn ang="0">
                <a:pos x="67" y="103"/>
              </a:cxn>
              <a:cxn ang="0">
                <a:pos x="69" y="107"/>
              </a:cxn>
              <a:cxn ang="0">
                <a:pos x="54" y="107"/>
              </a:cxn>
            </a:cxnLst>
            <a:rect l="0" t="0" r="r" b="b"/>
            <a:pathLst>
              <a:path w="271" h="289">
                <a:moveTo>
                  <a:pt x="271" y="91"/>
                </a:moveTo>
                <a:cubicBezTo>
                  <a:pt x="262" y="88"/>
                  <a:pt x="221" y="72"/>
                  <a:pt x="219" y="71"/>
                </a:cubicBezTo>
                <a:cubicBezTo>
                  <a:pt x="217" y="69"/>
                  <a:pt x="200" y="19"/>
                  <a:pt x="197" y="16"/>
                </a:cubicBezTo>
                <a:cubicBezTo>
                  <a:pt x="193" y="12"/>
                  <a:pt x="173" y="0"/>
                  <a:pt x="166" y="0"/>
                </a:cubicBezTo>
                <a:cubicBezTo>
                  <a:pt x="159" y="1"/>
                  <a:pt x="95" y="22"/>
                  <a:pt x="90" y="27"/>
                </a:cubicBezTo>
                <a:cubicBezTo>
                  <a:pt x="85" y="33"/>
                  <a:pt x="49" y="90"/>
                  <a:pt x="49" y="90"/>
                </a:cubicBezTo>
                <a:cubicBezTo>
                  <a:pt x="49" y="90"/>
                  <a:pt x="48" y="91"/>
                  <a:pt x="48" y="92"/>
                </a:cubicBezTo>
                <a:cubicBezTo>
                  <a:pt x="45" y="91"/>
                  <a:pt x="45" y="91"/>
                  <a:pt x="45" y="91"/>
                </a:cubicBezTo>
                <a:cubicBezTo>
                  <a:pt x="36" y="88"/>
                  <a:pt x="27" y="93"/>
                  <a:pt x="24" y="102"/>
                </a:cubicBezTo>
                <a:cubicBezTo>
                  <a:pt x="3" y="148"/>
                  <a:pt x="3" y="148"/>
                  <a:pt x="3" y="148"/>
                </a:cubicBezTo>
                <a:cubicBezTo>
                  <a:pt x="0" y="157"/>
                  <a:pt x="4" y="165"/>
                  <a:pt x="13" y="168"/>
                </a:cubicBezTo>
                <a:cubicBezTo>
                  <a:pt x="53" y="182"/>
                  <a:pt x="53" y="182"/>
                  <a:pt x="53" y="182"/>
                </a:cubicBezTo>
                <a:cubicBezTo>
                  <a:pt x="61" y="185"/>
                  <a:pt x="69" y="182"/>
                  <a:pt x="71" y="173"/>
                </a:cubicBezTo>
                <a:cubicBezTo>
                  <a:pt x="81" y="119"/>
                  <a:pt x="81" y="119"/>
                  <a:pt x="81" y="119"/>
                </a:cubicBezTo>
                <a:cubicBezTo>
                  <a:pt x="83" y="111"/>
                  <a:pt x="79" y="103"/>
                  <a:pt x="72" y="99"/>
                </a:cubicBezTo>
                <a:cubicBezTo>
                  <a:pt x="72" y="99"/>
                  <a:pt x="72" y="99"/>
                  <a:pt x="72" y="99"/>
                </a:cubicBezTo>
                <a:cubicBezTo>
                  <a:pt x="110" y="48"/>
                  <a:pt x="110" y="48"/>
                  <a:pt x="110" y="48"/>
                </a:cubicBezTo>
                <a:cubicBezTo>
                  <a:pt x="130" y="45"/>
                  <a:pt x="130" y="45"/>
                  <a:pt x="130" y="45"/>
                </a:cubicBezTo>
                <a:cubicBezTo>
                  <a:pt x="130" y="45"/>
                  <a:pt x="113" y="96"/>
                  <a:pt x="113" y="101"/>
                </a:cubicBezTo>
                <a:cubicBezTo>
                  <a:pt x="113" y="106"/>
                  <a:pt x="114" y="113"/>
                  <a:pt x="114" y="116"/>
                </a:cubicBezTo>
                <a:cubicBezTo>
                  <a:pt x="115" y="120"/>
                  <a:pt x="121" y="128"/>
                  <a:pt x="121" y="128"/>
                </a:cubicBezTo>
                <a:cubicBezTo>
                  <a:pt x="61" y="262"/>
                  <a:pt x="61" y="262"/>
                  <a:pt x="61" y="262"/>
                </a:cubicBezTo>
                <a:cubicBezTo>
                  <a:pt x="61" y="262"/>
                  <a:pt x="57" y="278"/>
                  <a:pt x="70" y="284"/>
                </a:cubicBezTo>
                <a:cubicBezTo>
                  <a:pt x="83" y="289"/>
                  <a:pt x="93" y="277"/>
                  <a:pt x="93" y="277"/>
                </a:cubicBezTo>
                <a:cubicBezTo>
                  <a:pt x="145" y="164"/>
                  <a:pt x="145" y="164"/>
                  <a:pt x="145" y="164"/>
                </a:cubicBezTo>
                <a:cubicBezTo>
                  <a:pt x="145" y="164"/>
                  <a:pt x="172" y="192"/>
                  <a:pt x="173" y="196"/>
                </a:cubicBezTo>
                <a:cubicBezTo>
                  <a:pt x="173" y="200"/>
                  <a:pt x="180" y="271"/>
                  <a:pt x="180" y="271"/>
                </a:cubicBezTo>
                <a:cubicBezTo>
                  <a:pt x="180" y="271"/>
                  <a:pt x="181" y="288"/>
                  <a:pt x="197" y="288"/>
                </a:cubicBezTo>
                <a:cubicBezTo>
                  <a:pt x="213" y="288"/>
                  <a:pt x="215" y="273"/>
                  <a:pt x="215" y="273"/>
                </a:cubicBezTo>
                <a:cubicBezTo>
                  <a:pt x="215" y="273"/>
                  <a:pt x="210" y="192"/>
                  <a:pt x="208" y="185"/>
                </a:cubicBezTo>
                <a:cubicBezTo>
                  <a:pt x="207" y="178"/>
                  <a:pt x="171" y="133"/>
                  <a:pt x="171" y="133"/>
                </a:cubicBezTo>
                <a:cubicBezTo>
                  <a:pt x="191" y="83"/>
                  <a:pt x="191" y="83"/>
                  <a:pt x="191" y="83"/>
                </a:cubicBezTo>
                <a:cubicBezTo>
                  <a:pt x="191" y="83"/>
                  <a:pt x="196" y="90"/>
                  <a:pt x="200" y="93"/>
                </a:cubicBezTo>
                <a:cubicBezTo>
                  <a:pt x="204" y="96"/>
                  <a:pt x="260" y="116"/>
                  <a:pt x="260" y="116"/>
                </a:cubicBezTo>
                <a:cubicBezTo>
                  <a:pt x="260" y="116"/>
                  <a:pt x="263" y="116"/>
                  <a:pt x="266" y="116"/>
                </a:cubicBezTo>
                <a:cubicBezTo>
                  <a:pt x="271" y="91"/>
                  <a:pt x="271" y="91"/>
                  <a:pt x="271" y="91"/>
                </a:cubicBezTo>
                <a:cubicBezTo>
                  <a:pt x="271" y="91"/>
                  <a:pt x="271" y="91"/>
                  <a:pt x="271" y="91"/>
                </a:cubicBezTo>
                <a:close/>
                <a:moveTo>
                  <a:pt x="54" y="107"/>
                </a:moveTo>
                <a:cubicBezTo>
                  <a:pt x="46" y="105"/>
                  <a:pt x="40" y="101"/>
                  <a:pt x="41" y="99"/>
                </a:cubicBezTo>
                <a:cubicBezTo>
                  <a:pt x="41" y="97"/>
                  <a:pt x="44" y="97"/>
                  <a:pt x="49" y="97"/>
                </a:cubicBezTo>
                <a:cubicBezTo>
                  <a:pt x="49" y="100"/>
                  <a:pt x="51" y="103"/>
                  <a:pt x="54" y="105"/>
                </a:cubicBezTo>
                <a:cubicBezTo>
                  <a:pt x="59" y="107"/>
                  <a:pt x="63" y="105"/>
                  <a:pt x="67" y="103"/>
                </a:cubicBezTo>
                <a:cubicBezTo>
                  <a:pt x="69" y="104"/>
                  <a:pt x="70" y="106"/>
                  <a:pt x="69" y="107"/>
                </a:cubicBezTo>
                <a:cubicBezTo>
                  <a:pt x="69" y="109"/>
                  <a:pt x="62" y="109"/>
                  <a:pt x="54" y="107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1700" name="Oval 15"/>
          <p:cNvSpPr>
            <a:spLocks noChangeArrowheads="1"/>
          </p:cNvSpPr>
          <p:nvPr/>
        </p:nvSpPr>
        <p:spPr bwMode="auto">
          <a:xfrm>
            <a:off x="2657475" y="3457575"/>
            <a:ext cx="142875" cy="142875"/>
          </a:xfrm>
          <a:prstGeom prst="ellipse">
            <a:avLst/>
          </a:prstGeom>
          <a:solidFill>
            <a:srgbClr val="999999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71701" name="Group 124"/>
          <p:cNvGrpSpPr>
            <a:grpSpLocks/>
          </p:cNvGrpSpPr>
          <p:nvPr/>
        </p:nvGrpSpPr>
        <p:grpSpPr bwMode="auto">
          <a:xfrm>
            <a:off x="-450850" y="4460875"/>
            <a:ext cx="2041526" cy="1579563"/>
            <a:chOff x="-2816225" y="5973763"/>
            <a:chExt cx="2284412" cy="1766887"/>
          </a:xfrm>
        </p:grpSpPr>
        <p:sp>
          <p:nvSpPr>
            <p:cNvPr id="71703" name="AutoShape 22"/>
            <p:cNvSpPr>
              <a:spLocks noChangeAspect="1" noChangeArrowheads="1" noTextEdit="1"/>
            </p:cNvSpPr>
            <p:nvPr/>
          </p:nvSpPr>
          <p:spPr bwMode="auto">
            <a:xfrm>
              <a:off x="-2816225" y="5973763"/>
              <a:ext cx="2284412" cy="1766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4296" name="Freeform 24"/>
            <p:cNvSpPr>
              <a:spLocks/>
            </p:cNvSpPr>
            <p:nvPr/>
          </p:nvSpPr>
          <p:spPr bwMode="auto">
            <a:xfrm>
              <a:off x="-1270783" y="6172649"/>
              <a:ext cx="738970" cy="813300"/>
            </a:xfrm>
            <a:custGeom>
              <a:avLst/>
              <a:gdLst/>
              <a:ahLst/>
              <a:cxnLst>
                <a:cxn ang="0">
                  <a:pos x="197" y="140"/>
                </a:cxn>
                <a:cxn ang="0">
                  <a:pos x="194" y="121"/>
                </a:cxn>
                <a:cxn ang="0">
                  <a:pos x="194" y="120"/>
                </a:cxn>
                <a:cxn ang="0">
                  <a:pos x="194" y="119"/>
                </a:cxn>
                <a:cxn ang="0">
                  <a:pos x="194" y="118"/>
                </a:cxn>
                <a:cxn ang="0">
                  <a:pos x="190" y="109"/>
                </a:cxn>
                <a:cxn ang="0">
                  <a:pos x="127" y="0"/>
                </a:cxn>
                <a:cxn ang="0">
                  <a:pos x="0" y="0"/>
                </a:cxn>
                <a:cxn ang="0">
                  <a:pos x="56" y="181"/>
                </a:cxn>
                <a:cxn ang="0">
                  <a:pos x="121" y="217"/>
                </a:cxn>
                <a:cxn ang="0">
                  <a:pos x="121" y="217"/>
                </a:cxn>
                <a:cxn ang="0">
                  <a:pos x="121" y="217"/>
                </a:cxn>
                <a:cxn ang="0">
                  <a:pos x="197" y="146"/>
                </a:cxn>
                <a:cxn ang="0">
                  <a:pos x="197" y="142"/>
                </a:cxn>
                <a:cxn ang="0">
                  <a:pos x="197" y="140"/>
                </a:cxn>
              </a:cxnLst>
              <a:rect l="0" t="0" r="r" b="b"/>
              <a:pathLst>
                <a:path w="197" h="217">
                  <a:moveTo>
                    <a:pt x="197" y="140"/>
                  </a:moveTo>
                  <a:cubicBezTo>
                    <a:pt x="197" y="134"/>
                    <a:pt x="196" y="127"/>
                    <a:pt x="194" y="121"/>
                  </a:cubicBezTo>
                  <a:cubicBezTo>
                    <a:pt x="194" y="120"/>
                    <a:pt x="194" y="120"/>
                    <a:pt x="194" y="120"/>
                  </a:cubicBezTo>
                  <a:cubicBezTo>
                    <a:pt x="194" y="119"/>
                    <a:pt x="194" y="119"/>
                    <a:pt x="194" y="119"/>
                  </a:cubicBezTo>
                  <a:cubicBezTo>
                    <a:pt x="194" y="119"/>
                    <a:pt x="194" y="119"/>
                    <a:pt x="194" y="118"/>
                  </a:cubicBezTo>
                  <a:cubicBezTo>
                    <a:pt x="190" y="109"/>
                    <a:pt x="190" y="109"/>
                    <a:pt x="190" y="109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6" y="181"/>
                    <a:pt x="56" y="181"/>
                    <a:pt x="56" y="181"/>
                  </a:cubicBezTo>
                  <a:cubicBezTo>
                    <a:pt x="70" y="202"/>
                    <a:pt x="94" y="217"/>
                    <a:pt x="121" y="217"/>
                  </a:cubicBezTo>
                  <a:cubicBezTo>
                    <a:pt x="121" y="217"/>
                    <a:pt x="121" y="217"/>
                    <a:pt x="121" y="217"/>
                  </a:cubicBezTo>
                  <a:cubicBezTo>
                    <a:pt x="121" y="217"/>
                    <a:pt x="121" y="217"/>
                    <a:pt x="121" y="217"/>
                  </a:cubicBezTo>
                  <a:cubicBezTo>
                    <a:pt x="162" y="217"/>
                    <a:pt x="195" y="186"/>
                    <a:pt x="197" y="146"/>
                  </a:cubicBezTo>
                  <a:cubicBezTo>
                    <a:pt x="197" y="145"/>
                    <a:pt x="197" y="143"/>
                    <a:pt x="197" y="142"/>
                  </a:cubicBezTo>
                  <a:cubicBezTo>
                    <a:pt x="197" y="141"/>
                    <a:pt x="197" y="141"/>
                    <a:pt x="197" y="140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4297" name="Freeform 25"/>
            <p:cNvSpPr>
              <a:spLocks/>
            </p:cNvSpPr>
            <p:nvPr/>
          </p:nvSpPr>
          <p:spPr bwMode="auto">
            <a:xfrm>
              <a:off x="-2196272" y="6172649"/>
              <a:ext cx="520477" cy="813300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0" y="183"/>
                </a:cxn>
                <a:cxn ang="0">
                  <a:pos x="63" y="217"/>
                </a:cxn>
                <a:cxn ang="0">
                  <a:pos x="63" y="217"/>
                </a:cxn>
                <a:cxn ang="0">
                  <a:pos x="63" y="217"/>
                </a:cxn>
                <a:cxn ang="0">
                  <a:pos x="127" y="181"/>
                </a:cxn>
                <a:cxn ang="0">
                  <a:pos x="139" y="0"/>
                </a:cxn>
                <a:cxn ang="0">
                  <a:pos x="34" y="0"/>
                </a:cxn>
              </a:cxnLst>
              <a:rect l="0" t="0" r="r" b="b"/>
              <a:pathLst>
                <a:path w="139" h="217">
                  <a:moveTo>
                    <a:pt x="34" y="0"/>
                  </a:moveTo>
                  <a:cubicBezTo>
                    <a:pt x="0" y="183"/>
                    <a:pt x="0" y="183"/>
                    <a:pt x="0" y="183"/>
                  </a:cubicBezTo>
                  <a:cubicBezTo>
                    <a:pt x="14" y="203"/>
                    <a:pt x="37" y="217"/>
                    <a:pt x="63" y="217"/>
                  </a:cubicBezTo>
                  <a:cubicBezTo>
                    <a:pt x="63" y="217"/>
                    <a:pt x="63" y="217"/>
                    <a:pt x="63" y="217"/>
                  </a:cubicBezTo>
                  <a:cubicBezTo>
                    <a:pt x="63" y="217"/>
                    <a:pt x="63" y="217"/>
                    <a:pt x="63" y="217"/>
                  </a:cubicBezTo>
                  <a:cubicBezTo>
                    <a:pt x="90" y="217"/>
                    <a:pt x="114" y="202"/>
                    <a:pt x="127" y="181"/>
                  </a:cubicBezTo>
                  <a:cubicBezTo>
                    <a:pt x="139" y="0"/>
                    <a:pt x="139" y="0"/>
                    <a:pt x="139" y="0"/>
                  </a:cubicBezTo>
                  <a:lnTo>
                    <a:pt x="34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4298" name="Freeform 26"/>
            <p:cNvSpPr>
              <a:spLocks/>
            </p:cNvSpPr>
            <p:nvPr/>
          </p:nvSpPr>
          <p:spPr bwMode="auto">
            <a:xfrm>
              <a:off x="-2816225" y="6172649"/>
              <a:ext cx="738971" cy="813300"/>
            </a:xfrm>
            <a:custGeom>
              <a:avLst/>
              <a:gdLst/>
              <a:ahLst/>
              <a:cxnLst>
                <a:cxn ang="0">
                  <a:pos x="76" y="217"/>
                </a:cxn>
                <a:cxn ang="0">
                  <a:pos x="76" y="217"/>
                </a:cxn>
                <a:cxn ang="0">
                  <a:pos x="140" y="181"/>
                </a:cxn>
                <a:cxn ang="0">
                  <a:pos x="197" y="0"/>
                </a:cxn>
                <a:cxn ang="0">
                  <a:pos x="70" y="0"/>
                </a:cxn>
                <a:cxn ang="0">
                  <a:pos x="6" y="109"/>
                </a:cxn>
                <a:cxn ang="0">
                  <a:pos x="3" y="118"/>
                </a:cxn>
                <a:cxn ang="0">
                  <a:pos x="3" y="119"/>
                </a:cxn>
                <a:cxn ang="0">
                  <a:pos x="2" y="120"/>
                </a:cxn>
                <a:cxn ang="0">
                  <a:pos x="2" y="121"/>
                </a:cxn>
                <a:cxn ang="0">
                  <a:pos x="0" y="140"/>
                </a:cxn>
                <a:cxn ang="0">
                  <a:pos x="0" y="142"/>
                </a:cxn>
                <a:cxn ang="0">
                  <a:pos x="0" y="146"/>
                </a:cxn>
                <a:cxn ang="0">
                  <a:pos x="76" y="217"/>
                </a:cxn>
                <a:cxn ang="0">
                  <a:pos x="76" y="217"/>
                </a:cxn>
              </a:cxnLst>
              <a:rect l="0" t="0" r="r" b="b"/>
              <a:pathLst>
                <a:path w="197" h="217">
                  <a:moveTo>
                    <a:pt x="76" y="217"/>
                  </a:moveTo>
                  <a:cubicBezTo>
                    <a:pt x="76" y="217"/>
                    <a:pt x="76" y="217"/>
                    <a:pt x="76" y="217"/>
                  </a:cubicBezTo>
                  <a:cubicBezTo>
                    <a:pt x="103" y="217"/>
                    <a:pt x="127" y="202"/>
                    <a:pt x="140" y="181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3" y="118"/>
                    <a:pt x="3" y="118"/>
                    <a:pt x="3" y="118"/>
                  </a:cubicBezTo>
                  <a:cubicBezTo>
                    <a:pt x="3" y="119"/>
                    <a:pt x="3" y="119"/>
                    <a:pt x="3" y="119"/>
                  </a:cubicBezTo>
                  <a:cubicBezTo>
                    <a:pt x="2" y="120"/>
                    <a:pt x="2" y="120"/>
                    <a:pt x="2" y="120"/>
                  </a:cubicBezTo>
                  <a:cubicBezTo>
                    <a:pt x="2" y="120"/>
                    <a:pt x="2" y="120"/>
                    <a:pt x="2" y="121"/>
                  </a:cubicBezTo>
                  <a:cubicBezTo>
                    <a:pt x="1" y="127"/>
                    <a:pt x="0" y="134"/>
                    <a:pt x="0" y="140"/>
                  </a:cubicBezTo>
                  <a:cubicBezTo>
                    <a:pt x="0" y="141"/>
                    <a:pt x="0" y="141"/>
                    <a:pt x="0" y="142"/>
                  </a:cubicBezTo>
                  <a:cubicBezTo>
                    <a:pt x="0" y="143"/>
                    <a:pt x="0" y="145"/>
                    <a:pt x="0" y="146"/>
                  </a:cubicBezTo>
                  <a:cubicBezTo>
                    <a:pt x="2" y="186"/>
                    <a:pt x="35" y="217"/>
                    <a:pt x="76" y="217"/>
                  </a:cubicBezTo>
                  <a:cubicBezTo>
                    <a:pt x="76" y="217"/>
                    <a:pt x="76" y="217"/>
                    <a:pt x="76" y="217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4299" name="Freeform 27"/>
            <p:cNvSpPr>
              <a:spLocks/>
            </p:cNvSpPr>
            <p:nvPr/>
          </p:nvSpPr>
          <p:spPr bwMode="auto">
            <a:xfrm>
              <a:off x="-1668689" y="6172649"/>
              <a:ext cx="516923" cy="813300"/>
            </a:xfrm>
            <a:custGeom>
              <a:avLst/>
              <a:gdLst/>
              <a:ahLst/>
              <a:cxnLst>
                <a:cxn ang="0">
                  <a:pos x="138" y="183"/>
                </a:cxn>
                <a:cxn ang="0">
                  <a:pos x="104" y="0"/>
                </a:cxn>
                <a:cxn ang="0">
                  <a:pos x="0" y="0"/>
                </a:cxn>
                <a:cxn ang="0">
                  <a:pos x="12" y="183"/>
                </a:cxn>
                <a:cxn ang="0">
                  <a:pos x="12" y="183"/>
                </a:cxn>
                <a:cxn ang="0">
                  <a:pos x="74" y="217"/>
                </a:cxn>
                <a:cxn ang="0">
                  <a:pos x="75" y="217"/>
                </a:cxn>
                <a:cxn ang="0">
                  <a:pos x="75" y="217"/>
                </a:cxn>
                <a:cxn ang="0">
                  <a:pos x="138" y="183"/>
                </a:cxn>
              </a:cxnLst>
              <a:rect l="0" t="0" r="r" b="b"/>
              <a:pathLst>
                <a:path w="138" h="217">
                  <a:moveTo>
                    <a:pt x="138" y="183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25" y="203"/>
                    <a:pt x="48" y="217"/>
                    <a:pt x="74" y="217"/>
                  </a:cubicBezTo>
                  <a:cubicBezTo>
                    <a:pt x="75" y="217"/>
                    <a:pt x="75" y="217"/>
                    <a:pt x="75" y="217"/>
                  </a:cubicBezTo>
                  <a:cubicBezTo>
                    <a:pt x="75" y="217"/>
                    <a:pt x="75" y="217"/>
                    <a:pt x="75" y="217"/>
                  </a:cubicBezTo>
                  <a:cubicBezTo>
                    <a:pt x="101" y="217"/>
                    <a:pt x="124" y="203"/>
                    <a:pt x="138" y="183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1708" name="Freeform 28"/>
            <p:cNvSpPr>
              <a:spLocks/>
            </p:cNvSpPr>
            <p:nvPr/>
          </p:nvSpPr>
          <p:spPr bwMode="auto">
            <a:xfrm>
              <a:off x="-2654300" y="6964363"/>
              <a:ext cx="1957387" cy="776287"/>
            </a:xfrm>
            <a:custGeom>
              <a:avLst/>
              <a:gdLst>
                <a:gd name="T0" fmla="*/ 490 w 522"/>
                <a:gd name="T1" fmla="*/ 33 h 207"/>
                <a:gd name="T2" fmla="*/ 488 w 522"/>
                <a:gd name="T3" fmla="*/ 33 h 207"/>
                <a:gd name="T4" fmla="*/ 414 w 522"/>
                <a:gd name="T5" fmla="*/ 0 h 207"/>
                <a:gd name="T6" fmla="*/ 372 w 522"/>
                <a:gd name="T7" fmla="*/ 27 h 207"/>
                <a:gd name="T8" fmla="*/ 372 w 522"/>
                <a:gd name="T9" fmla="*/ 162 h 207"/>
                <a:gd name="T10" fmla="*/ 48 w 522"/>
                <a:gd name="T11" fmla="*/ 162 h 207"/>
                <a:gd name="T12" fmla="*/ 48 w 522"/>
                <a:gd name="T13" fmla="*/ 32 h 207"/>
                <a:gd name="T14" fmla="*/ 34 w 522"/>
                <a:gd name="T15" fmla="*/ 33 h 207"/>
                <a:gd name="T16" fmla="*/ 31 w 522"/>
                <a:gd name="T17" fmla="*/ 33 h 207"/>
                <a:gd name="T18" fmla="*/ 0 w 522"/>
                <a:gd name="T19" fmla="*/ 28 h 207"/>
                <a:gd name="T20" fmla="*/ 0 w 522"/>
                <a:gd name="T21" fmla="*/ 207 h 207"/>
                <a:gd name="T22" fmla="*/ 522 w 522"/>
                <a:gd name="T23" fmla="*/ 207 h 207"/>
                <a:gd name="T24" fmla="*/ 522 w 522"/>
                <a:gd name="T25" fmla="*/ 28 h 207"/>
                <a:gd name="T26" fmla="*/ 491 w 522"/>
                <a:gd name="T27" fmla="*/ 33 h 207"/>
                <a:gd name="T28" fmla="*/ 490 w 522"/>
                <a:gd name="T29" fmla="*/ 33 h 20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22"/>
                <a:gd name="T46" fmla="*/ 0 h 207"/>
                <a:gd name="T47" fmla="*/ 522 w 522"/>
                <a:gd name="T48" fmla="*/ 207 h 20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22" h="207">
                  <a:moveTo>
                    <a:pt x="490" y="33"/>
                  </a:moveTo>
                  <a:cubicBezTo>
                    <a:pt x="488" y="33"/>
                    <a:pt x="488" y="33"/>
                    <a:pt x="488" y="33"/>
                  </a:cubicBezTo>
                  <a:cubicBezTo>
                    <a:pt x="459" y="33"/>
                    <a:pt x="432" y="20"/>
                    <a:pt x="414" y="0"/>
                  </a:cubicBezTo>
                  <a:cubicBezTo>
                    <a:pt x="402" y="12"/>
                    <a:pt x="388" y="22"/>
                    <a:pt x="372" y="27"/>
                  </a:cubicBezTo>
                  <a:cubicBezTo>
                    <a:pt x="372" y="162"/>
                    <a:pt x="372" y="162"/>
                    <a:pt x="372" y="162"/>
                  </a:cubicBezTo>
                  <a:cubicBezTo>
                    <a:pt x="48" y="162"/>
                    <a:pt x="48" y="162"/>
                    <a:pt x="48" y="16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4" y="33"/>
                    <a:pt x="39" y="33"/>
                    <a:pt x="34" y="33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21" y="33"/>
                    <a:pt x="10" y="31"/>
                    <a:pt x="0" y="28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522" y="207"/>
                    <a:pt x="522" y="207"/>
                    <a:pt x="522" y="207"/>
                  </a:cubicBezTo>
                  <a:cubicBezTo>
                    <a:pt x="522" y="28"/>
                    <a:pt x="522" y="28"/>
                    <a:pt x="522" y="28"/>
                  </a:cubicBezTo>
                  <a:cubicBezTo>
                    <a:pt x="512" y="31"/>
                    <a:pt x="502" y="33"/>
                    <a:pt x="491" y="33"/>
                  </a:cubicBezTo>
                  <a:cubicBezTo>
                    <a:pt x="491" y="33"/>
                    <a:pt x="490" y="33"/>
                    <a:pt x="490" y="33"/>
                  </a:cubicBezTo>
                  <a:close/>
                </a:path>
              </a:pathLst>
            </a:custGeom>
            <a:solidFill>
              <a:srgbClr val="BBBDBF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4305" name="Freeform 33"/>
            <p:cNvSpPr>
              <a:spLocks/>
            </p:cNvSpPr>
            <p:nvPr/>
          </p:nvSpPr>
          <p:spPr bwMode="auto">
            <a:xfrm>
              <a:off x="-2599508" y="5973763"/>
              <a:ext cx="1922033" cy="127855"/>
            </a:xfrm>
            <a:custGeom>
              <a:avLst/>
              <a:gdLst/>
              <a:ahLst/>
              <a:cxnLst>
                <a:cxn ang="0">
                  <a:pos x="16" y="34"/>
                </a:cxn>
                <a:cxn ang="0">
                  <a:pos x="495" y="34"/>
                </a:cxn>
                <a:cxn ang="0">
                  <a:pos x="512" y="17"/>
                </a:cxn>
                <a:cxn ang="0">
                  <a:pos x="495" y="0"/>
                </a:cxn>
                <a:cxn ang="0">
                  <a:pos x="16" y="0"/>
                </a:cxn>
                <a:cxn ang="0">
                  <a:pos x="0" y="17"/>
                </a:cxn>
                <a:cxn ang="0">
                  <a:pos x="16" y="34"/>
                </a:cxn>
              </a:cxnLst>
              <a:rect l="0" t="0" r="r" b="b"/>
              <a:pathLst>
                <a:path w="512" h="34">
                  <a:moveTo>
                    <a:pt x="16" y="34"/>
                  </a:moveTo>
                  <a:cubicBezTo>
                    <a:pt x="495" y="34"/>
                    <a:pt x="495" y="34"/>
                    <a:pt x="495" y="34"/>
                  </a:cubicBezTo>
                  <a:cubicBezTo>
                    <a:pt x="504" y="34"/>
                    <a:pt x="512" y="26"/>
                    <a:pt x="512" y="17"/>
                  </a:cubicBezTo>
                  <a:cubicBezTo>
                    <a:pt x="512" y="8"/>
                    <a:pt x="504" y="0"/>
                    <a:pt x="49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6"/>
                    <a:pt x="7" y="34"/>
                    <a:pt x="16" y="34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4306" name="Freeform 34"/>
            <p:cNvSpPr>
              <a:spLocks/>
            </p:cNvSpPr>
            <p:nvPr/>
          </p:nvSpPr>
          <p:spPr bwMode="auto">
            <a:xfrm>
              <a:off x="-2420094" y="7060531"/>
              <a:ext cx="1104902" cy="459924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122"/>
                </a:cxn>
                <a:cxn ang="0">
                  <a:pos x="294" y="122"/>
                </a:cxn>
                <a:cxn ang="0">
                  <a:pos x="294" y="5"/>
                </a:cxn>
                <a:cxn ang="0">
                  <a:pos x="287" y="6"/>
                </a:cxn>
                <a:cxn ang="0">
                  <a:pos x="287" y="115"/>
                </a:cxn>
                <a:cxn ang="0">
                  <a:pos x="7" y="115"/>
                </a:cxn>
                <a:cxn ang="0">
                  <a:pos x="7" y="0"/>
                </a:cxn>
                <a:cxn ang="0">
                  <a:pos x="0" y="3"/>
                </a:cxn>
              </a:cxnLst>
              <a:rect l="0" t="0" r="r" b="b"/>
              <a:pathLst>
                <a:path w="294" h="122">
                  <a:moveTo>
                    <a:pt x="0" y="3"/>
                  </a:moveTo>
                  <a:cubicBezTo>
                    <a:pt x="0" y="122"/>
                    <a:pt x="0" y="122"/>
                    <a:pt x="0" y="122"/>
                  </a:cubicBezTo>
                  <a:cubicBezTo>
                    <a:pt x="294" y="122"/>
                    <a:pt x="294" y="122"/>
                    <a:pt x="294" y="122"/>
                  </a:cubicBezTo>
                  <a:cubicBezTo>
                    <a:pt x="294" y="5"/>
                    <a:pt x="294" y="5"/>
                    <a:pt x="294" y="5"/>
                  </a:cubicBezTo>
                  <a:cubicBezTo>
                    <a:pt x="291" y="6"/>
                    <a:pt x="289" y="6"/>
                    <a:pt x="287" y="6"/>
                  </a:cubicBezTo>
                  <a:cubicBezTo>
                    <a:pt x="287" y="115"/>
                    <a:pt x="287" y="115"/>
                    <a:pt x="287" y="115"/>
                  </a:cubicBezTo>
                  <a:cubicBezTo>
                    <a:pt x="7" y="115"/>
                    <a:pt x="7" y="115"/>
                    <a:pt x="7" y="115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"/>
                    <a:pt x="3" y="2"/>
                    <a:pt x="0" y="3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71702" name="TextBox 7"/>
          <p:cNvSpPr txBox="1">
            <a:spLocks noChangeArrowheads="1"/>
          </p:cNvSpPr>
          <p:nvPr/>
        </p:nvSpPr>
        <p:spPr bwMode="auto">
          <a:xfrm>
            <a:off x="572770" y="6442075"/>
            <a:ext cx="6505575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/>
          <a:p>
            <a:pPr>
              <a:lnSpc>
                <a:spcPct val="95000"/>
              </a:lnSpc>
              <a:tabLst>
                <a:tab pos="573088" algn="l"/>
              </a:tabLst>
            </a:pP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Alapja: 	Okostelefon-használók, akik az internetet általánosságban használják okostelefonjukon, n=1000 </a:t>
            </a:r>
          </a:p>
          <a:p>
            <a:pPr>
              <a:lnSpc>
                <a:spcPct val="95000"/>
              </a:lnSpc>
              <a:tabLst>
                <a:tab pos="573088" algn="l"/>
              </a:tabLst>
            </a:pP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16. </a:t>
            </a: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kérdés: 	Hol </a:t>
            </a: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használja leginkább okostelefonját? Először válassza ki azokat a helyszíneket, ahol valaha használta </a:t>
            </a: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	készülékét </a:t>
            </a: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– akkor is, ha ez csak ritkán fordult elő.</a:t>
            </a:r>
          </a:p>
        </p:txBody>
      </p:sp>
      <p:graphicFrame>
        <p:nvGraphicFramePr>
          <p:cNvPr id="37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848640"/>
              </p:ext>
            </p:extLst>
          </p:nvPr>
        </p:nvGraphicFramePr>
        <p:xfrm>
          <a:off x="2925026" y="1302428"/>
          <a:ext cx="5761774" cy="46187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6" name="TextBox 35"/>
          <p:cNvSpPr txBox="1"/>
          <p:nvPr/>
        </p:nvSpPr>
        <p:spPr>
          <a:xfrm>
            <a:off x="-4541" y="5490828"/>
            <a:ext cx="885599" cy="2923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hu-HU" sz="1900" b="1" smtClean="0">
                <a:solidFill>
                  <a:schemeClr val="tx2">
                    <a:lumMod val="60000"/>
                    <a:lumOff val="40000"/>
                  </a:schemeClr>
                </a:solidFill>
                <a:ea typeface="Arial Unicode MS" pitchFamily="34" charset="-128"/>
                <a:cs typeface="Arial Unicode MS" pitchFamily="34" charset="-128"/>
              </a:rPr>
              <a:t>NYITVA</a:t>
            </a:r>
          </a:p>
        </p:txBody>
      </p:sp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825" name="Picture 2" descr="Z:\GGL\22944_smartphone_country_report_dai\Source\JPG\DIVIDERS\R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7826" name="Subtitle 1"/>
          <p:cNvSpPr>
            <a:spLocks noGrp="1"/>
          </p:cNvSpPr>
          <p:nvPr>
            <p:ph type="subTitle" idx="1"/>
          </p:nvPr>
        </p:nvSpPr>
        <p:spPr>
          <a:xfrm>
            <a:off x="565150" y="3954463"/>
            <a:ext cx="3494088" cy="352425"/>
          </a:xfrm>
          <a:ln/>
        </p:spPr>
        <p:txBody>
          <a:bodyPr>
            <a:noAutofit/>
          </a:bodyPr>
          <a:lstStyle/>
          <a:p>
            <a:pPr marL="0" indent="0"/>
            <a:r>
              <a:rPr lang="hu-HU" smtClean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565150" y="3051175"/>
            <a:ext cx="4111625" cy="113506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hu-HU" dirty="0" smtClean="0">
                <a:solidFill>
                  <a:schemeClr val="bg2">
                    <a:lumMod val="50000"/>
                  </a:schemeClr>
                </a:solidFill>
              </a:rPr>
              <a:t>AZ OKOSTELEFONOK </a:t>
            </a:r>
            <a:r>
              <a:rPr lang="hu-HU" dirty="0" smtClean="0"/>
              <a:t/>
            </a:r>
            <a:br>
              <a:rPr lang="hu-HU" dirty="0" smtClean="0"/>
            </a:br>
            <a:r>
              <a:rPr lang="hu-HU" dirty="0" smtClean="0">
                <a:solidFill>
                  <a:schemeClr val="bg2">
                    <a:lumMod val="50000"/>
                  </a:schemeClr>
                </a:solidFill>
              </a:rPr>
              <a:t>ÁTALAKÍTOTTÁK </a:t>
            </a:r>
            <a:r>
              <a:rPr lang="hu-HU" dirty="0" smtClean="0"/>
              <a:t/>
            </a:r>
            <a:br>
              <a:rPr lang="hu-HU" dirty="0" smtClean="0"/>
            </a:br>
            <a:r>
              <a:rPr lang="hu-HU" sz="2000" b="1" dirty="0" smtClean="0">
                <a:solidFill>
                  <a:schemeClr val="accent4"/>
                </a:solidFill>
              </a:rPr>
              <a:t>A FOGYASZTÓI SZOKÁSOKAT</a:t>
            </a:r>
          </a:p>
        </p:txBody>
      </p:sp>
      <p:sp>
        <p:nvSpPr>
          <p:cNvPr id="77828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3CC312C2-BF3F-4950-A90A-70C2417680BA}" type="slidenum">
              <a:rPr lang="hu-HU"/>
              <a:pPr/>
              <a:t>6</a:t>
            </a:fld>
            <a:endParaRPr lang="hu-HU"/>
          </a:p>
        </p:txBody>
      </p:sp>
      <p:grpSp>
        <p:nvGrpSpPr>
          <p:cNvPr id="77829" name="Group 20"/>
          <p:cNvGrpSpPr>
            <a:grpSpLocks/>
          </p:cNvGrpSpPr>
          <p:nvPr/>
        </p:nvGrpSpPr>
        <p:grpSpPr bwMode="auto">
          <a:xfrm>
            <a:off x="6413500" y="3282950"/>
            <a:ext cx="654050" cy="817563"/>
            <a:chOff x="5494337" y="3531245"/>
            <a:chExt cx="1668463" cy="2084685"/>
          </a:xfrm>
        </p:grpSpPr>
        <p:sp>
          <p:nvSpPr>
            <p:cNvPr id="77832" name="Freeform 5"/>
            <p:cNvSpPr>
              <a:spLocks/>
            </p:cNvSpPr>
            <p:nvPr/>
          </p:nvSpPr>
          <p:spPr bwMode="auto">
            <a:xfrm>
              <a:off x="5494337" y="3531245"/>
              <a:ext cx="1668463" cy="2084685"/>
            </a:xfrm>
            <a:custGeom>
              <a:avLst/>
              <a:gdLst>
                <a:gd name="T0" fmla="*/ 526 w 592"/>
                <a:gd name="T1" fmla="*/ 293 h 740"/>
                <a:gd name="T2" fmla="*/ 538 w 592"/>
                <a:gd name="T3" fmla="*/ 248 h 740"/>
                <a:gd name="T4" fmla="*/ 500 w 592"/>
                <a:gd name="T5" fmla="*/ 99 h 740"/>
                <a:gd name="T6" fmla="*/ 326 w 592"/>
                <a:gd name="T7" fmla="*/ 16 h 740"/>
                <a:gd name="T8" fmla="*/ 25 w 592"/>
                <a:gd name="T9" fmla="*/ 112 h 740"/>
                <a:gd name="T10" fmla="*/ 54 w 592"/>
                <a:gd name="T11" fmla="*/ 394 h 740"/>
                <a:gd name="T12" fmla="*/ 99 w 592"/>
                <a:gd name="T13" fmla="*/ 538 h 740"/>
                <a:gd name="T14" fmla="*/ 54 w 592"/>
                <a:gd name="T15" fmla="*/ 674 h 740"/>
                <a:gd name="T16" fmla="*/ 342 w 592"/>
                <a:gd name="T17" fmla="*/ 722 h 740"/>
                <a:gd name="T18" fmla="*/ 384 w 592"/>
                <a:gd name="T19" fmla="*/ 616 h 740"/>
                <a:gd name="T20" fmla="*/ 485 w 592"/>
                <a:gd name="T21" fmla="*/ 614 h 740"/>
                <a:gd name="T22" fmla="*/ 529 w 592"/>
                <a:gd name="T23" fmla="*/ 581 h 740"/>
                <a:gd name="T24" fmla="*/ 535 w 592"/>
                <a:gd name="T25" fmla="*/ 529 h 740"/>
                <a:gd name="T26" fmla="*/ 552 w 592"/>
                <a:gd name="T27" fmla="*/ 516 h 740"/>
                <a:gd name="T28" fmla="*/ 546 w 592"/>
                <a:gd name="T29" fmla="*/ 495 h 740"/>
                <a:gd name="T30" fmla="*/ 559 w 592"/>
                <a:gd name="T31" fmla="*/ 476 h 740"/>
                <a:gd name="T32" fmla="*/ 549 w 592"/>
                <a:gd name="T33" fmla="*/ 438 h 740"/>
                <a:gd name="T34" fmla="*/ 587 w 592"/>
                <a:gd name="T35" fmla="*/ 414 h 740"/>
                <a:gd name="T36" fmla="*/ 539 w 592"/>
                <a:gd name="T37" fmla="*/ 331 h 740"/>
                <a:gd name="T38" fmla="*/ 526 w 592"/>
                <a:gd name="T39" fmla="*/ 293 h 7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92"/>
                <a:gd name="T61" fmla="*/ 0 h 740"/>
                <a:gd name="T62" fmla="*/ 592 w 592"/>
                <a:gd name="T63" fmla="*/ 740 h 74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92" h="740">
                  <a:moveTo>
                    <a:pt x="526" y="293"/>
                  </a:moveTo>
                  <a:cubicBezTo>
                    <a:pt x="531" y="280"/>
                    <a:pt x="543" y="264"/>
                    <a:pt x="538" y="248"/>
                  </a:cubicBezTo>
                  <a:cubicBezTo>
                    <a:pt x="533" y="232"/>
                    <a:pt x="524" y="133"/>
                    <a:pt x="500" y="99"/>
                  </a:cubicBezTo>
                  <a:cubicBezTo>
                    <a:pt x="477" y="64"/>
                    <a:pt x="410" y="31"/>
                    <a:pt x="326" y="16"/>
                  </a:cubicBezTo>
                  <a:cubicBezTo>
                    <a:pt x="241" y="0"/>
                    <a:pt x="48" y="28"/>
                    <a:pt x="25" y="112"/>
                  </a:cubicBezTo>
                  <a:cubicBezTo>
                    <a:pt x="0" y="195"/>
                    <a:pt x="26" y="335"/>
                    <a:pt x="54" y="394"/>
                  </a:cubicBezTo>
                  <a:cubicBezTo>
                    <a:pt x="81" y="451"/>
                    <a:pt x="112" y="489"/>
                    <a:pt x="99" y="538"/>
                  </a:cubicBezTo>
                  <a:cubicBezTo>
                    <a:pt x="86" y="587"/>
                    <a:pt x="60" y="661"/>
                    <a:pt x="54" y="674"/>
                  </a:cubicBezTo>
                  <a:cubicBezTo>
                    <a:pt x="114" y="674"/>
                    <a:pt x="295" y="740"/>
                    <a:pt x="342" y="722"/>
                  </a:cubicBezTo>
                  <a:cubicBezTo>
                    <a:pt x="357" y="679"/>
                    <a:pt x="365" y="626"/>
                    <a:pt x="384" y="616"/>
                  </a:cubicBezTo>
                  <a:cubicBezTo>
                    <a:pt x="403" y="605"/>
                    <a:pt x="463" y="613"/>
                    <a:pt x="485" y="614"/>
                  </a:cubicBezTo>
                  <a:cubicBezTo>
                    <a:pt x="506" y="616"/>
                    <a:pt x="531" y="601"/>
                    <a:pt x="529" y="581"/>
                  </a:cubicBezTo>
                  <a:cubicBezTo>
                    <a:pt x="526" y="563"/>
                    <a:pt x="527" y="537"/>
                    <a:pt x="535" y="529"/>
                  </a:cubicBezTo>
                  <a:cubicBezTo>
                    <a:pt x="542" y="520"/>
                    <a:pt x="552" y="516"/>
                    <a:pt x="552" y="516"/>
                  </a:cubicBezTo>
                  <a:cubicBezTo>
                    <a:pt x="552" y="516"/>
                    <a:pt x="552" y="497"/>
                    <a:pt x="546" y="495"/>
                  </a:cubicBezTo>
                  <a:cubicBezTo>
                    <a:pt x="554" y="490"/>
                    <a:pt x="559" y="476"/>
                    <a:pt x="559" y="476"/>
                  </a:cubicBezTo>
                  <a:cubicBezTo>
                    <a:pt x="559" y="476"/>
                    <a:pt x="547" y="445"/>
                    <a:pt x="549" y="438"/>
                  </a:cubicBezTo>
                  <a:cubicBezTo>
                    <a:pt x="579" y="431"/>
                    <a:pt x="592" y="427"/>
                    <a:pt x="587" y="414"/>
                  </a:cubicBezTo>
                  <a:cubicBezTo>
                    <a:pt x="582" y="402"/>
                    <a:pt x="547" y="355"/>
                    <a:pt x="539" y="331"/>
                  </a:cubicBezTo>
                  <a:cubicBezTo>
                    <a:pt x="531" y="309"/>
                    <a:pt x="526" y="293"/>
                    <a:pt x="526" y="293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77833" name="Group 19"/>
            <p:cNvGrpSpPr>
              <a:grpSpLocks/>
            </p:cNvGrpSpPr>
            <p:nvPr/>
          </p:nvGrpSpPr>
          <p:grpSpPr bwMode="auto">
            <a:xfrm>
              <a:off x="5638800" y="3610861"/>
              <a:ext cx="901700" cy="907569"/>
              <a:chOff x="-2374901" y="4116388"/>
              <a:chExt cx="1219201" cy="1227137"/>
            </a:xfrm>
          </p:grpSpPr>
          <p:sp>
            <p:nvSpPr>
              <p:cNvPr id="13318" name="Freeform 6"/>
              <p:cNvSpPr>
                <a:spLocks/>
              </p:cNvSpPr>
              <p:nvPr/>
            </p:nvSpPr>
            <p:spPr bwMode="auto">
              <a:xfrm>
                <a:off x="-2373111" y="4501333"/>
                <a:ext cx="854196" cy="842882"/>
              </a:xfrm>
              <a:custGeom>
                <a:avLst/>
                <a:gdLst/>
                <a:ahLst/>
                <a:cxnLst>
                  <a:cxn ang="0">
                    <a:pos x="195" y="195"/>
                  </a:cxn>
                  <a:cxn ang="0">
                    <a:pos x="186" y="180"/>
                  </a:cxn>
                  <a:cxn ang="0">
                    <a:pos x="201" y="160"/>
                  </a:cxn>
                  <a:cxn ang="0">
                    <a:pos x="210" y="137"/>
                  </a:cxn>
                  <a:cxn ang="0">
                    <a:pos x="227" y="137"/>
                  </a:cxn>
                  <a:cxn ang="0">
                    <a:pos x="229" y="136"/>
                  </a:cxn>
                  <a:cxn ang="0">
                    <a:pos x="228" y="85"/>
                  </a:cxn>
                  <a:cxn ang="0">
                    <a:pos x="226" y="84"/>
                  </a:cxn>
                  <a:cxn ang="0">
                    <a:pos x="208" y="85"/>
                  </a:cxn>
                  <a:cxn ang="0">
                    <a:pos x="183" y="42"/>
                  </a:cxn>
                  <a:cxn ang="0">
                    <a:pos x="191" y="27"/>
                  </a:cxn>
                  <a:cxn ang="0">
                    <a:pos x="192" y="25"/>
                  </a:cxn>
                  <a:cxn ang="0">
                    <a:pos x="147" y="1"/>
                  </a:cxn>
                  <a:cxn ang="0">
                    <a:pos x="145" y="2"/>
                  </a:cxn>
                  <a:cxn ang="0">
                    <a:pos x="137" y="17"/>
                  </a:cxn>
                  <a:cxn ang="0">
                    <a:pos x="88" y="18"/>
                  </a:cxn>
                  <a:cxn ang="0">
                    <a:pos x="79" y="3"/>
                  </a:cxn>
                  <a:cxn ang="0">
                    <a:pos x="77" y="2"/>
                  </a:cxn>
                  <a:cxn ang="0">
                    <a:pos x="33" y="28"/>
                  </a:cxn>
                  <a:cxn ang="0">
                    <a:pos x="34" y="31"/>
                  </a:cxn>
                  <a:cxn ang="0">
                    <a:pos x="43" y="45"/>
                  </a:cxn>
                  <a:cxn ang="0">
                    <a:pos x="28" y="65"/>
                  </a:cxn>
                  <a:cxn ang="0">
                    <a:pos x="19" y="88"/>
                  </a:cxn>
                  <a:cxn ang="0">
                    <a:pos x="2" y="89"/>
                  </a:cxn>
                  <a:cxn ang="0">
                    <a:pos x="0" y="89"/>
                  </a:cxn>
                  <a:cxn ang="0">
                    <a:pos x="1" y="140"/>
                  </a:cxn>
                  <a:cxn ang="0">
                    <a:pos x="3" y="141"/>
                  </a:cxn>
                  <a:cxn ang="0">
                    <a:pos x="20" y="141"/>
                  </a:cxn>
                  <a:cxn ang="0">
                    <a:pos x="46" y="183"/>
                  </a:cxn>
                  <a:cxn ang="0">
                    <a:pos x="38" y="198"/>
                  </a:cxn>
                  <a:cxn ang="0">
                    <a:pos x="37" y="200"/>
                  </a:cxn>
                  <a:cxn ang="0">
                    <a:pos x="82" y="225"/>
                  </a:cxn>
                  <a:cxn ang="0">
                    <a:pos x="84" y="223"/>
                  </a:cxn>
                  <a:cxn ang="0">
                    <a:pos x="92" y="208"/>
                  </a:cxn>
                  <a:cxn ang="0">
                    <a:pos x="141" y="207"/>
                  </a:cxn>
                  <a:cxn ang="0">
                    <a:pos x="150" y="222"/>
                  </a:cxn>
                  <a:cxn ang="0">
                    <a:pos x="152" y="223"/>
                  </a:cxn>
                  <a:cxn ang="0">
                    <a:pos x="195" y="197"/>
                  </a:cxn>
                  <a:cxn ang="0">
                    <a:pos x="195" y="195"/>
                  </a:cxn>
                </a:cxnLst>
                <a:rect l="0" t="0" r="r" b="b"/>
                <a:pathLst>
                  <a:path w="229" h="225">
                    <a:moveTo>
                      <a:pt x="195" y="195"/>
                    </a:moveTo>
                    <a:cubicBezTo>
                      <a:pt x="186" y="180"/>
                      <a:pt x="186" y="180"/>
                      <a:pt x="186" y="180"/>
                    </a:cubicBezTo>
                    <a:cubicBezTo>
                      <a:pt x="191" y="174"/>
                      <a:pt x="196" y="167"/>
                      <a:pt x="201" y="160"/>
                    </a:cubicBezTo>
                    <a:cubicBezTo>
                      <a:pt x="205" y="153"/>
                      <a:pt x="208" y="145"/>
                      <a:pt x="210" y="137"/>
                    </a:cubicBezTo>
                    <a:cubicBezTo>
                      <a:pt x="227" y="137"/>
                      <a:pt x="227" y="137"/>
                      <a:pt x="227" y="137"/>
                    </a:cubicBezTo>
                    <a:cubicBezTo>
                      <a:pt x="228" y="137"/>
                      <a:pt x="229" y="136"/>
                      <a:pt x="229" y="136"/>
                    </a:cubicBezTo>
                    <a:cubicBezTo>
                      <a:pt x="228" y="85"/>
                      <a:pt x="228" y="85"/>
                      <a:pt x="228" y="85"/>
                    </a:cubicBezTo>
                    <a:cubicBezTo>
                      <a:pt x="228" y="84"/>
                      <a:pt x="227" y="84"/>
                      <a:pt x="226" y="84"/>
                    </a:cubicBezTo>
                    <a:cubicBezTo>
                      <a:pt x="208" y="85"/>
                      <a:pt x="208" y="85"/>
                      <a:pt x="208" y="85"/>
                    </a:cubicBezTo>
                    <a:cubicBezTo>
                      <a:pt x="204" y="69"/>
                      <a:pt x="195" y="54"/>
                      <a:pt x="183" y="42"/>
                    </a:cubicBezTo>
                    <a:cubicBezTo>
                      <a:pt x="191" y="27"/>
                      <a:pt x="191" y="27"/>
                      <a:pt x="191" y="27"/>
                    </a:cubicBezTo>
                    <a:cubicBezTo>
                      <a:pt x="192" y="26"/>
                      <a:pt x="192" y="25"/>
                      <a:pt x="192" y="25"/>
                    </a:cubicBezTo>
                    <a:cubicBezTo>
                      <a:pt x="147" y="1"/>
                      <a:pt x="147" y="1"/>
                      <a:pt x="147" y="1"/>
                    </a:cubicBezTo>
                    <a:cubicBezTo>
                      <a:pt x="146" y="0"/>
                      <a:pt x="146" y="1"/>
                      <a:pt x="145" y="2"/>
                    </a:cubicBezTo>
                    <a:cubicBezTo>
                      <a:pt x="137" y="17"/>
                      <a:pt x="137" y="17"/>
                      <a:pt x="137" y="17"/>
                    </a:cubicBezTo>
                    <a:cubicBezTo>
                      <a:pt x="120" y="13"/>
                      <a:pt x="104" y="14"/>
                      <a:pt x="88" y="18"/>
                    </a:cubicBezTo>
                    <a:cubicBezTo>
                      <a:pt x="79" y="3"/>
                      <a:pt x="79" y="3"/>
                      <a:pt x="79" y="3"/>
                    </a:cubicBezTo>
                    <a:cubicBezTo>
                      <a:pt x="78" y="2"/>
                      <a:pt x="77" y="2"/>
                      <a:pt x="77" y="2"/>
                    </a:cubicBezTo>
                    <a:cubicBezTo>
                      <a:pt x="33" y="28"/>
                      <a:pt x="33" y="28"/>
                      <a:pt x="33" y="28"/>
                    </a:cubicBezTo>
                    <a:cubicBezTo>
                      <a:pt x="33" y="29"/>
                      <a:pt x="33" y="30"/>
                      <a:pt x="34" y="31"/>
                    </a:cubicBezTo>
                    <a:cubicBezTo>
                      <a:pt x="43" y="45"/>
                      <a:pt x="43" y="45"/>
                      <a:pt x="43" y="45"/>
                    </a:cubicBezTo>
                    <a:cubicBezTo>
                      <a:pt x="37" y="51"/>
                      <a:pt x="32" y="58"/>
                      <a:pt x="28" y="65"/>
                    </a:cubicBezTo>
                    <a:cubicBezTo>
                      <a:pt x="24" y="73"/>
                      <a:pt x="21" y="80"/>
                      <a:pt x="19" y="88"/>
                    </a:cubicBezTo>
                    <a:cubicBezTo>
                      <a:pt x="2" y="89"/>
                      <a:pt x="2" y="89"/>
                      <a:pt x="2" y="89"/>
                    </a:cubicBezTo>
                    <a:cubicBezTo>
                      <a:pt x="1" y="89"/>
                      <a:pt x="0" y="89"/>
                      <a:pt x="0" y="89"/>
                    </a:cubicBezTo>
                    <a:cubicBezTo>
                      <a:pt x="1" y="140"/>
                      <a:pt x="1" y="140"/>
                      <a:pt x="1" y="140"/>
                    </a:cubicBezTo>
                    <a:cubicBezTo>
                      <a:pt x="1" y="141"/>
                      <a:pt x="2" y="141"/>
                      <a:pt x="3" y="141"/>
                    </a:cubicBezTo>
                    <a:cubicBezTo>
                      <a:pt x="20" y="141"/>
                      <a:pt x="20" y="141"/>
                      <a:pt x="20" y="141"/>
                    </a:cubicBezTo>
                    <a:cubicBezTo>
                      <a:pt x="25" y="156"/>
                      <a:pt x="34" y="171"/>
                      <a:pt x="46" y="183"/>
                    </a:cubicBezTo>
                    <a:cubicBezTo>
                      <a:pt x="38" y="198"/>
                      <a:pt x="38" y="198"/>
                      <a:pt x="38" y="198"/>
                    </a:cubicBezTo>
                    <a:cubicBezTo>
                      <a:pt x="37" y="199"/>
                      <a:pt x="37" y="200"/>
                      <a:pt x="37" y="200"/>
                    </a:cubicBezTo>
                    <a:cubicBezTo>
                      <a:pt x="82" y="225"/>
                      <a:pt x="82" y="225"/>
                      <a:pt x="82" y="225"/>
                    </a:cubicBezTo>
                    <a:cubicBezTo>
                      <a:pt x="82" y="225"/>
                      <a:pt x="83" y="224"/>
                      <a:pt x="84" y="223"/>
                    </a:cubicBezTo>
                    <a:cubicBezTo>
                      <a:pt x="92" y="208"/>
                      <a:pt x="92" y="208"/>
                      <a:pt x="92" y="208"/>
                    </a:cubicBezTo>
                    <a:cubicBezTo>
                      <a:pt x="108" y="212"/>
                      <a:pt x="125" y="212"/>
                      <a:pt x="141" y="207"/>
                    </a:cubicBezTo>
                    <a:cubicBezTo>
                      <a:pt x="150" y="222"/>
                      <a:pt x="150" y="222"/>
                      <a:pt x="150" y="222"/>
                    </a:cubicBezTo>
                    <a:cubicBezTo>
                      <a:pt x="151" y="223"/>
                      <a:pt x="151" y="223"/>
                      <a:pt x="152" y="223"/>
                    </a:cubicBezTo>
                    <a:cubicBezTo>
                      <a:pt x="195" y="197"/>
                      <a:pt x="195" y="197"/>
                      <a:pt x="195" y="197"/>
                    </a:cubicBezTo>
                    <a:cubicBezTo>
                      <a:pt x="196" y="197"/>
                      <a:pt x="195" y="196"/>
                      <a:pt x="195" y="195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77835" name="Oval 7"/>
              <p:cNvSpPr>
                <a:spLocks noChangeArrowheads="1"/>
              </p:cNvSpPr>
              <p:nvPr/>
            </p:nvSpPr>
            <p:spPr bwMode="auto">
              <a:xfrm>
                <a:off x="-2143126" y="4735513"/>
                <a:ext cx="371475" cy="371475"/>
              </a:xfrm>
              <a:prstGeom prst="ellipse">
                <a:avLst/>
              </a:pr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77836" name="Oval 8"/>
              <p:cNvSpPr>
                <a:spLocks noChangeArrowheads="1"/>
              </p:cNvSpPr>
              <p:nvPr/>
            </p:nvSpPr>
            <p:spPr bwMode="auto">
              <a:xfrm>
                <a:off x="-2049463" y="4829175"/>
                <a:ext cx="187325" cy="184150"/>
              </a:xfrm>
              <a:prstGeom prst="ellipse">
                <a:avLst/>
              </a:pr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77837" name="Freeform 9"/>
              <p:cNvSpPr>
                <a:spLocks/>
              </p:cNvSpPr>
              <p:nvPr/>
            </p:nvSpPr>
            <p:spPr bwMode="auto">
              <a:xfrm>
                <a:off x="-1620838" y="4360863"/>
                <a:ext cx="465138" cy="476250"/>
              </a:xfrm>
              <a:custGeom>
                <a:avLst/>
                <a:gdLst>
                  <a:gd name="T0" fmla="*/ 123 w 124"/>
                  <a:gd name="T1" fmla="*/ 82 h 127"/>
                  <a:gd name="T2" fmla="*/ 115 w 124"/>
                  <a:gd name="T3" fmla="*/ 77 h 127"/>
                  <a:gd name="T4" fmla="*/ 117 w 124"/>
                  <a:gd name="T5" fmla="*/ 63 h 127"/>
                  <a:gd name="T6" fmla="*/ 115 w 124"/>
                  <a:gd name="T7" fmla="*/ 50 h 127"/>
                  <a:gd name="T8" fmla="*/ 123 w 124"/>
                  <a:gd name="T9" fmla="*/ 45 h 127"/>
                  <a:gd name="T10" fmla="*/ 124 w 124"/>
                  <a:gd name="T11" fmla="*/ 44 h 127"/>
                  <a:gd name="T12" fmla="*/ 110 w 124"/>
                  <a:gd name="T13" fmla="*/ 19 h 127"/>
                  <a:gd name="T14" fmla="*/ 109 w 124"/>
                  <a:gd name="T15" fmla="*/ 20 h 127"/>
                  <a:gd name="T16" fmla="*/ 100 w 124"/>
                  <a:gd name="T17" fmla="*/ 25 h 127"/>
                  <a:gd name="T18" fmla="*/ 77 w 124"/>
                  <a:gd name="T19" fmla="*/ 11 h 127"/>
                  <a:gd name="T20" fmla="*/ 77 w 124"/>
                  <a:gd name="T21" fmla="*/ 1 h 127"/>
                  <a:gd name="T22" fmla="*/ 76 w 124"/>
                  <a:gd name="T23" fmla="*/ 0 h 127"/>
                  <a:gd name="T24" fmla="*/ 48 w 124"/>
                  <a:gd name="T25" fmla="*/ 0 h 127"/>
                  <a:gd name="T26" fmla="*/ 48 w 124"/>
                  <a:gd name="T27" fmla="*/ 1 h 127"/>
                  <a:gd name="T28" fmla="*/ 48 w 124"/>
                  <a:gd name="T29" fmla="*/ 11 h 127"/>
                  <a:gd name="T30" fmla="*/ 24 w 124"/>
                  <a:gd name="T31" fmla="*/ 25 h 127"/>
                  <a:gd name="T32" fmla="*/ 16 w 124"/>
                  <a:gd name="T33" fmla="*/ 20 h 127"/>
                  <a:gd name="T34" fmla="*/ 14 w 124"/>
                  <a:gd name="T35" fmla="*/ 19 h 127"/>
                  <a:gd name="T36" fmla="*/ 0 w 124"/>
                  <a:gd name="T37" fmla="*/ 44 h 127"/>
                  <a:gd name="T38" fmla="*/ 1 w 124"/>
                  <a:gd name="T39" fmla="*/ 45 h 127"/>
                  <a:gd name="T40" fmla="*/ 9 w 124"/>
                  <a:gd name="T41" fmla="*/ 50 h 127"/>
                  <a:gd name="T42" fmla="*/ 7 w 124"/>
                  <a:gd name="T43" fmla="*/ 63 h 127"/>
                  <a:gd name="T44" fmla="*/ 9 w 124"/>
                  <a:gd name="T45" fmla="*/ 77 h 127"/>
                  <a:gd name="T46" fmla="*/ 1 w 124"/>
                  <a:gd name="T47" fmla="*/ 82 h 127"/>
                  <a:gd name="T48" fmla="*/ 0 w 124"/>
                  <a:gd name="T49" fmla="*/ 83 h 127"/>
                  <a:gd name="T50" fmla="*/ 14 w 124"/>
                  <a:gd name="T51" fmla="*/ 107 h 127"/>
                  <a:gd name="T52" fmla="*/ 16 w 124"/>
                  <a:gd name="T53" fmla="*/ 107 h 127"/>
                  <a:gd name="T54" fmla="*/ 24 w 124"/>
                  <a:gd name="T55" fmla="*/ 102 h 127"/>
                  <a:gd name="T56" fmla="*/ 48 w 124"/>
                  <a:gd name="T57" fmla="*/ 116 h 127"/>
                  <a:gd name="T58" fmla="*/ 48 w 124"/>
                  <a:gd name="T59" fmla="*/ 125 h 127"/>
                  <a:gd name="T60" fmla="*/ 48 w 124"/>
                  <a:gd name="T61" fmla="*/ 127 h 127"/>
                  <a:gd name="T62" fmla="*/ 76 w 124"/>
                  <a:gd name="T63" fmla="*/ 127 h 127"/>
                  <a:gd name="T64" fmla="*/ 77 w 124"/>
                  <a:gd name="T65" fmla="*/ 125 h 127"/>
                  <a:gd name="T66" fmla="*/ 77 w 124"/>
                  <a:gd name="T67" fmla="*/ 116 h 127"/>
                  <a:gd name="T68" fmla="*/ 100 w 124"/>
                  <a:gd name="T69" fmla="*/ 102 h 127"/>
                  <a:gd name="T70" fmla="*/ 109 w 124"/>
                  <a:gd name="T71" fmla="*/ 107 h 127"/>
                  <a:gd name="T72" fmla="*/ 110 w 124"/>
                  <a:gd name="T73" fmla="*/ 107 h 127"/>
                  <a:gd name="T74" fmla="*/ 124 w 124"/>
                  <a:gd name="T75" fmla="*/ 83 h 127"/>
                  <a:gd name="T76" fmla="*/ 123 w 124"/>
                  <a:gd name="T77" fmla="*/ 82 h 127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24"/>
                  <a:gd name="T118" fmla="*/ 0 h 127"/>
                  <a:gd name="T119" fmla="*/ 124 w 124"/>
                  <a:gd name="T120" fmla="*/ 127 h 127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24" h="127">
                    <a:moveTo>
                      <a:pt x="123" y="82"/>
                    </a:moveTo>
                    <a:cubicBezTo>
                      <a:pt x="115" y="77"/>
                      <a:pt x="115" y="77"/>
                      <a:pt x="115" y="77"/>
                    </a:cubicBezTo>
                    <a:cubicBezTo>
                      <a:pt x="116" y="73"/>
                      <a:pt x="117" y="68"/>
                      <a:pt x="117" y="63"/>
                    </a:cubicBezTo>
                    <a:cubicBezTo>
                      <a:pt x="117" y="59"/>
                      <a:pt x="116" y="54"/>
                      <a:pt x="115" y="50"/>
                    </a:cubicBezTo>
                    <a:cubicBezTo>
                      <a:pt x="123" y="45"/>
                      <a:pt x="123" y="45"/>
                      <a:pt x="123" y="45"/>
                    </a:cubicBezTo>
                    <a:cubicBezTo>
                      <a:pt x="124" y="45"/>
                      <a:pt x="124" y="44"/>
                      <a:pt x="124" y="44"/>
                    </a:cubicBezTo>
                    <a:cubicBezTo>
                      <a:pt x="110" y="19"/>
                      <a:pt x="110" y="19"/>
                      <a:pt x="110" y="19"/>
                    </a:cubicBezTo>
                    <a:cubicBezTo>
                      <a:pt x="110" y="19"/>
                      <a:pt x="109" y="19"/>
                      <a:pt x="109" y="20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94" y="18"/>
                      <a:pt x="86" y="13"/>
                      <a:pt x="77" y="11"/>
                    </a:cubicBezTo>
                    <a:cubicBezTo>
                      <a:pt x="77" y="1"/>
                      <a:pt x="77" y="1"/>
                      <a:pt x="77" y="1"/>
                    </a:cubicBezTo>
                    <a:cubicBezTo>
                      <a:pt x="77" y="1"/>
                      <a:pt x="77" y="0"/>
                      <a:pt x="76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8" y="0"/>
                      <a:pt x="48" y="1"/>
                      <a:pt x="48" y="1"/>
                    </a:cubicBezTo>
                    <a:cubicBezTo>
                      <a:pt x="48" y="11"/>
                      <a:pt x="48" y="11"/>
                      <a:pt x="48" y="11"/>
                    </a:cubicBezTo>
                    <a:cubicBezTo>
                      <a:pt x="38" y="13"/>
                      <a:pt x="30" y="18"/>
                      <a:pt x="24" y="25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15" y="19"/>
                      <a:pt x="15" y="19"/>
                      <a:pt x="14" y="19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0" y="45"/>
                      <a:pt x="1" y="45"/>
                    </a:cubicBezTo>
                    <a:cubicBezTo>
                      <a:pt x="9" y="50"/>
                      <a:pt x="9" y="50"/>
                      <a:pt x="9" y="50"/>
                    </a:cubicBezTo>
                    <a:cubicBezTo>
                      <a:pt x="8" y="54"/>
                      <a:pt x="7" y="59"/>
                      <a:pt x="7" y="63"/>
                    </a:cubicBezTo>
                    <a:cubicBezTo>
                      <a:pt x="7" y="68"/>
                      <a:pt x="8" y="73"/>
                      <a:pt x="9" y="77"/>
                    </a:cubicBezTo>
                    <a:cubicBezTo>
                      <a:pt x="1" y="82"/>
                      <a:pt x="1" y="82"/>
                      <a:pt x="1" y="82"/>
                    </a:cubicBezTo>
                    <a:cubicBezTo>
                      <a:pt x="0" y="82"/>
                      <a:pt x="0" y="83"/>
                      <a:pt x="0" y="83"/>
                    </a:cubicBezTo>
                    <a:cubicBezTo>
                      <a:pt x="14" y="107"/>
                      <a:pt x="14" y="107"/>
                      <a:pt x="14" y="107"/>
                    </a:cubicBezTo>
                    <a:cubicBezTo>
                      <a:pt x="15" y="107"/>
                      <a:pt x="15" y="107"/>
                      <a:pt x="16" y="107"/>
                    </a:cubicBezTo>
                    <a:cubicBezTo>
                      <a:pt x="24" y="102"/>
                      <a:pt x="24" y="102"/>
                      <a:pt x="24" y="102"/>
                    </a:cubicBezTo>
                    <a:cubicBezTo>
                      <a:pt x="30" y="109"/>
                      <a:pt x="38" y="113"/>
                      <a:pt x="48" y="116"/>
                    </a:cubicBezTo>
                    <a:cubicBezTo>
                      <a:pt x="48" y="125"/>
                      <a:pt x="48" y="125"/>
                      <a:pt x="48" y="125"/>
                    </a:cubicBezTo>
                    <a:cubicBezTo>
                      <a:pt x="48" y="126"/>
                      <a:pt x="48" y="127"/>
                      <a:pt x="48" y="127"/>
                    </a:cubicBezTo>
                    <a:cubicBezTo>
                      <a:pt x="76" y="127"/>
                      <a:pt x="76" y="127"/>
                      <a:pt x="76" y="127"/>
                    </a:cubicBezTo>
                    <a:cubicBezTo>
                      <a:pt x="77" y="127"/>
                      <a:pt x="77" y="126"/>
                      <a:pt x="77" y="125"/>
                    </a:cubicBezTo>
                    <a:cubicBezTo>
                      <a:pt x="77" y="116"/>
                      <a:pt x="77" y="116"/>
                      <a:pt x="77" y="116"/>
                    </a:cubicBezTo>
                    <a:cubicBezTo>
                      <a:pt x="86" y="113"/>
                      <a:pt x="94" y="109"/>
                      <a:pt x="100" y="102"/>
                    </a:cubicBezTo>
                    <a:cubicBezTo>
                      <a:pt x="109" y="107"/>
                      <a:pt x="109" y="107"/>
                      <a:pt x="109" y="107"/>
                    </a:cubicBezTo>
                    <a:cubicBezTo>
                      <a:pt x="109" y="107"/>
                      <a:pt x="110" y="107"/>
                      <a:pt x="110" y="107"/>
                    </a:cubicBezTo>
                    <a:cubicBezTo>
                      <a:pt x="124" y="83"/>
                      <a:pt x="124" y="83"/>
                      <a:pt x="124" y="83"/>
                    </a:cubicBezTo>
                    <a:cubicBezTo>
                      <a:pt x="124" y="83"/>
                      <a:pt x="124" y="82"/>
                      <a:pt x="123" y="82"/>
                    </a:cubicBez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77838" name="Oval 10"/>
              <p:cNvSpPr>
                <a:spLocks noChangeArrowheads="1"/>
              </p:cNvSpPr>
              <p:nvPr/>
            </p:nvSpPr>
            <p:spPr bwMode="auto">
              <a:xfrm>
                <a:off x="-1490663" y="4495800"/>
                <a:ext cx="206375" cy="206375"/>
              </a:xfrm>
              <a:prstGeom prst="ellipse">
                <a:avLst/>
              </a:pr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23" name="Oval 11"/>
              <p:cNvSpPr>
                <a:spLocks noChangeArrowheads="1"/>
              </p:cNvSpPr>
              <p:nvPr/>
            </p:nvSpPr>
            <p:spPr bwMode="auto">
              <a:xfrm>
                <a:off x="-1442257" y="4550594"/>
                <a:ext cx="104038" cy="98519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324" name="Freeform 12"/>
              <p:cNvSpPr>
                <a:spLocks/>
              </p:cNvSpPr>
              <p:nvPr/>
            </p:nvSpPr>
            <p:spPr bwMode="auto">
              <a:xfrm>
                <a:off x="-1732462" y="4118205"/>
                <a:ext cx="306634" cy="295556"/>
              </a:xfrm>
              <a:custGeom>
                <a:avLst/>
                <a:gdLst/>
                <a:ahLst/>
                <a:cxnLst>
                  <a:cxn ang="0">
                    <a:pos x="69" y="69"/>
                  </a:cxn>
                  <a:cxn ang="0">
                    <a:pos x="66" y="64"/>
                  </a:cxn>
                  <a:cxn ang="0">
                    <a:pos x="71" y="57"/>
                  </a:cxn>
                  <a:cxn ang="0">
                    <a:pos x="74" y="48"/>
                  </a:cxn>
                  <a:cxn ang="0">
                    <a:pos x="80" y="48"/>
                  </a:cxn>
                  <a:cxn ang="0">
                    <a:pos x="81" y="48"/>
                  </a:cxn>
                  <a:cxn ang="0">
                    <a:pos x="80" y="30"/>
                  </a:cxn>
                  <a:cxn ang="0">
                    <a:pos x="80" y="30"/>
                  </a:cxn>
                  <a:cxn ang="0">
                    <a:pos x="74" y="30"/>
                  </a:cxn>
                  <a:cxn ang="0">
                    <a:pos x="65" y="15"/>
                  </a:cxn>
                  <a:cxn ang="0">
                    <a:pos x="67" y="9"/>
                  </a:cxn>
                  <a:cxn ang="0">
                    <a:pos x="68" y="9"/>
                  </a:cxn>
                  <a:cxn ang="0">
                    <a:pos x="52" y="0"/>
                  </a:cxn>
                  <a:cxn ang="0">
                    <a:pos x="51" y="0"/>
                  </a:cxn>
                  <a:cxn ang="0">
                    <a:pos x="48" y="6"/>
                  </a:cxn>
                  <a:cxn ang="0">
                    <a:pos x="31" y="6"/>
                  </a:cxn>
                  <a:cxn ang="0">
                    <a:pos x="28" y="1"/>
                  </a:cxn>
                  <a:cxn ang="0">
                    <a:pos x="27" y="0"/>
                  </a:cxn>
                  <a:cxn ang="0">
                    <a:pos x="11" y="10"/>
                  </a:cxn>
                  <a:cxn ang="0">
                    <a:pos x="12" y="11"/>
                  </a:cxn>
                  <a:cxn ang="0">
                    <a:pos x="15" y="16"/>
                  </a:cxn>
                  <a:cxn ang="0">
                    <a:pos x="10" y="23"/>
                  </a:cxn>
                  <a:cxn ang="0">
                    <a:pos x="6" y="31"/>
                  </a:cxn>
                  <a:cxn ang="0">
                    <a:pos x="0" y="31"/>
                  </a:cxn>
                  <a:cxn ang="0">
                    <a:pos x="0" y="31"/>
                  </a:cxn>
                  <a:cxn ang="0">
                    <a:pos x="0" y="50"/>
                  </a:cxn>
                  <a:cxn ang="0">
                    <a:pos x="1" y="50"/>
                  </a:cxn>
                  <a:cxn ang="0">
                    <a:pos x="7" y="50"/>
                  </a:cxn>
                  <a:cxn ang="0">
                    <a:pos x="16" y="65"/>
                  </a:cxn>
                  <a:cxn ang="0">
                    <a:pos x="13" y="70"/>
                  </a:cxn>
                  <a:cxn ang="0">
                    <a:pos x="13" y="71"/>
                  </a:cxn>
                  <a:cxn ang="0">
                    <a:pos x="29" y="79"/>
                  </a:cxn>
                  <a:cxn ang="0">
                    <a:pos x="29" y="79"/>
                  </a:cxn>
                  <a:cxn ang="0">
                    <a:pos x="32" y="74"/>
                  </a:cxn>
                  <a:cxn ang="0">
                    <a:pos x="50" y="73"/>
                  </a:cxn>
                  <a:cxn ang="0">
                    <a:pos x="53" y="78"/>
                  </a:cxn>
                  <a:cxn ang="0">
                    <a:pos x="53" y="79"/>
                  </a:cxn>
                  <a:cxn ang="0">
                    <a:pos x="69" y="70"/>
                  </a:cxn>
                  <a:cxn ang="0">
                    <a:pos x="69" y="69"/>
                  </a:cxn>
                </a:cxnLst>
                <a:rect l="0" t="0" r="r" b="b"/>
                <a:pathLst>
                  <a:path w="81" h="79">
                    <a:moveTo>
                      <a:pt x="69" y="69"/>
                    </a:moveTo>
                    <a:cubicBezTo>
                      <a:pt x="66" y="64"/>
                      <a:pt x="66" y="64"/>
                      <a:pt x="66" y="64"/>
                    </a:cubicBezTo>
                    <a:cubicBezTo>
                      <a:pt x="68" y="62"/>
                      <a:pt x="69" y="59"/>
                      <a:pt x="71" y="57"/>
                    </a:cubicBezTo>
                    <a:cubicBezTo>
                      <a:pt x="72" y="54"/>
                      <a:pt x="73" y="51"/>
                      <a:pt x="74" y="48"/>
                    </a:cubicBezTo>
                    <a:cubicBezTo>
                      <a:pt x="80" y="48"/>
                      <a:pt x="80" y="48"/>
                      <a:pt x="80" y="48"/>
                    </a:cubicBezTo>
                    <a:cubicBezTo>
                      <a:pt x="81" y="48"/>
                      <a:pt x="81" y="48"/>
                      <a:pt x="81" y="48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80" y="30"/>
                      <a:pt x="80" y="30"/>
                      <a:pt x="80" y="30"/>
                    </a:cubicBezTo>
                    <a:cubicBezTo>
                      <a:pt x="74" y="30"/>
                      <a:pt x="74" y="30"/>
                      <a:pt x="74" y="30"/>
                    </a:cubicBezTo>
                    <a:cubicBezTo>
                      <a:pt x="72" y="24"/>
                      <a:pt x="69" y="19"/>
                      <a:pt x="65" y="15"/>
                    </a:cubicBezTo>
                    <a:cubicBezTo>
                      <a:pt x="67" y="9"/>
                      <a:pt x="67" y="9"/>
                      <a:pt x="67" y="9"/>
                    </a:cubicBezTo>
                    <a:cubicBezTo>
                      <a:pt x="68" y="9"/>
                      <a:pt x="68" y="9"/>
                      <a:pt x="68" y="9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2" y="0"/>
                      <a:pt x="51" y="0"/>
                      <a:pt x="51" y="0"/>
                    </a:cubicBezTo>
                    <a:cubicBezTo>
                      <a:pt x="48" y="6"/>
                      <a:pt x="48" y="6"/>
                      <a:pt x="48" y="6"/>
                    </a:cubicBezTo>
                    <a:cubicBezTo>
                      <a:pt x="42" y="4"/>
                      <a:pt x="36" y="5"/>
                      <a:pt x="31" y="6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27" y="1"/>
                      <a:pt x="27" y="0"/>
                      <a:pt x="27" y="0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0"/>
                      <a:pt x="11" y="10"/>
                      <a:pt x="12" y="11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3" y="18"/>
                      <a:pt x="11" y="20"/>
                      <a:pt x="10" y="23"/>
                    </a:cubicBezTo>
                    <a:cubicBezTo>
                      <a:pt x="8" y="25"/>
                      <a:pt x="7" y="28"/>
                      <a:pt x="6" y="31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0" y="50"/>
                      <a:pt x="0" y="50"/>
                      <a:pt x="1" y="50"/>
                    </a:cubicBezTo>
                    <a:cubicBezTo>
                      <a:pt x="7" y="50"/>
                      <a:pt x="7" y="50"/>
                      <a:pt x="7" y="50"/>
                    </a:cubicBezTo>
                    <a:cubicBezTo>
                      <a:pt x="9" y="55"/>
                      <a:pt x="12" y="60"/>
                      <a:pt x="16" y="65"/>
                    </a:cubicBezTo>
                    <a:cubicBezTo>
                      <a:pt x="13" y="70"/>
                      <a:pt x="13" y="70"/>
                      <a:pt x="13" y="70"/>
                    </a:cubicBezTo>
                    <a:cubicBezTo>
                      <a:pt x="13" y="70"/>
                      <a:pt x="13" y="71"/>
                      <a:pt x="13" y="71"/>
                    </a:cubicBezTo>
                    <a:cubicBezTo>
                      <a:pt x="29" y="79"/>
                      <a:pt x="29" y="79"/>
                      <a:pt x="29" y="79"/>
                    </a:cubicBezTo>
                    <a:cubicBezTo>
                      <a:pt x="29" y="79"/>
                      <a:pt x="29" y="79"/>
                      <a:pt x="29" y="79"/>
                    </a:cubicBezTo>
                    <a:cubicBezTo>
                      <a:pt x="32" y="74"/>
                      <a:pt x="32" y="74"/>
                      <a:pt x="32" y="74"/>
                    </a:cubicBezTo>
                    <a:cubicBezTo>
                      <a:pt x="38" y="75"/>
                      <a:pt x="44" y="75"/>
                      <a:pt x="50" y="73"/>
                    </a:cubicBezTo>
                    <a:cubicBezTo>
                      <a:pt x="53" y="78"/>
                      <a:pt x="53" y="78"/>
                      <a:pt x="53" y="78"/>
                    </a:cubicBezTo>
                    <a:cubicBezTo>
                      <a:pt x="53" y="79"/>
                      <a:pt x="53" y="79"/>
                      <a:pt x="53" y="79"/>
                    </a:cubicBezTo>
                    <a:cubicBezTo>
                      <a:pt x="69" y="70"/>
                      <a:pt x="69" y="70"/>
                      <a:pt x="69" y="70"/>
                    </a:cubicBezTo>
                    <a:cubicBezTo>
                      <a:pt x="69" y="70"/>
                      <a:pt x="69" y="69"/>
                      <a:pt x="69" y="69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77841" name="Freeform 13"/>
              <p:cNvSpPr>
                <a:spLocks/>
              </p:cNvSpPr>
              <p:nvPr/>
            </p:nvSpPr>
            <p:spPr bwMode="auto">
              <a:xfrm>
                <a:off x="-1655763" y="4192588"/>
                <a:ext cx="150813" cy="149225"/>
              </a:xfrm>
              <a:custGeom>
                <a:avLst/>
                <a:gdLst>
                  <a:gd name="T0" fmla="*/ 36 w 40"/>
                  <a:gd name="T1" fmla="*/ 28 h 40"/>
                  <a:gd name="T2" fmla="*/ 12 w 40"/>
                  <a:gd name="T3" fmla="*/ 35 h 40"/>
                  <a:gd name="T4" fmla="*/ 5 w 40"/>
                  <a:gd name="T5" fmla="*/ 11 h 40"/>
                  <a:gd name="T6" fmla="*/ 29 w 40"/>
                  <a:gd name="T7" fmla="*/ 4 h 40"/>
                  <a:gd name="T8" fmla="*/ 36 w 40"/>
                  <a:gd name="T9" fmla="*/ 28 h 4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"/>
                  <a:gd name="T16" fmla="*/ 0 h 40"/>
                  <a:gd name="T17" fmla="*/ 40 w 40"/>
                  <a:gd name="T18" fmla="*/ 40 h 4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" h="40">
                    <a:moveTo>
                      <a:pt x="36" y="28"/>
                    </a:moveTo>
                    <a:cubicBezTo>
                      <a:pt x="31" y="37"/>
                      <a:pt x="20" y="40"/>
                      <a:pt x="12" y="35"/>
                    </a:cubicBezTo>
                    <a:cubicBezTo>
                      <a:pt x="3" y="30"/>
                      <a:pt x="0" y="20"/>
                      <a:pt x="5" y="11"/>
                    </a:cubicBezTo>
                    <a:cubicBezTo>
                      <a:pt x="10" y="3"/>
                      <a:pt x="20" y="0"/>
                      <a:pt x="29" y="4"/>
                    </a:cubicBezTo>
                    <a:cubicBezTo>
                      <a:pt x="37" y="9"/>
                      <a:pt x="40" y="20"/>
                      <a:pt x="36" y="2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77842" name="Freeform 14"/>
              <p:cNvSpPr>
                <a:spLocks/>
              </p:cNvSpPr>
              <p:nvPr/>
            </p:nvSpPr>
            <p:spPr bwMode="auto">
              <a:xfrm>
                <a:off x="-1617663" y="4229100"/>
                <a:ext cx="74613" cy="74613"/>
              </a:xfrm>
              <a:custGeom>
                <a:avLst/>
                <a:gdLst>
                  <a:gd name="T0" fmla="*/ 18 w 20"/>
                  <a:gd name="T1" fmla="*/ 14 h 20"/>
                  <a:gd name="T2" fmla="*/ 6 w 20"/>
                  <a:gd name="T3" fmla="*/ 17 h 20"/>
                  <a:gd name="T4" fmla="*/ 3 w 20"/>
                  <a:gd name="T5" fmla="*/ 5 h 20"/>
                  <a:gd name="T6" fmla="*/ 14 w 20"/>
                  <a:gd name="T7" fmla="*/ 2 h 20"/>
                  <a:gd name="T8" fmla="*/ 18 w 20"/>
                  <a:gd name="T9" fmla="*/ 14 h 2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"/>
                  <a:gd name="T16" fmla="*/ 0 h 20"/>
                  <a:gd name="T17" fmla="*/ 20 w 20"/>
                  <a:gd name="T18" fmla="*/ 20 h 2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" h="20">
                    <a:moveTo>
                      <a:pt x="18" y="14"/>
                    </a:moveTo>
                    <a:cubicBezTo>
                      <a:pt x="16" y="18"/>
                      <a:pt x="10" y="20"/>
                      <a:pt x="6" y="17"/>
                    </a:cubicBezTo>
                    <a:cubicBezTo>
                      <a:pt x="2" y="15"/>
                      <a:pt x="0" y="10"/>
                      <a:pt x="3" y="5"/>
                    </a:cubicBezTo>
                    <a:cubicBezTo>
                      <a:pt x="5" y="1"/>
                      <a:pt x="10" y="0"/>
                      <a:pt x="14" y="2"/>
                    </a:cubicBezTo>
                    <a:cubicBezTo>
                      <a:pt x="19" y="4"/>
                      <a:pt x="20" y="10"/>
                      <a:pt x="18" y="14"/>
                    </a:cubicBez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</p:grpSp>
      <p:sp>
        <p:nvSpPr>
          <p:cNvPr id="77830" name="Rectangle 17"/>
          <p:cNvSpPr>
            <a:spLocks noChangeArrowheads="1"/>
          </p:cNvSpPr>
          <p:nvPr/>
        </p:nvSpPr>
        <p:spPr bwMode="auto">
          <a:xfrm>
            <a:off x="212725" y="5726113"/>
            <a:ext cx="2914650" cy="99377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7831" name="Rectangle 18"/>
          <p:cNvSpPr>
            <a:spLocks noChangeArrowheads="1"/>
          </p:cNvSpPr>
          <p:nvPr/>
        </p:nvSpPr>
        <p:spPr bwMode="auto">
          <a:xfrm>
            <a:off x="23813" y="647700"/>
            <a:ext cx="2914650" cy="9953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" name="Text Box 54"/>
          <p:cNvSpPr txBox="1">
            <a:spLocks noChangeArrowheads="1"/>
          </p:cNvSpPr>
          <p:nvPr/>
        </p:nvSpPr>
        <p:spPr bwMode="auto">
          <a:xfrm>
            <a:off x="6861175" y="6400800"/>
            <a:ext cx="1825625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no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hu-HU" sz="800" baseline="0" noProof="0" dirty="0" smtClean="0">
                <a:solidFill>
                  <a:srgbClr val="7D7D7D"/>
                </a:solidFill>
                <a:ea typeface="Arial Unicode MS" pitchFamily="34" charset="-128"/>
                <a:cs typeface="Arial Unicode MS" pitchFamily="34" charset="-128"/>
              </a:rPr>
              <a:t>A Google bizalmas és saját tulajdonú információi</a:t>
            </a:r>
            <a:endParaRPr lang="hu-HU" sz="800" baseline="0" noProof="0" dirty="0">
              <a:solidFill>
                <a:srgbClr val="7D7D7D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96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347788"/>
            <a:ext cx="9144000" cy="496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970" name="Title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476250"/>
          </a:xfrm>
        </p:spPr>
        <p:txBody>
          <a:bodyPr>
            <a:noAutofit/>
          </a:bodyPr>
          <a:lstStyle/>
          <a:p>
            <a:r>
              <a:rPr lang="hu-HU" smtClean="0"/>
              <a:t>Az okostelefonok többféle tevékenységre használható eszközök</a:t>
            </a:r>
          </a:p>
        </p:txBody>
      </p:sp>
      <p:sp>
        <p:nvSpPr>
          <p:cNvPr id="83971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F2DB72D1-DF5D-49B5-9EC8-1A39461AF1A6}" type="slidenum">
              <a:rPr lang="hu-HU"/>
              <a:pPr/>
              <a:t>7</a:t>
            </a:fld>
            <a:endParaRPr lang="hu-HU"/>
          </a:p>
        </p:txBody>
      </p:sp>
      <p:sp>
        <p:nvSpPr>
          <p:cNvPr id="83972" name="TextBox 8"/>
          <p:cNvSpPr txBox="1">
            <a:spLocks noChangeArrowheads="1"/>
          </p:cNvSpPr>
          <p:nvPr/>
        </p:nvSpPr>
        <p:spPr bwMode="auto">
          <a:xfrm>
            <a:off x="1801080" y="5360724"/>
            <a:ext cx="2076450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1500">
                <a:ea typeface="Arial Unicode MS" pitchFamily="34" charset="-128"/>
                <a:cs typeface="Arial Unicode MS" pitchFamily="34" charset="-128"/>
              </a:rPr>
              <a:t>Szórakozás</a:t>
            </a:r>
          </a:p>
        </p:txBody>
      </p:sp>
      <p:sp>
        <p:nvSpPr>
          <p:cNvPr id="83973" name="TextBox 9"/>
          <p:cNvSpPr txBox="1">
            <a:spLocks noChangeArrowheads="1"/>
          </p:cNvSpPr>
          <p:nvPr/>
        </p:nvSpPr>
        <p:spPr bwMode="auto">
          <a:xfrm>
            <a:off x="2321780" y="4657725"/>
            <a:ext cx="1555750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5400" b="1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87%</a:t>
            </a:r>
          </a:p>
        </p:txBody>
      </p:sp>
      <p:grpSp>
        <p:nvGrpSpPr>
          <p:cNvPr id="83975" name="Group 62"/>
          <p:cNvGrpSpPr>
            <a:grpSpLocks/>
          </p:cNvGrpSpPr>
          <p:nvPr/>
        </p:nvGrpSpPr>
        <p:grpSpPr bwMode="auto">
          <a:xfrm>
            <a:off x="764443" y="1670050"/>
            <a:ext cx="1341437" cy="938213"/>
            <a:chOff x="-4330700" y="0"/>
            <a:chExt cx="3389312" cy="2370138"/>
          </a:xfrm>
        </p:grpSpPr>
        <p:sp>
          <p:nvSpPr>
            <p:cNvPr id="83998" name="Freeform 6"/>
            <p:cNvSpPr>
              <a:spLocks noEditPoints="1"/>
            </p:cNvSpPr>
            <p:nvPr/>
          </p:nvSpPr>
          <p:spPr bwMode="auto">
            <a:xfrm>
              <a:off x="-2692400" y="0"/>
              <a:ext cx="1751012" cy="2073275"/>
            </a:xfrm>
            <a:custGeom>
              <a:avLst/>
              <a:gdLst>
                <a:gd name="T0" fmla="*/ 467 w 467"/>
                <a:gd name="T1" fmla="*/ 204 h 553"/>
                <a:gd name="T2" fmla="*/ 203 w 467"/>
                <a:gd name="T3" fmla="*/ 0 h 553"/>
                <a:gd name="T4" fmla="*/ 0 w 467"/>
                <a:gd name="T5" fmla="*/ 74 h 553"/>
                <a:gd name="T6" fmla="*/ 134 w 467"/>
                <a:gd name="T7" fmla="*/ 271 h 553"/>
                <a:gd name="T8" fmla="*/ 93 w 467"/>
                <a:gd name="T9" fmla="*/ 391 h 553"/>
                <a:gd name="T10" fmla="*/ 294 w 467"/>
                <a:gd name="T11" fmla="*/ 541 h 553"/>
                <a:gd name="T12" fmla="*/ 211 w 467"/>
                <a:gd name="T13" fmla="*/ 409 h 553"/>
                <a:gd name="T14" fmla="*/ 216 w 467"/>
                <a:gd name="T15" fmla="*/ 408 h 553"/>
                <a:gd name="T16" fmla="*/ 467 w 467"/>
                <a:gd name="T17" fmla="*/ 204 h 553"/>
                <a:gd name="T18" fmla="*/ 317 w 467"/>
                <a:gd name="T19" fmla="*/ 175 h 553"/>
                <a:gd name="T20" fmla="*/ 351 w 467"/>
                <a:gd name="T21" fmla="*/ 209 h 553"/>
                <a:gd name="T22" fmla="*/ 317 w 467"/>
                <a:gd name="T23" fmla="*/ 243 h 553"/>
                <a:gd name="T24" fmla="*/ 283 w 467"/>
                <a:gd name="T25" fmla="*/ 209 h 553"/>
                <a:gd name="T26" fmla="*/ 317 w 467"/>
                <a:gd name="T27" fmla="*/ 175 h 553"/>
                <a:gd name="T28" fmla="*/ 179 w 467"/>
                <a:gd name="T29" fmla="*/ 209 h 553"/>
                <a:gd name="T30" fmla="*/ 212 w 467"/>
                <a:gd name="T31" fmla="*/ 175 h 553"/>
                <a:gd name="T32" fmla="*/ 246 w 467"/>
                <a:gd name="T33" fmla="*/ 209 h 553"/>
                <a:gd name="T34" fmla="*/ 212 w 467"/>
                <a:gd name="T35" fmla="*/ 243 h 553"/>
                <a:gd name="T36" fmla="*/ 179 w 467"/>
                <a:gd name="T37" fmla="*/ 209 h 55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67"/>
                <a:gd name="T58" fmla="*/ 0 h 553"/>
                <a:gd name="T59" fmla="*/ 467 w 467"/>
                <a:gd name="T60" fmla="*/ 553 h 55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67" h="553">
                  <a:moveTo>
                    <a:pt x="467" y="204"/>
                  </a:moveTo>
                  <a:cubicBezTo>
                    <a:pt x="467" y="91"/>
                    <a:pt x="349" y="0"/>
                    <a:pt x="203" y="0"/>
                  </a:cubicBezTo>
                  <a:cubicBezTo>
                    <a:pt x="121" y="0"/>
                    <a:pt x="48" y="29"/>
                    <a:pt x="0" y="74"/>
                  </a:cubicBezTo>
                  <a:cubicBezTo>
                    <a:pt x="81" y="116"/>
                    <a:pt x="134" y="189"/>
                    <a:pt x="134" y="271"/>
                  </a:cubicBezTo>
                  <a:cubicBezTo>
                    <a:pt x="134" y="314"/>
                    <a:pt x="119" y="355"/>
                    <a:pt x="93" y="391"/>
                  </a:cubicBezTo>
                  <a:cubicBezTo>
                    <a:pt x="113" y="470"/>
                    <a:pt x="200" y="553"/>
                    <a:pt x="294" y="541"/>
                  </a:cubicBezTo>
                  <a:cubicBezTo>
                    <a:pt x="265" y="529"/>
                    <a:pt x="209" y="485"/>
                    <a:pt x="211" y="409"/>
                  </a:cubicBezTo>
                  <a:cubicBezTo>
                    <a:pt x="213" y="408"/>
                    <a:pt x="215" y="408"/>
                    <a:pt x="216" y="408"/>
                  </a:cubicBezTo>
                  <a:cubicBezTo>
                    <a:pt x="356" y="402"/>
                    <a:pt x="467" y="313"/>
                    <a:pt x="467" y="204"/>
                  </a:cubicBezTo>
                  <a:close/>
                  <a:moveTo>
                    <a:pt x="317" y="175"/>
                  </a:moveTo>
                  <a:cubicBezTo>
                    <a:pt x="336" y="175"/>
                    <a:pt x="351" y="190"/>
                    <a:pt x="351" y="209"/>
                  </a:cubicBezTo>
                  <a:cubicBezTo>
                    <a:pt x="351" y="228"/>
                    <a:pt x="336" y="243"/>
                    <a:pt x="317" y="243"/>
                  </a:cubicBezTo>
                  <a:cubicBezTo>
                    <a:pt x="299" y="243"/>
                    <a:pt x="283" y="228"/>
                    <a:pt x="283" y="209"/>
                  </a:cubicBezTo>
                  <a:cubicBezTo>
                    <a:pt x="283" y="190"/>
                    <a:pt x="299" y="175"/>
                    <a:pt x="317" y="175"/>
                  </a:cubicBezTo>
                  <a:close/>
                  <a:moveTo>
                    <a:pt x="179" y="209"/>
                  </a:moveTo>
                  <a:cubicBezTo>
                    <a:pt x="179" y="190"/>
                    <a:pt x="194" y="175"/>
                    <a:pt x="212" y="175"/>
                  </a:cubicBezTo>
                  <a:cubicBezTo>
                    <a:pt x="231" y="175"/>
                    <a:pt x="246" y="190"/>
                    <a:pt x="246" y="209"/>
                  </a:cubicBezTo>
                  <a:cubicBezTo>
                    <a:pt x="246" y="228"/>
                    <a:pt x="231" y="243"/>
                    <a:pt x="212" y="243"/>
                  </a:cubicBezTo>
                  <a:cubicBezTo>
                    <a:pt x="194" y="243"/>
                    <a:pt x="179" y="228"/>
                    <a:pt x="179" y="209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3999" name="Freeform 7"/>
            <p:cNvSpPr>
              <a:spLocks noEditPoints="1"/>
            </p:cNvSpPr>
            <p:nvPr/>
          </p:nvSpPr>
          <p:spPr bwMode="auto">
            <a:xfrm>
              <a:off x="-4330700" y="225425"/>
              <a:ext cx="2046287" cy="2144713"/>
            </a:xfrm>
            <a:custGeom>
              <a:avLst/>
              <a:gdLst>
                <a:gd name="T0" fmla="*/ 546 w 546"/>
                <a:gd name="T1" fmla="*/ 211 h 572"/>
                <a:gd name="T2" fmla="*/ 273 w 546"/>
                <a:gd name="T3" fmla="*/ 0 h 572"/>
                <a:gd name="T4" fmla="*/ 0 w 546"/>
                <a:gd name="T5" fmla="*/ 211 h 572"/>
                <a:gd name="T6" fmla="*/ 260 w 546"/>
                <a:gd name="T7" fmla="*/ 421 h 572"/>
                <a:gd name="T8" fmla="*/ 265 w 546"/>
                <a:gd name="T9" fmla="*/ 423 h 572"/>
                <a:gd name="T10" fmla="*/ 180 w 546"/>
                <a:gd name="T11" fmla="*/ 559 h 572"/>
                <a:gd name="T12" fmla="*/ 387 w 546"/>
                <a:gd name="T13" fmla="*/ 403 h 572"/>
                <a:gd name="T14" fmla="*/ 387 w 546"/>
                <a:gd name="T15" fmla="*/ 402 h 572"/>
                <a:gd name="T16" fmla="*/ 546 w 546"/>
                <a:gd name="T17" fmla="*/ 211 h 572"/>
                <a:gd name="T18" fmla="*/ 349 w 546"/>
                <a:gd name="T19" fmla="*/ 269 h 572"/>
                <a:gd name="T20" fmla="*/ 276 w 546"/>
                <a:gd name="T21" fmla="*/ 337 h 572"/>
                <a:gd name="T22" fmla="*/ 209 w 546"/>
                <a:gd name="T23" fmla="*/ 269 h 572"/>
                <a:gd name="T24" fmla="*/ 160 w 546"/>
                <a:gd name="T25" fmla="*/ 196 h 572"/>
                <a:gd name="T26" fmla="*/ 220 w 546"/>
                <a:gd name="T27" fmla="*/ 132 h 572"/>
                <a:gd name="T28" fmla="*/ 276 w 546"/>
                <a:gd name="T29" fmla="*/ 168 h 572"/>
                <a:gd name="T30" fmla="*/ 333 w 546"/>
                <a:gd name="T31" fmla="*/ 132 h 572"/>
                <a:gd name="T32" fmla="*/ 393 w 546"/>
                <a:gd name="T33" fmla="*/ 196 h 572"/>
                <a:gd name="T34" fmla="*/ 349 w 546"/>
                <a:gd name="T35" fmla="*/ 269 h 57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46"/>
                <a:gd name="T55" fmla="*/ 0 h 572"/>
                <a:gd name="T56" fmla="*/ 546 w 546"/>
                <a:gd name="T57" fmla="*/ 572 h 57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46" h="572">
                  <a:moveTo>
                    <a:pt x="546" y="211"/>
                  </a:moveTo>
                  <a:cubicBezTo>
                    <a:pt x="546" y="95"/>
                    <a:pt x="424" y="0"/>
                    <a:pt x="273" y="0"/>
                  </a:cubicBezTo>
                  <a:cubicBezTo>
                    <a:pt x="123" y="0"/>
                    <a:pt x="0" y="95"/>
                    <a:pt x="0" y="211"/>
                  </a:cubicBezTo>
                  <a:cubicBezTo>
                    <a:pt x="0" y="324"/>
                    <a:pt x="115" y="416"/>
                    <a:pt x="260" y="421"/>
                  </a:cubicBezTo>
                  <a:cubicBezTo>
                    <a:pt x="261" y="422"/>
                    <a:pt x="263" y="422"/>
                    <a:pt x="265" y="423"/>
                  </a:cubicBezTo>
                  <a:cubicBezTo>
                    <a:pt x="267" y="501"/>
                    <a:pt x="210" y="547"/>
                    <a:pt x="180" y="559"/>
                  </a:cubicBezTo>
                  <a:cubicBezTo>
                    <a:pt x="277" y="572"/>
                    <a:pt x="367" y="485"/>
                    <a:pt x="387" y="403"/>
                  </a:cubicBezTo>
                  <a:cubicBezTo>
                    <a:pt x="387" y="402"/>
                    <a:pt x="387" y="402"/>
                    <a:pt x="387" y="402"/>
                  </a:cubicBezTo>
                  <a:cubicBezTo>
                    <a:pt x="481" y="369"/>
                    <a:pt x="546" y="296"/>
                    <a:pt x="546" y="211"/>
                  </a:cubicBezTo>
                  <a:close/>
                  <a:moveTo>
                    <a:pt x="349" y="269"/>
                  </a:moveTo>
                  <a:cubicBezTo>
                    <a:pt x="349" y="269"/>
                    <a:pt x="291" y="310"/>
                    <a:pt x="276" y="337"/>
                  </a:cubicBezTo>
                  <a:cubicBezTo>
                    <a:pt x="262" y="310"/>
                    <a:pt x="209" y="269"/>
                    <a:pt x="209" y="269"/>
                  </a:cubicBezTo>
                  <a:cubicBezTo>
                    <a:pt x="195" y="257"/>
                    <a:pt x="160" y="236"/>
                    <a:pt x="160" y="196"/>
                  </a:cubicBezTo>
                  <a:cubicBezTo>
                    <a:pt x="160" y="156"/>
                    <a:pt x="193" y="132"/>
                    <a:pt x="220" y="132"/>
                  </a:cubicBezTo>
                  <a:cubicBezTo>
                    <a:pt x="247" y="132"/>
                    <a:pt x="265" y="148"/>
                    <a:pt x="276" y="168"/>
                  </a:cubicBezTo>
                  <a:cubicBezTo>
                    <a:pt x="288" y="148"/>
                    <a:pt x="305" y="132"/>
                    <a:pt x="333" y="132"/>
                  </a:cubicBezTo>
                  <a:cubicBezTo>
                    <a:pt x="360" y="132"/>
                    <a:pt x="393" y="156"/>
                    <a:pt x="393" y="196"/>
                  </a:cubicBezTo>
                  <a:cubicBezTo>
                    <a:pt x="393" y="236"/>
                    <a:pt x="365" y="254"/>
                    <a:pt x="349" y="269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83976" name="Group 80"/>
          <p:cNvGrpSpPr>
            <a:grpSpLocks/>
          </p:cNvGrpSpPr>
          <p:nvPr/>
        </p:nvGrpSpPr>
        <p:grpSpPr bwMode="auto">
          <a:xfrm>
            <a:off x="1078768" y="4770438"/>
            <a:ext cx="1066800" cy="969962"/>
            <a:chOff x="1349884" y="2956242"/>
            <a:chExt cx="1066799" cy="969963"/>
          </a:xfrm>
        </p:grpSpPr>
        <p:sp>
          <p:nvSpPr>
            <p:cNvPr id="83991" name="Freeform 45"/>
            <p:cNvSpPr>
              <a:spLocks/>
            </p:cNvSpPr>
            <p:nvPr/>
          </p:nvSpPr>
          <p:spPr bwMode="auto">
            <a:xfrm>
              <a:off x="1349884" y="2956242"/>
              <a:ext cx="971550" cy="969963"/>
            </a:xfrm>
            <a:custGeom>
              <a:avLst/>
              <a:gdLst>
                <a:gd name="T0" fmla="*/ 749 w 840"/>
                <a:gd name="T1" fmla="*/ 421 h 839"/>
                <a:gd name="T2" fmla="*/ 419 w 840"/>
                <a:gd name="T3" fmla="*/ 90 h 839"/>
                <a:gd name="T4" fmla="*/ 91 w 840"/>
                <a:gd name="T5" fmla="*/ 90 h 839"/>
                <a:gd name="T6" fmla="*/ 91 w 840"/>
                <a:gd name="T7" fmla="*/ 418 h 839"/>
                <a:gd name="T8" fmla="*/ 298 w 840"/>
                <a:gd name="T9" fmla="*/ 482 h 839"/>
                <a:gd name="T10" fmla="*/ 298 w 840"/>
                <a:gd name="T11" fmla="*/ 482 h 839"/>
                <a:gd name="T12" fmla="*/ 344 w 840"/>
                <a:gd name="T13" fmla="*/ 495 h 839"/>
                <a:gd name="T14" fmla="*/ 357 w 840"/>
                <a:gd name="T15" fmla="*/ 541 h 839"/>
                <a:gd name="T16" fmla="*/ 357 w 840"/>
                <a:gd name="T17" fmla="*/ 541 h 839"/>
                <a:gd name="T18" fmla="*/ 421 w 840"/>
                <a:gd name="T19" fmla="*/ 749 h 839"/>
                <a:gd name="T20" fmla="*/ 749 w 840"/>
                <a:gd name="T21" fmla="*/ 749 h 839"/>
                <a:gd name="T22" fmla="*/ 749 w 840"/>
                <a:gd name="T23" fmla="*/ 421 h 83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40"/>
                <a:gd name="T37" fmla="*/ 0 h 839"/>
                <a:gd name="T38" fmla="*/ 840 w 840"/>
                <a:gd name="T39" fmla="*/ 839 h 83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40" h="839">
                  <a:moveTo>
                    <a:pt x="749" y="421"/>
                  </a:moveTo>
                  <a:cubicBezTo>
                    <a:pt x="419" y="90"/>
                    <a:pt x="419" y="90"/>
                    <a:pt x="419" y="90"/>
                  </a:cubicBezTo>
                  <a:cubicBezTo>
                    <a:pt x="328" y="0"/>
                    <a:pt x="181" y="0"/>
                    <a:pt x="91" y="90"/>
                  </a:cubicBezTo>
                  <a:cubicBezTo>
                    <a:pt x="0" y="181"/>
                    <a:pt x="0" y="328"/>
                    <a:pt x="91" y="418"/>
                  </a:cubicBezTo>
                  <a:cubicBezTo>
                    <a:pt x="147" y="475"/>
                    <a:pt x="225" y="496"/>
                    <a:pt x="298" y="482"/>
                  </a:cubicBezTo>
                  <a:cubicBezTo>
                    <a:pt x="298" y="482"/>
                    <a:pt x="298" y="482"/>
                    <a:pt x="298" y="482"/>
                  </a:cubicBezTo>
                  <a:cubicBezTo>
                    <a:pt x="314" y="478"/>
                    <a:pt x="332" y="482"/>
                    <a:pt x="344" y="495"/>
                  </a:cubicBezTo>
                  <a:cubicBezTo>
                    <a:pt x="357" y="507"/>
                    <a:pt x="361" y="525"/>
                    <a:pt x="357" y="541"/>
                  </a:cubicBezTo>
                  <a:cubicBezTo>
                    <a:pt x="357" y="541"/>
                    <a:pt x="357" y="541"/>
                    <a:pt x="357" y="541"/>
                  </a:cubicBezTo>
                  <a:cubicBezTo>
                    <a:pt x="343" y="614"/>
                    <a:pt x="365" y="692"/>
                    <a:pt x="421" y="749"/>
                  </a:cubicBezTo>
                  <a:cubicBezTo>
                    <a:pt x="512" y="839"/>
                    <a:pt x="658" y="839"/>
                    <a:pt x="749" y="749"/>
                  </a:cubicBezTo>
                  <a:cubicBezTo>
                    <a:pt x="840" y="658"/>
                    <a:pt x="840" y="511"/>
                    <a:pt x="749" y="421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238" name="Freeform 46"/>
            <p:cNvSpPr>
              <a:spLocks/>
            </p:cNvSpPr>
            <p:nvPr/>
          </p:nvSpPr>
          <p:spPr bwMode="auto">
            <a:xfrm>
              <a:off x="1516571" y="3129279"/>
              <a:ext cx="239713" cy="234950"/>
            </a:xfrm>
            <a:custGeom>
              <a:avLst/>
              <a:gdLst/>
              <a:ahLst/>
              <a:cxnLst>
                <a:cxn ang="0">
                  <a:pos x="195" y="195"/>
                </a:cxn>
                <a:cxn ang="0">
                  <a:pos x="173" y="204"/>
                </a:cxn>
                <a:cxn ang="0">
                  <a:pos x="150" y="195"/>
                </a:cxn>
                <a:cxn ang="0">
                  <a:pos x="105" y="150"/>
                </a:cxn>
                <a:cxn ang="0">
                  <a:pos x="102" y="147"/>
                </a:cxn>
                <a:cxn ang="0">
                  <a:pos x="99" y="150"/>
                </a:cxn>
                <a:cxn ang="0">
                  <a:pos x="54" y="195"/>
                </a:cxn>
                <a:cxn ang="0">
                  <a:pos x="31" y="204"/>
                </a:cxn>
                <a:cxn ang="0">
                  <a:pos x="9" y="195"/>
                </a:cxn>
                <a:cxn ang="0">
                  <a:pos x="0" y="173"/>
                </a:cxn>
                <a:cxn ang="0">
                  <a:pos x="9" y="150"/>
                </a:cxn>
                <a:cxn ang="0">
                  <a:pos x="54" y="105"/>
                </a:cxn>
                <a:cxn ang="0">
                  <a:pos x="57" y="102"/>
                </a:cxn>
                <a:cxn ang="0">
                  <a:pos x="54" y="99"/>
                </a:cxn>
                <a:cxn ang="0">
                  <a:pos x="9" y="54"/>
                </a:cxn>
                <a:cxn ang="0">
                  <a:pos x="0" y="31"/>
                </a:cxn>
                <a:cxn ang="0">
                  <a:pos x="9" y="9"/>
                </a:cxn>
                <a:cxn ang="0">
                  <a:pos x="32" y="0"/>
                </a:cxn>
                <a:cxn ang="0">
                  <a:pos x="54" y="9"/>
                </a:cxn>
                <a:cxn ang="0">
                  <a:pos x="99" y="54"/>
                </a:cxn>
                <a:cxn ang="0">
                  <a:pos x="102" y="57"/>
                </a:cxn>
                <a:cxn ang="0">
                  <a:pos x="105" y="54"/>
                </a:cxn>
                <a:cxn ang="0">
                  <a:pos x="150" y="9"/>
                </a:cxn>
                <a:cxn ang="0">
                  <a:pos x="172" y="0"/>
                </a:cxn>
                <a:cxn ang="0">
                  <a:pos x="195" y="9"/>
                </a:cxn>
                <a:cxn ang="0">
                  <a:pos x="195" y="54"/>
                </a:cxn>
                <a:cxn ang="0">
                  <a:pos x="150" y="99"/>
                </a:cxn>
                <a:cxn ang="0">
                  <a:pos x="147" y="102"/>
                </a:cxn>
                <a:cxn ang="0">
                  <a:pos x="150" y="105"/>
                </a:cxn>
                <a:cxn ang="0">
                  <a:pos x="195" y="150"/>
                </a:cxn>
                <a:cxn ang="0">
                  <a:pos x="195" y="195"/>
                </a:cxn>
              </a:cxnLst>
              <a:rect l="0" t="0" r="r" b="b"/>
              <a:pathLst>
                <a:path w="208" h="204">
                  <a:moveTo>
                    <a:pt x="195" y="195"/>
                  </a:moveTo>
                  <a:cubicBezTo>
                    <a:pt x="189" y="201"/>
                    <a:pt x="181" y="204"/>
                    <a:pt x="173" y="204"/>
                  </a:cubicBezTo>
                  <a:cubicBezTo>
                    <a:pt x="164" y="204"/>
                    <a:pt x="156" y="201"/>
                    <a:pt x="150" y="195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2" y="147"/>
                    <a:pt x="102" y="147"/>
                    <a:pt x="102" y="147"/>
                  </a:cubicBezTo>
                  <a:cubicBezTo>
                    <a:pt x="99" y="150"/>
                    <a:pt x="99" y="150"/>
                    <a:pt x="99" y="150"/>
                  </a:cubicBezTo>
                  <a:cubicBezTo>
                    <a:pt x="54" y="195"/>
                    <a:pt x="54" y="195"/>
                    <a:pt x="54" y="195"/>
                  </a:cubicBezTo>
                  <a:cubicBezTo>
                    <a:pt x="48" y="201"/>
                    <a:pt x="40" y="204"/>
                    <a:pt x="31" y="204"/>
                  </a:cubicBezTo>
                  <a:cubicBezTo>
                    <a:pt x="23" y="204"/>
                    <a:pt x="15" y="201"/>
                    <a:pt x="9" y="195"/>
                  </a:cubicBezTo>
                  <a:cubicBezTo>
                    <a:pt x="3" y="189"/>
                    <a:pt x="0" y="181"/>
                    <a:pt x="0" y="173"/>
                  </a:cubicBezTo>
                  <a:cubicBezTo>
                    <a:pt x="0" y="164"/>
                    <a:pt x="3" y="156"/>
                    <a:pt x="9" y="150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7" y="102"/>
                    <a:pt x="57" y="102"/>
                    <a:pt x="57" y="102"/>
                  </a:cubicBezTo>
                  <a:cubicBezTo>
                    <a:pt x="54" y="99"/>
                    <a:pt x="54" y="99"/>
                    <a:pt x="54" y="99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3" y="48"/>
                    <a:pt x="0" y="40"/>
                    <a:pt x="0" y="31"/>
                  </a:cubicBezTo>
                  <a:cubicBezTo>
                    <a:pt x="0" y="23"/>
                    <a:pt x="3" y="15"/>
                    <a:pt x="9" y="9"/>
                  </a:cubicBezTo>
                  <a:cubicBezTo>
                    <a:pt x="15" y="3"/>
                    <a:pt x="23" y="0"/>
                    <a:pt x="32" y="0"/>
                  </a:cubicBezTo>
                  <a:cubicBezTo>
                    <a:pt x="40" y="0"/>
                    <a:pt x="48" y="3"/>
                    <a:pt x="54" y="9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50" y="9"/>
                    <a:pt x="150" y="9"/>
                    <a:pt x="150" y="9"/>
                  </a:cubicBezTo>
                  <a:cubicBezTo>
                    <a:pt x="156" y="3"/>
                    <a:pt x="164" y="0"/>
                    <a:pt x="172" y="0"/>
                  </a:cubicBezTo>
                  <a:cubicBezTo>
                    <a:pt x="181" y="0"/>
                    <a:pt x="189" y="3"/>
                    <a:pt x="195" y="9"/>
                  </a:cubicBezTo>
                  <a:cubicBezTo>
                    <a:pt x="207" y="21"/>
                    <a:pt x="207" y="42"/>
                    <a:pt x="195" y="54"/>
                  </a:cubicBezTo>
                  <a:cubicBezTo>
                    <a:pt x="150" y="99"/>
                    <a:pt x="150" y="99"/>
                    <a:pt x="150" y="99"/>
                  </a:cubicBezTo>
                  <a:cubicBezTo>
                    <a:pt x="147" y="102"/>
                    <a:pt x="147" y="102"/>
                    <a:pt x="147" y="102"/>
                  </a:cubicBezTo>
                  <a:cubicBezTo>
                    <a:pt x="150" y="105"/>
                    <a:pt x="150" y="105"/>
                    <a:pt x="150" y="105"/>
                  </a:cubicBezTo>
                  <a:cubicBezTo>
                    <a:pt x="195" y="150"/>
                    <a:pt x="195" y="150"/>
                    <a:pt x="195" y="150"/>
                  </a:cubicBezTo>
                  <a:cubicBezTo>
                    <a:pt x="208" y="163"/>
                    <a:pt x="208" y="183"/>
                    <a:pt x="195" y="195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239" name="Freeform 47"/>
            <p:cNvSpPr>
              <a:spLocks/>
            </p:cNvSpPr>
            <p:nvPr/>
          </p:nvSpPr>
          <p:spPr bwMode="auto">
            <a:xfrm>
              <a:off x="1884870" y="3489643"/>
              <a:ext cx="117475" cy="117475"/>
            </a:xfrm>
            <a:custGeom>
              <a:avLst/>
              <a:gdLst/>
              <a:ahLst/>
              <a:cxnLst>
                <a:cxn ang="0">
                  <a:pos x="18" y="18"/>
                </a:cxn>
                <a:cxn ang="0">
                  <a:pos x="83" y="18"/>
                </a:cxn>
                <a:cxn ang="0">
                  <a:pos x="83" y="84"/>
                </a:cxn>
                <a:cxn ang="0">
                  <a:pos x="18" y="84"/>
                </a:cxn>
                <a:cxn ang="0">
                  <a:pos x="18" y="18"/>
                </a:cxn>
              </a:cxnLst>
              <a:rect l="0" t="0" r="r" b="b"/>
              <a:pathLst>
                <a:path w="101" h="102">
                  <a:moveTo>
                    <a:pt x="18" y="18"/>
                  </a:moveTo>
                  <a:cubicBezTo>
                    <a:pt x="36" y="0"/>
                    <a:pt x="65" y="0"/>
                    <a:pt x="83" y="18"/>
                  </a:cubicBezTo>
                  <a:cubicBezTo>
                    <a:pt x="101" y="36"/>
                    <a:pt x="101" y="66"/>
                    <a:pt x="83" y="84"/>
                  </a:cubicBezTo>
                  <a:cubicBezTo>
                    <a:pt x="65" y="102"/>
                    <a:pt x="36" y="102"/>
                    <a:pt x="18" y="84"/>
                  </a:cubicBezTo>
                  <a:cubicBezTo>
                    <a:pt x="0" y="66"/>
                    <a:pt x="0" y="36"/>
                    <a:pt x="18" y="18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240" name="Freeform 48"/>
            <p:cNvSpPr>
              <a:spLocks/>
            </p:cNvSpPr>
            <p:nvPr/>
          </p:nvSpPr>
          <p:spPr bwMode="auto">
            <a:xfrm>
              <a:off x="1884870" y="3656330"/>
              <a:ext cx="117475" cy="117475"/>
            </a:xfrm>
            <a:custGeom>
              <a:avLst/>
              <a:gdLst/>
              <a:ahLst/>
              <a:cxnLst>
                <a:cxn ang="0">
                  <a:pos x="83" y="83"/>
                </a:cxn>
                <a:cxn ang="0">
                  <a:pos x="18" y="83"/>
                </a:cxn>
                <a:cxn ang="0">
                  <a:pos x="18" y="18"/>
                </a:cxn>
                <a:cxn ang="0">
                  <a:pos x="83" y="18"/>
                </a:cxn>
                <a:cxn ang="0">
                  <a:pos x="83" y="83"/>
                </a:cxn>
              </a:cxnLst>
              <a:rect l="0" t="0" r="r" b="b"/>
              <a:pathLst>
                <a:path w="101" h="101">
                  <a:moveTo>
                    <a:pt x="83" y="83"/>
                  </a:moveTo>
                  <a:cubicBezTo>
                    <a:pt x="65" y="101"/>
                    <a:pt x="36" y="101"/>
                    <a:pt x="18" y="83"/>
                  </a:cubicBezTo>
                  <a:cubicBezTo>
                    <a:pt x="0" y="65"/>
                    <a:pt x="0" y="36"/>
                    <a:pt x="18" y="18"/>
                  </a:cubicBezTo>
                  <a:cubicBezTo>
                    <a:pt x="36" y="0"/>
                    <a:pt x="65" y="0"/>
                    <a:pt x="83" y="18"/>
                  </a:cubicBezTo>
                  <a:cubicBezTo>
                    <a:pt x="101" y="36"/>
                    <a:pt x="101" y="65"/>
                    <a:pt x="83" y="83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241" name="Freeform 49"/>
            <p:cNvSpPr>
              <a:spLocks/>
            </p:cNvSpPr>
            <p:nvPr/>
          </p:nvSpPr>
          <p:spPr bwMode="auto">
            <a:xfrm>
              <a:off x="2049970" y="3656330"/>
              <a:ext cx="117475" cy="117475"/>
            </a:xfrm>
            <a:custGeom>
              <a:avLst/>
              <a:gdLst/>
              <a:ahLst/>
              <a:cxnLst>
                <a:cxn ang="0">
                  <a:pos x="83" y="83"/>
                </a:cxn>
                <a:cxn ang="0">
                  <a:pos x="18" y="83"/>
                </a:cxn>
                <a:cxn ang="0">
                  <a:pos x="18" y="18"/>
                </a:cxn>
                <a:cxn ang="0">
                  <a:pos x="83" y="18"/>
                </a:cxn>
                <a:cxn ang="0">
                  <a:pos x="83" y="83"/>
                </a:cxn>
              </a:cxnLst>
              <a:rect l="0" t="0" r="r" b="b"/>
              <a:pathLst>
                <a:path w="101" h="101">
                  <a:moveTo>
                    <a:pt x="83" y="83"/>
                  </a:moveTo>
                  <a:cubicBezTo>
                    <a:pt x="65" y="101"/>
                    <a:pt x="36" y="101"/>
                    <a:pt x="18" y="83"/>
                  </a:cubicBezTo>
                  <a:cubicBezTo>
                    <a:pt x="0" y="65"/>
                    <a:pt x="0" y="36"/>
                    <a:pt x="18" y="18"/>
                  </a:cubicBezTo>
                  <a:cubicBezTo>
                    <a:pt x="36" y="0"/>
                    <a:pt x="65" y="0"/>
                    <a:pt x="83" y="18"/>
                  </a:cubicBezTo>
                  <a:cubicBezTo>
                    <a:pt x="101" y="36"/>
                    <a:pt x="101" y="65"/>
                    <a:pt x="83" y="83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242" name="Freeform 50"/>
            <p:cNvSpPr>
              <a:spLocks/>
            </p:cNvSpPr>
            <p:nvPr/>
          </p:nvSpPr>
          <p:spPr bwMode="auto">
            <a:xfrm>
              <a:off x="2049970" y="3489643"/>
              <a:ext cx="117475" cy="117475"/>
            </a:xfrm>
            <a:custGeom>
              <a:avLst/>
              <a:gdLst/>
              <a:ahLst/>
              <a:cxnLst>
                <a:cxn ang="0">
                  <a:pos x="83" y="84"/>
                </a:cxn>
                <a:cxn ang="0">
                  <a:pos x="18" y="84"/>
                </a:cxn>
                <a:cxn ang="0">
                  <a:pos x="18" y="18"/>
                </a:cxn>
                <a:cxn ang="0">
                  <a:pos x="83" y="18"/>
                </a:cxn>
                <a:cxn ang="0">
                  <a:pos x="83" y="84"/>
                </a:cxn>
              </a:cxnLst>
              <a:rect l="0" t="0" r="r" b="b"/>
              <a:pathLst>
                <a:path w="101" h="102">
                  <a:moveTo>
                    <a:pt x="83" y="84"/>
                  </a:moveTo>
                  <a:cubicBezTo>
                    <a:pt x="65" y="102"/>
                    <a:pt x="36" y="102"/>
                    <a:pt x="18" y="84"/>
                  </a:cubicBezTo>
                  <a:cubicBezTo>
                    <a:pt x="0" y="66"/>
                    <a:pt x="0" y="37"/>
                    <a:pt x="18" y="18"/>
                  </a:cubicBezTo>
                  <a:cubicBezTo>
                    <a:pt x="36" y="0"/>
                    <a:pt x="65" y="0"/>
                    <a:pt x="83" y="18"/>
                  </a:cubicBezTo>
                  <a:cubicBezTo>
                    <a:pt x="101" y="37"/>
                    <a:pt x="101" y="66"/>
                    <a:pt x="83" y="84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3997" name="Freeform 51"/>
            <p:cNvSpPr>
              <a:spLocks/>
            </p:cNvSpPr>
            <p:nvPr/>
          </p:nvSpPr>
          <p:spPr bwMode="auto">
            <a:xfrm>
              <a:off x="1981708" y="3102293"/>
              <a:ext cx="434975" cy="195263"/>
            </a:xfrm>
            <a:custGeom>
              <a:avLst/>
              <a:gdLst>
                <a:gd name="T0" fmla="*/ 370 w 377"/>
                <a:gd name="T1" fmla="*/ 62 h 169"/>
                <a:gd name="T2" fmla="*/ 299 w 377"/>
                <a:gd name="T3" fmla="*/ 91 h 169"/>
                <a:gd name="T4" fmla="*/ 228 w 377"/>
                <a:gd name="T5" fmla="*/ 62 h 169"/>
                <a:gd name="T6" fmla="*/ 130 w 377"/>
                <a:gd name="T7" fmla="*/ 62 h 169"/>
                <a:gd name="T8" fmla="*/ 109 w 377"/>
                <a:gd name="T9" fmla="*/ 83 h 169"/>
                <a:gd name="T10" fmla="*/ 138 w 377"/>
                <a:gd name="T11" fmla="*/ 112 h 169"/>
                <a:gd name="T12" fmla="*/ 138 w 377"/>
                <a:gd name="T13" fmla="*/ 157 h 169"/>
                <a:gd name="T14" fmla="*/ 93 w 377"/>
                <a:gd name="T15" fmla="*/ 157 h 169"/>
                <a:gd name="T16" fmla="*/ 12 w 377"/>
                <a:gd name="T17" fmla="*/ 76 h 169"/>
                <a:gd name="T18" fmla="*/ 12 w 377"/>
                <a:gd name="T19" fmla="*/ 31 h 169"/>
                <a:gd name="T20" fmla="*/ 58 w 377"/>
                <a:gd name="T21" fmla="*/ 31 h 169"/>
                <a:gd name="T22" fmla="*/ 87 w 377"/>
                <a:gd name="T23" fmla="*/ 60 h 169"/>
                <a:gd name="T24" fmla="*/ 108 w 377"/>
                <a:gd name="T25" fmla="*/ 39 h 169"/>
                <a:gd name="T26" fmla="*/ 250 w 377"/>
                <a:gd name="T27" fmla="*/ 39 h 169"/>
                <a:gd name="T28" fmla="*/ 299 w 377"/>
                <a:gd name="T29" fmla="*/ 59 h 169"/>
                <a:gd name="T30" fmla="*/ 348 w 377"/>
                <a:gd name="T31" fmla="*/ 39 h 169"/>
                <a:gd name="T32" fmla="*/ 370 w 377"/>
                <a:gd name="T33" fmla="*/ 39 h 169"/>
                <a:gd name="T34" fmla="*/ 370 w 377"/>
                <a:gd name="T35" fmla="*/ 62 h 16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77"/>
                <a:gd name="T55" fmla="*/ 0 h 169"/>
                <a:gd name="T56" fmla="*/ 377 w 377"/>
                <a:gd name="T57" fmla="*/ 169 h 16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77" h="169">
                  <a:moveTo>
                    <a:pt x="370" y="62"/>
                  </a:moveTo>
                  <a:cubicBezTo>
                    <a:pt x="351" y="81"/>
                    <a:pt x="326" y="91"/>
                    <a:pt x="299" y="91"/>
                  </a:cubicBezTo>
                  <a:cubicBezTo>
                    <a:pt x="272" y="91"/>
                    <a:pt x="247" y="81"/>
                    <a:pt x="228" y="62"/>
                  </a:cubicBezTo>
                  <a:cubicBezTo>
                    <a:pt x="201" y="35"/>
                    <a:pt x="157" y="35"/>
                    <a:pt x="130" y="62"/>
                  </a:cubicBezTo>
                  <a:cubicBezTo>
                    <a:pt x="109" y="83"/>
                    <a:pt x="109" y="83"/>
                    <a:pt x="109" y="83"/>
                  </a:cubicBezTo>
                  <a:cubicBezTo>
                    <a:pt x="138" y="112"/>
                    <a:pt x="138" y="112"/>
                    <a:pt x="138" y="112"/>
                  </a:cubicBezTo>
                  <a:cubicBezTo>
                    <a:pt x="151" y="124"/>
                    <a:pt x="151" y="144"/>
                    <a:pt x="138" y="157"/>
                  </a:cubicBezTo>
                  <a:cubicBezTo>
                    <a:pt x="126" y="169"/>
                    <a:pt x="105" y="169"/>
                    <a:pt x="93" y="157"/>
                  </a:cubicBezTo>
                  <a:cubicBezTo>
                    <a:pt x="12" y="76"/>
                    <a:pt x="12" y="76"/>
                    <a:pt x="12" y="76"/>
                  </a:cubicBezTo>
                  <a:cubicBezTo>
                    <a:pt x="0" y="64"/>
                    <a:pt x="0" y="44"/>
                    <a:pt x="12" y="31"/>
                  </a:cubicBezTo>
                  <a:cubicBezTo>
                    <a:pt x="25" y="19"/>
                    <a:pt x="45" y="19"/>
                    <a:pt x="58" y="31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47" y="0"/>
                    <a:pt x="211" y="0"/>
                    <a:pt x="250" y="39"/>
                  </a:cubicBezTo>
                  <a:cubicBezTo>
                    <a:pt x="263" y="52"/>
                    <a:pt x="281" y="59"/>
                    <a:pt x="299" y="59"/>
                  </a:cubicBezTo>
                  <a:cubicBezTo>
                    <a:pt x="317" y="59"/>
                    <a:pt x="335" y="52"/>
                    <a:pt x="348" y="39"/>
                  </a:cubicBezTo>
                  <a:cubicBezTo>
                    <a:pt x="354" y="33"/>
                    <a:pt x="364" y="33"/>
                    <a:pt x="370" y="39"/>
                  </a:cubicBezTo>
                  <a:cubicBezTo>
                    <a:pt x="377" y="45"/>
                    <a:pt x="377" y="55"/>
                    <a:pt x="370" y="62"/>
                  </a:cubicBez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83977" name="TextBox 76"/>
          <p:cNvSpPr txBox="1">
            <a:spLocks noChangeArrowheads="1"/>
          </p:cNvSpPr>
          <p:nvPr/>
        </p:nvSpPr>
        <p:spPr bwMode="auto">
          <a:xfrm>
            <a:off x="1801080" y="3695700"/>
            <a:ext cx="2076450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1500" spc="-20">
                <a:ea typeface="Arial Unicode MS" pitchFamily="34" charset="-128"/>
                <a:cs typeface="Arial Unicode MS" pitchFamily="34" charset="-128"/>
              </a:rPr>
              <a:t>Információszerzés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2321780" y="2987675"/>
            <a:ext cx="1555750" cy="831850"/>
          </a:xfrm>
          <a:prstGeom prst="rect">
            <a:avLst/>
          </a:prstGeom>
          <a:noFill/>
          <a:ln>
            <a:noFill/>
          </a:ln>
        </p:spPr>
        <p:txBody>
          <a:bodyPr wrap="none" anchor="ctr">
            <a:noAutofit/>
          </a:bodyPr>
          <a:lstStyle/>
          <a:p>
            <a:pPr algn="r">
              <a:lnSpc>
                <a:spcPct val="90000"/>
              </a:lnSpc>
              <a:defRPr/>
            </a:pPr>
            <a:r>
              <a:rPr lang="hu-HU" sz="5400" b="1" smtClean="0">
                <a:solidFill>
                  <a:schemeClr val="accent3"/>
                </a:solidFill>
                <a:ea typeface="Arial Unicode MS" pitchFamily="34" charset="-128"/>
                <a:cs typeface="Arial Unicode MS" pitchFamily="34" charset="-128"/>
              </a:rPr>
              <a:t>67%</a:t>
            </a:r>
            <a:endParaRPr lang="hu-HU" sz="5400" b="1">
              <a:solidFill>
                <a:schemeClr val="accent3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979" name="TextBox 78"/>
          <p:cNvSpPr txBox="1">
            <a:spLocks noChangeArrowheads="1"/>
          </p:cNvSpPr>
          <p:nvPr/>
        </p:nvSpPr>
        <p:spPr bwMode="auto">
          <a:xfrm>
            <a:off x="1801080" y="2268538"/>
            <a:ext cx="2076450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1500">
                <a:ea typeface="Arial Unicode MS" pitchFamily="34" charset="-128"/>
                <a:cs typeface="Arial Unicode MS" pitchFamily="34" charset="-128"/>
              </a:rPr>
              <a:t>Kommunikáció</a:t>
            </a:r>
          </a:p>
        </p:txBody>
      </p:sp>
      <p:sp>
        <p:nvSpPr>
          <p:cNvPr id="83980" name="TextBox 79"/>
          <p:cNvSpPr txBox="1">
            <a:spLocks noChangeArrowheads="1"/>
          </p:cNvSpPr>
          <p:nvPr/>
        </p:nvSpPr>
        <p:spPr bwMode="auto">
          <a:xfrm>
            <a:off x="2321780" y="1549400"/>
            <a:ext cx="1555750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pPr algn="r">
              <a:lnSpc>
                <a:spcPct val="90000"/>
              </a:lnSpc>
            </a:pPr>
            <a:r>
              <a:rPr lang="hu-HU" sz="5400" b="1">
                <a:solidFill>
                  <a:schemeClr val="accent2"/>
                </a:solidFill>
                <a:ea typeface="Arial Unicode MS" pitchFamily="34" charset="-128"/>
                <a:cs typeface="Arial Unicode MS" pitchFamily="34" charset="-128"/>
              </a:rPr>
              <a:t>79%</a:t>
            </a:r>
          </a:p>
        </p:txBody>
      </p:sp>
      <p:sp>
        <p:nvSpPr>
          <p:cNvPr id="83981" name="AutoShape 63"/>
          <p:cNvSpPr>
            <a:spLocks noChangeAspect="1" noChangeArrowheads="1" noTextEdit="1"/>
          </p:cNvSpPr>
          <p:nvPr/>
        </p:nvSpPr>
        <p:spPr bwMode="auto">
          <a:xfrm>
            <a:off x="989868" y="2974975"/>
            <a:ext cx="1201737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261" name="Freeform 69"/>
          <p:cNvSpPr>
            <a:spLocks noEditPoints="1"/>
          </p:cNvSpPr>
          <p:nvPr/>
        </p:nvSpPr>
        <p:spPr bwMode="auto">
          <a:xfrm>
            <a:off x="988280" y="2974975"/>
            <a:ext cx="1204913" cy="960438"/>
          </a:xfrm>
          <a:custGeom>
            <a:avLst/>
            <a:gdLst/>
            <a:ahLst/>
            <a:cxnLst>
              <a:cxn ang="0">
                <a:pos x="750" y="0"/>
              </a:cxn>
              <a:cxn ang="0">
                <a:pos x="0" y="591"/>
              </a:cxn>
              <a:cxn ang="0">
                <a:pos x="52" y="679"/>
              </a:cxn>
              <a:cxn ang="0">
                <a:pos x="54" y="679"/>
              </a:cxn>
              <a:cxn ang="0">
                <a:pos x="61" y="679"/>
              </a:cxn>
              <a:cxn ang="0">
                <a:pos x="661" y="679"/>
              </a:cxn>
              <a:cxn ang="0">
                <a:pos x="763" y="679"/>
              </a:cxn>
              <a:cxn ang="0">
                <a:pos x="851" y="582"/>
              </a:cxn>
              <a:cxn ang="0">
                <a:pos x="851" y="70"/>
              </a:cxn>
              <a:cxn ang="0">
                <a:pos x="816" y="547"/>
              </a:cxn>
              <a:cxn ang="0">
                <a:pos x="816" y="591"/>
              </a:cxn>
              <a:cxn ang="0">
                <a:pos x="98" y="644"/>
              </a:cxn>
              <a:cxn ang="0">
                <a:pos x="115" y="171"/>
              </a:cxn>
              <a:cxn ang="0">
                <a:pos x="115" y="105"/>
              </a:cxn>
              <a:cxn ang="0">
                <a:pos x="816" y="547"/>
              </a:cxn>
              <a:cxn ang="0">
                <a:pos x="483" y="345"/>
              </a:cxn>
              <a:cxn ang="0">
                <a:pos x="762" y="573"/>
              </a:cxn>
              <a:cxn ang="0">
                <a:pos x="623" y="390"/>
              </a:cxn>
              <a:cxn ang="0">
                <a:pos x="623" y="464"/>
              </a:cxn>
              <a:cxn ang="0">
                <a:pos x="623" y="390"/>
              </a:cxn>
              <a:cxn ang="0">
                <a:pos x="601" y="474"/>
              </a:cxn>
              <a:cxn ang="0">
                <a:pos x="645" y="474"/>
              </a:cxn>
              <a:cxn ang="0">
                <a:pos x="549" y="540"/>
              </a:cxn>
              <a:cxn ang="0">
                <a:pos x="405" y="399"/>
              </a:cxn>
              <a:cxn ang="0">
                <a:pos x="405" y="364"/>
              </a:cxn>
              <a:cxn ang="0">
                <a:pos x="187" y="382"/>
              </a:cxn>
              <a:cxn ang="0">
                <a:pos x="205" y="559"/>
              </a:cxn>
              <a:cxn ang="0">
                <a:pos x="422" y="542"/>
              </a:cxn>
              <a:cxn ang="0">
                <a:pos x="205" y="524"/>
              </a:cxn>
              <a:cxn ang="0">
                <a:pos x="205" y="559"/>
              </a:cxn>
              <a:cxn ang="0">
                <a:pos x="405" y="482"/>
              </a:cxn>
              <a:cxn ang="0">
                <a:pos x="405" y="446"/>
              </a:cxn>
              <a:cxn ang="0">
                <a:pos x="187" y="464"/>
              </a:cxn>
            </a:cxnLst>
            <a:rect l="0" t="0" r="r" b="b"/>
            <a:pathLst>
              <a:path w="851" h="679">
                <a:moveTo>
                  <a:pt x="750" y="70"/>
                </a:moveTo>
                <a:cubicBezTo>
                  <a:pt x="750" y="0"/>
                  <a:pt x="750" y="0"/>
                  <a:pt x="75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591"/>
                  <a:pt x="0" y="591"/>
                  <a:pt x="0" y="591"/>
                </a:cubicBezTo>
                <a:cubicBezTo>
                  <a:pt x="0" y="620"/>
                  <a:pt x="1" y="640"/>
                  <a:pt x="11" y="657"/>
                </a:cubicBezTo>
                <a:cubicBezTo>
                  <a:pt x="21" y="671"/>
                  <a:pt x="36" y="677"/>
                  <a:pt x="52" y="679"/>
                </a:cubicBezTo>
                <a:cubicBezTo>
                  <a:pt x="52" y="679"/>
                  <a:pt x="52" y="679"/>
                  <a:pt x="52" y="679"/>
                </a:cubicBezTo>
                <a:cubicBezTo>
                  <a:pt x="53" y="679"/>
                  <a:pt x="53" y="679"/>
                  <a:pt x="54" y="679"/>
                </a:cubicBezTo>
                <a:cubicBezTo>
                  <a:pt x="55" y="679"/>
                  <a:pt x="56" y="679"/>
                  <a:pt x="57" y="679"/>
                </a:cubicBezTo>
                <a:cubicBezTo>
                  <a:pt x="61" y="679"/>
                  <a:pt x="61" y="679"/>
                  <a:pt x="61" y="679"/>
                </a:cubicBezTo>
                <a:cubicBezTo>
                  <a:pt x="62" y="679"/>
                  <a:pt x="62" y="679"/>
                  <a:pt x="62" y="679"/>
                </a:cubicBezTo>
                <a:cubicBezTo>
                  <a:pt x="661" y="679"/>
                  <a:pt x="661" y="679"/>
                  <a:pt x="661" y="679"/>
                </a:cubicBezTo>
                <a:cubicBezTo>
                  <a:pt x="662" y="679"/>
                  <a:pt x="662" y="679"/>
                  <a:pt x="662" y="679"/>
                </a:cubicBezTo>
                <a:cubicBezTo>
                  <a:pt x="763" y="679"/>
                  <a:pt x="763" y="679"/>
                  <a:pt x="763" y="679"/>
                </a:cubicBezTo>
                <a:cubicBezTo>
                  <a:pt x="811" y="679"/>
                  <a:pt x="851" y="640"/>
                  <a:pt x="851" y="591"/>
                </a:cubicBezTo>
                <a:cubicBezTo>
                  <a:pt x="851" y="582"/>
                  <a:pt x="851" y="582"/>
                  <a:pt x="851" y="582"/>
                </a:cubicBezTo>
                <a:cubicBezTo>
                  <a:pt x="851" y="582"/>
                  <a:pt x="851" y="582"/>
                  <a:pt x="851" y="582"/>
                </a:cubicBezTo>
                <a:cubicBezTo>
                  <a:pt x="851" y="70"/>
                  <a:pt x="851" y="70"/>
                  <a:pt x="851" y="70"/>
                </a:cubicBezTo>
                <a:lnTo>
                  <a:pt x="750" y="70"/>
                </a:lnTo>
                <a:close/>
                <a:moveTo>
                  <a:pt x="816" y="547"/>
                </a:moveTo>
                <a:cubicBezTo>
                  <a:pt x="816" y="547"/>
                  <a:pt x="816" y="547"/>
                  <a:pt x="816" y="547"/>
                </a:cubicBezTo>
                <a:cubicBezTo>
                  <a:pt x="816" y="591"/>
                  <a:pt x="816" y="591"/>
                  <a:pt x="816" y="591"/>
                </a:cubicBezTo>
                <a:cubicBezTo>
                  <a:pt x="816" y="620"/>
                  <a:pt x="792" y="644"/>
                  <a:pt x="763" y="644"/>
                </a:cubicBezTo>
                <a:cubicBezTo>
                  <a:pt x="98" y="644"/>
                  <a:pt x="98" y="644"/>
                  <a:pt x="98" y="644"/>
                </a:cubicBezTo>
                <a:cubicBezTo>
                  <a:pt x="115" y="634"/>
                  <a:pt x="115" y="611"/>
                  <a:pt x="115" y="591"/>
                </a:cubicBezTo>
                <a:cubicBezTo>
                  <a:pt x="115" y="171"/>
                  <a:pt x="115" y="171"/>
                  <a:pt x="115" y="171"/>
                </a:cubicBezTo>
                <a:cubicBezTo>
                  <a:pt x="115" y="171"/>
                  <a:pt x="115" y="171"/>
                  <a:pt x="115" y="171"/>
                </a:cubicBezTo>
                <a:cubicBezTo>
                  <a:pt x="115" y="105"/>
                  <a:pt x="115" y="105"/>
                  <a:pt x="115" y="105"/>
                </a:cubicBezTo>
                <a:cubicBezTo>
                  <a:pt x="816" y="105"/>
                  <a:pt x="816" y="105"/>
                  <a:pt x="816" y="105"/>
                </a:cubicBezTo>
                <a:lnTo>
                  <a:pt x="816" y="547"/>
                </a:lnTo>
                <a:close/>
                <a:moveTo>
                  <a:pt x="762" y="345"/>
                </a:moveTo>
                <a:cubicBezTo>
                  <a:pt x="483" y="345"/>
                  <a:pt x="483" y="345"/>
                  <a:pt x="483" y="345"/>
                </a:cubicBezTo>
                <a:cubicBezTo>
                  <a:pt x="483" y="573"/>
                  <a:pt x="483" y="573"/>
                  <a:pt x="483" y="573"/>
                </a:cubicBezTo>
                <a:cubicBezTo>
                  <a:pt x="762" y="573"/>
                  <a:pt x="762" y="573"/>
                  <a:pt x="762" y="573"/>
                </a:cubicBezTo>
                <a:lnTo>
                  <a:pt x="762" y="345"/>
                </a:lnTo>
                <a:close/>
                <a:moveTo>
                  <a:pt x="623" y="390"/>
                </a:moveTo>
                <a:cubicBezTo>
                  <a:pt x="644" y="390"/>
                  <a:pt x="660" y="407"/>
                  <a:pt x="660" y="427"/>
                </a:cubicBezTo>
                <a:cubicBezTo>
                  <a:pt x="660" y="447"/>
                  <a:pt x="644" y="464"/>
                  <a:pt x="623" y="464"/>
                </a:cubicBezTo>
                <a:cubicBezTo>
                  <a:pt x="603" y="464"/>
                  <a:pt x="587" y="447"/>
                  <a:pt x="587" y="427"/>
                </a:cubicBezTo>
                <a:cubicBezTo>
                  <a:pt x="587" y="407"/>
                  <a:pt x="603" y="390"/>
                  <a:pt x="623" y="390"/>
                </a:cubicBezTo>
                <a:close/>
                <a:moveTo>
                  <a:pt x="549" y="540"/>
                </a:moveTo>
                <a:cubicBezTo>
                  <a:pt x="554" y="509"/>
                  <a:pt x="575" y="484"/>
                  <a:pt x="601" y="474"/>
                </a:cubicBezTo>
                <a:cubicBezTo>
                  <a:pt x="623" y="500"/>
                  <a:pt x="623" y="500"/>
                  <a:pt x="623" y="500"/>
                </a:cubicBezTo>
                <a:cubicBezTo>
                  <a:pt x="645" y="474"/>
                  <a:pt x="645" y="474"/>
                  <a:pt x="645" y="474"/>
                </a:cubicBezTo>
                <a:cubicBezTo>
                  <a:pt x="672" y="484"/>
                  <a:pt x="693" y="509"/>
                  <a:pt x="698" y="540"/>
                </a:cubicBezTo>
                <a:lnTo>
                  <a:pt x="549" y="540"/>
                </a:lnTo>
                <a:close/>
                <a:moveTo>
                  <a:pt x="205" y="399"/>
                </a:moveTo>
                <a:cubicBezTo>
                  <a:pt x="405" y="399"/>
                  <a:pt x="405" y="399"/>
                  <a:pt x="405" y="399"/>
                </a:cubicBezTo>
                <a:cubicBezTo>
                  <a:pt x="415" y="399"/>
                  <a:pt x="422" y="392"/>
                  <a:pt x="422" y="382"/>
                </a:cubicBezTo>
                <a:cubicBezTo>
                  <a:pt x="422" y="372"/>
                  <a:pt x="415" y="364"/>
                  <a:pt x="405" y="364"/>
                </a:cubicBezTo>
                <a:cubicBezTo>
                  <a:pt x="205" y="364"/>
                  <a:pt x="205" y="364"/>
                  <a:pt x="205" y="364"/>
                </a:cubicBezTo>
                <a:cubicBezTo>
                  <a:pt x="195" y="364"/>
                  <a:pt x="187" y="372"/>
                  <a:pt x="187" y="382"/>
                </a:cubicBezTo>
                <a:cubicBezTo>
                  <a:pt x="187" y="392"/>
                  <a:pt x="195" y="399"/>
                  <a:pt x="205" y="399"/>
                </a:cubicBezTo>
                <a:close/>
                <a:moveTo>
                  <a:pt x="205" y="559"/>
                </a:moveTo>
                <a:cubicBezTo>
                  <a:pt x="405" y="559"/>
                  <a:pt x="405" y="559"/>
                  <a:pt x="405" y="559"/>
                </a:cubicBezTo>
                <a:cubicBezTo>
                  <a:pt x="415" y="559"/>
                  <a:pt x="422" y="551"/>
                  <a:pt x="422" y="542"/>
                </a:cubicBezTo>
                <a:cubicBezTo>
                  <a:pt x="422" y="532"/>
                  <a:pt x="415" y="524"/>
                  <a:pt x="405" y="524"/>
                </a:cubicBezTo>
                <a:cubicBezTo>
                  <a:pt x="205" y="524"/>
                  <a:pt x="205" y="524"/>
                  <a:pt x="205" y="524"/>
                </a:cubicBezTo>
                <a:cubicBezTo>
                  <a:pt x="195" y="524"/>
                  <a:pt x="187" y="532"/>
                  <a:pt x="187" y="542"/>
                </a:cubicBezTo>
                <a:cubicBezTo>
                  <a:pt x="187" y="551"/>
                  <a:pt x="195" y="559"/>
                  <a:pt x="205" y="559"/>
                </a:cubicBezTo>
                <a:close/>
                <a:moveTo>
                  <a:pt x="205" y="482"/>
                </a:moveTo>
                <a:cubicBezTo>
                  <a:pt x="405" y="482"/>
                  <a:pt x="405" y="482"/>
                  <a:pt x="405" y="482"/>
                </a:cubicBezTo>
                <a:cubicBezTo>
                  <a:pt x="415" y="482"/>
                  <a:pt x="422" y="474"/>
                  <a:pt x="422" y="464"/>
                </a:cubicBezTo>
                <a:cubicBezTo>
                  <a:pt x="422" y="454"/>
                  <a:pt x="415" y="446"/>
                  <a:pt x="405" y="446"/>
                </a:cubicBezTo>
                <a:cubicBezTo>
                  <a:pt x="205" y="446"/>
                  <a:pt x="205" y="446"/>
                  <a:pt x="205" y="446"/>
                </a:cubicBezTo>
                <a:cubicBezTo>
                  <a:pt x="195" y="446"/>
                  <a:pt x="187" y="454"/>
                  <a:pt x="187" y="464"/>
                </a:cubicBezTo>
                <a:cubicBezTo>
                  <a:pt x="187" y="474"/>
                  <a:pt x="195" y="482"/>
                  <a:pt x="205" y="482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987" name="Freeform 6"/>
          <p:cNvSpPr>
            <a:spLocks/>
          </p:cNvSpPr>
          <p:nvPr/>
        </p:nvSpPr>
        <p:spPr bwMode="auto">
          <a:xfrm>
            <a:off x="3869593" y="1504950"/>
            <a:ext cx="217487" cy="1276350"/>
          </a:xfrm>
          <a:custGeom>
            <a:avLst/>
            <a:gdLst>
              <a:gd name="T0" fmla="*/ 402 w 402"/>
              <a:gd name="T1" fmla="*/ 2287 h 2287"/>
              <a:gd name="T2" fmla="*/ 0 w 402"/>
              <a:gd name="T3" fmla="*/ 2287 h 2287"/>
              <a:gd name="T4" fmla="*/ 0 w 402"/>
              <a:gd name="T5" fmla="*/ 0 h 2287"/>
              <a:gd name="T6" fmla="*/ 402 w 402"/>
              <a:gd name="T7" fmla="*/ 0 h 2287"/>
              <a:gd name="T8" fmla="*/ 0 60000 65536"/>
              <a:gd name="T9" fmla="*/ 0 60000 65536"/>
              <a:gd name="T10" fmla="*/ 0 60000 65536"/>
              <a:gd name="T11" fmla="*/ 0 60000 65536"/>
              <a:gd name="T12" fmla="*/ 0 w 402"/>
              <a:gd name="T13" fmla="*/ 0 h 2287"/>
              <a:gd name="T14" fmla="*/ 402 w 402"/>
              <a:gd name="T15" fmla="*/ 2287 h 228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02" h="2287">
                <a:moveTo>
                  <a:pt x="402" y="2287"/>
                </a:moveTo>
                <a:lnTo>
                  <a:pt x="0" y="2287"/>
                </a:lnTo>
                <a:lnTo>
                  <a:pt x="0" y="0"/>
                </a:lnTo>
                <a:lnTo>
                  <a:pt x="402" y="0"/>
                </a:lnTo>
              </a:path>
            </a:pathLst>
          </a:custGeom>
          <a:noFill/>
          <a:ln w="12700" cap="flat">
            <a:solidFill>
              <a:schemeClr val="accent2"/>
            </a:solidFill>
            <a:prstDash val="sysDot"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8" name="Freeform 6"/>
          <p:cNvSpPr>
            <a:spLocks/>
          </p:cNvSpPr>
          <p:nvPr/>
        </p:nvSpPr>
        <p:spPr bwMode="auto">
          <a:xfrm>
            <a:off x="3869593" y="2914650"/>
            <a:ext cx="217487" cy="1096963"/>
          </a:xfrm>
          <a:custGeom>
            <a:avLst/>
            <a:gdLst/>
            <a:ahLst/>
            <a:cxnLst>
              <a:cxn ang="0">
                <a:pos x="402" y="2287"/>
              </a:cxn>
              <a:cxn ang="0">
                <a:pos x="0" y="2287"/>
              </a:cxn>
              <a:cxn ang="0">
                <a:pos x="0" y="0"/>
              </a:cxn>
              <a:cxn ang="0">
                <a:pos x="402" y="0"/>
              </a:cxn>
            </a:cxnLst>
            <a:rect l="0" t="0" r="r" b="b"/>
            <a:pathLst>
              <a:path w="402" h="2287">
                <a:moveTo>
                  <a:pt x="402" y="2287"/>
                </a:moveTo>
                <a:lnTo>
                  <a:pt x="0" y="2287"/>
                </a:lnTo>
                <a:lnTo>
                  <a:pt x="0" y="0"/>
                </a:lnTo>
                <a:lnTo>
                  <a:pt x="402" y="0"/>
                </a:lnTo>
              </a:path>
            </a:pathLst>
          </a:custGeom>
          <a:noFill/>
          <a:ln w="12700" cap="flat">
            <a:solidFill>
              <a:schemeClr val="accent3"/>
            </a:solidFill>
            <a:prstDash val="sysDot"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989" name="Freeform 6"/>
          <p:cNvSpPr>
            <a:spLocks/>
          </p:cNvSpPr>
          <p:nvPr/>
        </p:nvSpPr>
        <p:spPr bwMode="auto">
          <a:xfrm>
            <a:off x="3869593" y="4171950"/>
            <a:ext cx="217487" cy="1828800"/>
          </a:xfrm>
          <a:custGeom>
            <a:avLst/>
            <a:gdLst>
              <a:gd name="T0" fmla="*/ 402 w 402"/>
              <a:gd name="T1" fmla="*/ 2287 h 2287"/>
              <a:gd name="T2" fmla="*/ 0 w 402"/>
              <a:gd name="T3" fmla="*/ 2287 h 2287"/>
              <a:gd name="T4" fmla="*/ 0 w 402"/>
              <a:gd name="T5" fmla="*/ 0 h 2287"/>
              <a:gd name="T6" fmla="*/ 402 w 402"/>
              <a:gd name="T7" fmla="*/ 0 h 2287"/>
              <a:gd name="T8" fmla="*/ 0 60000 65536"/>
              <a:gd name="T9" fmla="*/ 0 60000 65536"/>
              <a:gd name="T10" fmla="*/ 0 60000 65536"/>
              <a:gd name="T11" fmla="*/ 0 60000 65536"/>
              <a:gd name="T12" fmla="*/ 0 w 402"/>
              <a:gd name="T13" fmla="*/ 0 h 2287"/>
              <a:gd name="T14" fmla="*/ 402 w 402"/>
              <a:gd name="T15" fmla="*/ 2287 h 228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02" h="2287">
                <a:moveTo>
                  <a:pt x="402" y="2287"/>
                </a:moveTo>
                <a:lnTo>
                  <a:pt x="0" y="2287"/>
                </a:lnTo>
                <a:lnTo>
                  <a:pt x="0" y="0"/>
                </a:lnTo>
                <a:lnTo>
                  <a:pt x="402" y="0"/>
                </a:lnTo>
              </a:path>
            </a:pathLst>
          </a:custGeom>
          <a:noFill/>
          <a:ln w="12700" cap="flat">
            <a:solidFill>
              <a:schemeClr val="accent1"/>
            </a:solidFill>
            <a:prstDash val="sysDot"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990" name="TextBox 7"/>
          <p:cNvSpPr txBox="1">
            <a:spLocks noChangeArrowheads="1"/>
          </p:cNvSpPr>
          <p:nvPr/>
        </p:nvSpPr>
        <p:spPr bwMode="auto">
          <a:xfrm>
            <a:off x="484188" y="6346825"/>
            <a:ext cx="6511925" cy="325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5000"/>
              </a:lnSpc>
              <a:tabLst>
                <a:tab pos="573088" algn="l"/>
              </a:tabLst>
            </a:pP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Alapja: 	Okostelefon-használók, akik az internetet általánosságban használják okostelefonjukon, n=1000 </a:t>
            </a:r>
          </a:p>
          <a:p>
            <a:pPr>
              <a:lnSpc>
                <a:spcPct val="95000"/>
              </a:lnSpc>
              <a:tabLst>
                <a:tab pos="573088" algn="l"/>
              </a:tabLst>
            </a:pP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23. </a:t>
            </a: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kérdés: 	Melyik 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tevékenységet végzi okostelefonján a következők közül? Azt is jelezze, ha </a:t>
            </a:r>
            <a:r>
              <a:rPr lang="hu-HU" sz="800" smtClean="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egyáltalán előfordult </a:t>
            </a: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már ilyen.</a:t>
            </a:r>
          </a:p>
        </p:txBody>
      </p:sp>
      <p:graphicFrame>
        <p:nvGraphicFramePr>
          <p:cNvPr id="34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9889363"/>
              </p:ext>
            </p:extLst>
          </p:nvPr>
        </p:nvGraphicFramePr>
        <p:xfrm>
          <a:off x="3546764" y="1497955"/>
          <a:ext cx="5597236" cy="46016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1159229" y="3121701"/>
            <a:ext cx="88559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u-HU" sz="2000" b="1" smtClean="0">
                <a:solidFill>
                  <a:schemeClr val="tx2">
                    <a:lumMod val="60000"/>
                    <a:lumOff val="40000"/>
                  </a:schemeClr>
                </a:solidFill>
                <a:ea typeface="Arial Unicode MS" pitchFamily="34" charset="-128"/>
                <a:cs typeface="Arial Unicode MS" pitchFamily="34" charset="-128"/>
              </a:rPr>
              <a:t>Hírek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1" name="Title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476250"/>
          </a:xfrm>
        </p:spPr>
        <p:txBody>
          <a:bodyPr>
            <a:noAutofit/>
          </a:bodyPr>
          <a:lstStyle/>
          <a:p>
            <a:r>
              <a:rPr lang="hu-HU" cap="all" smtClean="0"/>
              <a:t>A</a:t>
            </a:r>
            <a:r>
              <a:rPr lang="hu-HU" smtClean="0"/>
              <a:t>z okostelefonokat más tevékenységek közben is használják</a:t>
            </a:r>
          </a:p>
        </p:txBody>
      </p:sp>
      <p:sp>
        <p:nvSpPr>
          <p:cNvPr id="92162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12C86185-80E7-4C7A-9F61-9534BE59C840}" type="slidenum">
              <a:rPr lang="hu-HU"/>
              <a:pPr/>
              <a:t>8</a:t>
            </a:fld>
            <a:endParaRPr lang="hu-HU"/>
          </a:p>
        </p:txBody>
      </p:sp>
      <p:sp>
        <p:nvSpPr>
          <p:cNvPr id="92163" name="TextBox 7"/>
          <p:cNvSpPr txBox="1">
            <a:spLocks noChangeArrowheads="1"/>
          </p:cNvSpPr>
          <p:nvPr/>
        </p:nvSpPr>
        <p:spPr bwMode="auto">
          <a:xfrm>
            <a:off x="560388" y="6343650"/>
            <a:ext cx="7237412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Autofit/>
          </a:bodyPr>
          <a:lstStyle/>
          <a:p>
            <a:pPr>
              <a:lnSpc>
                <a:spcPct val="95000"/>
              </a:lnSpc>
              <a:tabLst>
                <a:tab pos="573088" algn="l"/>
              </a:tabLst>
            </a:pPr>
            <a:r>
              <a:rPr lang="hu-HU" sz="800" cap="all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A</a:t>
            </a: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lapja: </a:t>
            </a:r>
            <a:r>
              <a:rPr lang="hu-HU" sz="800" cap="all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	O</a:t>
            </a: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kostelefon-használók</a:t>
            </a: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, akik az internetet általánosságban használják, és akik </a:t>
            </a: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	okostelefonjukon </a:t>
            </a: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tegnap online voltak, n= 1000</a:t>
            </a:r>
          </a:p>
          <a:p>
            <a:pPr>
              <a:lnSpc>
                <a:spcPct val="95000"/>
              </a:lnSpc>
              <a:tabLst>
                <a:tab pos="573088" algn="l"/>
              </a:tabLst>
            </a:pPr>
            <a:r>
              <a:rPr lang="hu-HU" sz="800" cap="all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22. </a:t>
            </a:r>
            <a:r>
              <a:rPr lang="hu-HU" sz="800" cap="all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k</a:t>
            </a: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érdés</a:t>
            </a:r>
            <a:r>
              <a:rPr lang="hu-HU" sz="800" cap="all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: 	A</a:t>
            </a: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mikor </a:t>
            </a: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okostelefonján használja az internetet, általában végez-e ezzel egy időben </a:t>
            </a: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/>
            </a:r>
            <a:b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8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	más </a:t>
            </a:r>
            <a:r>
              <a:rPr lang="hu-HU" sz="8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tevékenységet is a következők közül, ha igen, melyiket? </a:t>
            </a:r>
          </a:p>
        </p:txBody>
      </p:sp>
      <p:sp>
        <p:nvSpPr>
          <p:cNvPr id="68" name="Oval 67"/>
          <p:cNvSpPr/>
          <p:nvPr/>
        </p:nvSpPr>
        <p:spPr bwMode="auto">
          <a:xfrm>
            <a:off x="3597275" y="2719388"/>
            <a:ext cx="1930400" cy="1930400"/>
          </a:xfrm>
          <a:prstGeom prst="ellipse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defRPr/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2165" name="Oval 68"/>
          <p:cNvSpPr>
            <a:spLocks noChangeArrowheads="1"/>
          </p:cNvSpPr>
          <p:nvPr/>
        </p:nvSpPr>
        <p:spPr bwMode="auto">
          <a:xfrm>
            <a:off x="2828925" y="1960563"/>
            <a:ext cx="3467100" cy="3467100"/>
          </a:xfrm>
          <a:prstGeom prst="ellipse">
            <a:avLst/>
          </a:prstGeom>
          <a:noFill/>
          <a:ln w="12700" algn="ctr">
            <a:solidFill>
              <a:schemeClr val="tx2"/>
            </a:solidFill>
            <a:prstDash val="dash"/>
            <a:round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2166" name="TextBox 94"/>
          <p:cNvSpPr txBox="1">
            <a:spLocks noChangeArrowheads="1"/>
          </p:cNvSpPr>
          <p:nvPr/>
        </p:nvSpPr>
        <p:spPr bwMode="auto">
          <a:xfrm>
            <a:off x="3790950" y="3027363"/>
            <a:ext cx="1614488" cy="998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noAutofit/>
          </a:bodyPr>
          <a:lstStyle/>
          <a:p>
            <a:pPr>
              <a:lnSpc>
                <a:spcPct val="90000"/>
              </a:lnSpc>
            </a:pPr>
            <a:r>
              <a:rPr lang="hu-HU" sz="6600" b="1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62</a:t>
            </a:r>
            <a:r>
              <a:rPr lang="hu-HU" sz="6600" baseline="300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%</a:t>
            </a:r>
          </a:p>
        </p:txBody>
      </p:sp>
      <p:sp>
        <p:nvSpPr>
          <p:cNvPr id="92167" name="TextBox 96"/>
          <p:cNvSpPr txBox="1">
            <a:spLocks noChangeArrowheads="1"/>
          </p:cNvSpPr>
          <p:nvPr/>
        </p:nvSpPr>
        <p:spPr bwMode="auto">
          <a:xfrm>
            <a:off x="3975100" y="3935413"/>
            <a:ext cx="1163638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noAutofit/>
          </a:bodyPr>
          <a:lstStyle/>
          <a:p>
            <a:pPr algn="ctr">
              <a:lnSpc>
                <a:spcPct val="90000"/>
              </a:lnSpc>
            </a:pPr>
            <a:r>
              <a:rPr lang="hu-HU" sz="1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Használja </a:t>
            </a:r>
          </a:p>
          <a:p>
            <a:pPr algn="ctr">
              <a:lnSpc>
                <a:spcPct val="90000"/>
              </a:lnSpc>
            </a:pPr>
            <a:r>
              <a:rPr lang="hu-HU" sz="1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okostelefonját </a:t>
            </a:r>
          </a:p>
          <a:p>
            <a:pPr algn="ctr">
              <a:lnSpc>
                <a:spcPct val="90000"/>
              </a:lnSpc>
            </a:pPr>
            <a:r>
              <a:rPr lang="hu-HU" sz="120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rPr>
              <a:t>miközben…</a:t>
            </a:r>
          </a:p>
        </p:txBody>
      </p:sp>
      <p:sp>
        <p:nvSpPr>
          <p:cNvPr id="73" name="Oval 72"/>
          <p:cNvSpPr/>
          <p:nvPr/>
        </p:nvSpPr>
        <p:spPr bwMode="auto">
          <a:xfrm>
            <a:off x="3219450" y="4776787"/>
            <a:ext cx="1157288" cy="1157287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1440" tIns="548640" rIns="45720" bIns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200"/>
              </a:spcBef>
              <a:defRPr/>
            </a:pPr>
            <a:r>
              <a:rPr lang="hu-HU" sz="1000" smtClean="0">
                <a:ea typeface="Arial Unicode MS" pitchFamily="34" charset="-128"/>
                <a:cs typeface="Arial Unicode MS" pitchFamily="34" charset="-128"/>
              </a:rPr>
              <a:t>Videojátékkal </a:t>
            </a:r>
            <a:br>
              <a:rPr lang="hu-HU" sz="1000" smtClean="0">
                <a:ea typeface="Arial Unicode MS" pitchFamily="34" charset="-128"/>
                <a:cs typeface="Arial Unicode MS" pitchFamily="34" charset="-128"/>
              </a:rPr>
            </a:br>
            <a:r>
              <a:rPr lang="hu-HU" sz="1000" smtClean="0">
                <a:ea typeface="Arial Unicode MS" pitchFamily="34" charset="-128"/>
                <a:cs typeface="Arial Unicode MS" pitchFamily="34" charset="-128"/>
              </a:rPr>
              <a:t>játszik</a:t>
            </a:r>
          </a:p>
          <a:p>
            <a:pPr algn="ctr">
              <a:lnSpc>
                <a:spcPct val="90000"/>
              </a:lnSpc>
              <a:spcBef>
                <a:spcPts val="200"/>
              </a:spcBef>
              <a:defRPr/>
            </a:pPr>
            <a:r>
              <a:rPr lang="hu-HU" b="1" smtClean="0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rPr>
              <a:t>4%</a:t>
            </a:r>
            <a:endParaRPr lang="hu-HU" b="1">
              <a:solidFill>
                <a:schemeClr val="accent4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92207" name="Group 97"/>
          <p:cNvGrpSpPr>
            <a:grpSpLocks/>
          </p:cNvGrpSpPr>
          <p:nvPr/>
        </p:nvGrpSpPr>
        <p:grpSpPr bwMode="auto">
          <a:xfrm>
            <a:off x="3515521" y="4670425"/>
            <a:ext cx="666171" cy="659162"/>
            <a:chOff x="-2010062" y="2846388"/>
            <a:chExt cx="946150" cy="936624"/>
          </a:xfrm>
        </p:grpSpPr>
        <p:sp>
          <p:nvSpPr>
            <p:cNvPr id="92208" name="AutoShape 32"/>
            <p:cNvSpPr>
              <a:spLocks noChangeAspect="1" noChangeArrowheads="1" noTextEdit="1"/>
            </p:cNvSpPr>
            <p:nvPr/>
          </p:nvSpPr>
          <p:spPr bwMode="auto">
            <a:xfrm>
              <a:off x="-1973550" y="2881313"/>
              <a:ext cx="892175" cy="8651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9186" name="Freeform 34"/>
            <p:cNvSpPr>
              <a:spLocks/>
            </p:cNvSpPr>
            <p:nvPr/>
          </p:nvSpPr>
          <p:spPr bwMode="auto">
            <a:xfrm>
              <a:off x="-2008937" y="2846388"/>
              <a:ext cx="944717" cy="936128"/>
            </a:xfrm>
            <a:custGeom>
              <a:avLst/>
              <a:gdLst/>
              <a:ahLst/>
              <a:cxnLst>
                <a:cxn ang="0">
                  <a:pos x="94" y="10"/>
                </a:cxn>
                <a:cxn ang="0">
                  <a:pos x="93" y="50"/>
                </a:cxn>
                <a:cxn ang="0">
                  <a:pos x="51" y="92"/>
                </a:cxn>
                <a:cxn ang="0">
                  <a:pos x="11" y="94"/>
                </a:cxn>
                <a:cxn ang="0">
                  <a:pos x="11" y="94"/>
                </a:cxn>
                <a:cxn ang="0">
                  <a:pos x="12" y="54"/>
                </a:cxn>
                <a:cxn ang="0">
                  <a:pos x="54" y="12"/>
                </a:cxn>
                <a:cxn ang="0">
                  <a:pos x="94" y="10"/>
                </a:cxn>
              </a:cxnLst>
              <a:rect l="0" t="0" r="r" b="b"/>
              <a:pathLst>
                <a:path w="105" h="104">
                  <a:moveTo>
                    <a:pt x="94" y="10"/>
                  </a:moveTo>
                  <a:cubicBezTo>
                    <a:pt x="105" y="21"/>
                    <a:pt x="104" y="39"/>
                    <a:pt x="93" y="50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39" y="104"/>
                    <a:pt x="21" y="104"/>
                    <a:pt x="11" y="94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0" y="83"/>
                    <a:pt x="1" y="65"/>
                    <a:pt x="12" y="54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66" y="0"/>
                    <a:pt x="84" y="0"/>
                    <a:pt x="94" y="1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2210" name="Freeform 35"/>
            <p:cNvSpPr>
              <a:spLocks/>
            </p:cNvSpPr>
            <p:nvPr/>
          </p:nvSpPr>
          <p:spPr bwMode="auto">
            <a:xfrm>
              <a:off x="-1792575" y="3052763"/>
              <a:ext cx="512763" cy="522287"/>
            </a:xfrm>
            <a:custGeom>
              <a:avLst/>
              <a:gdLst>
                <a:gd name="T0" fmla="*/ 323 w 323"/>
                <a:gd name="T1" fmla="*/ 131 h 329"/>
                <a:gd name="T2" fmla="*/ 130 w 323"/>
                <a:gd name="T3" fmla="*/ 329 h 329"/>
                <a:gd name="T4" fmla="*/ 0 w 323"/>
                <a:gd name="T5" fmla="*/ 199 h 329"/>
                <a:gd name="T6" fmla="*/ 192 w 323"/>
                <a:gd name="T7" fmla="*/ 0 h 329"/>
                <a:gd name="T8" fmla="*/ 323 w 323"/>
                <a:gd name="T9" fmla="*/ 131 h 329"/>
                <a:gd name="T10" fmla="*/ 323 w 323"/>
                <a:gd name="T11" fmla="*/ 131 h 32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23"/>
                <a:gd name="T19" fmla="*/ 0 h 329"/>
                <a:gd name="T20" fmla="*/ 323 w 323"/>
                <a:gd name="T21" fmla="*/ 329 h 32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23" h="329">
                  <a:moveTo>
                    <a:pt x="323" y="131"/>
                  </a:moveTo>
                  <a:lnTo>
                    <a:pt x="130" y="329"/>
                  </a:lnTo>
                  <a:lnTo>
                    <a:pt x="0" y="199"/>
                  </a:lnTo>
                  <a:lnTo>
                    <a:pt x="192" y="0"/>
                  </a:lnTo>
                  <a:lnTo>
                    <a:pt x="323" y="13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2211" name="Oval 36"/>
            <p:cNvSpPr>
              <a:spLocks noChangeArrowheads="1"/>
            </p:cNvSpPr>
            <p:nvPr/>
          </p:nvSpPr>
          <p:spPr bwMode="auto">
            <a:xfrm>
              <a:off x="-1262350" y="3070225"/>
              <a:ext cx="53975" cy="539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2212" name="Oval 37"/>
            <p:cNvSpPr>
              <a:spLocks noChangeArrowheads="1"/>
            </p:cNvSpPr>
            <p:nvPr/>
          </p:nvSpPr>
          <p:spPr bwMode="auto">
            <a:xfrm>
              <a:off x="-1351250" y="3070225"/>
              <a:ext cx="53975" cy="539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2213" name="Oval 38"/>
            <p:cNvSpPr>
              <a:spLocks noChangeArrowheads="1"/>
            </p:cNvSpPr>
            <p:nvPr/>
          </p:nvSpPr>
          <p:spPr bwMode="auto">
            <a:xfrm>
              <a:off x="-1262350" y="2981325"/>
              <a:ext cx="53975" cy="539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2214" name="Oval 39"/>
            <p:cNvSpPr>
              <a:spLocks noChangeArrowheads="1"/>
            </p:cNvSpPr>
            <p:nvPr/>
          </p:nvSpPr>
          <p:spPr bwMode="auto">
            <a:xfrm>
              <a:off x="-1351250" y="2981325"/>
              <a:ext cx="53975" cy="53975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2215" name="Freeform 40"/>
            <p:cNvSpPr>
              <a:spLocks/>
            </p:cNvSpPr>
            <p:nvPr/>
          </p:nvSpPr>
          <p:spPr bwMode="auto">
            <a:xfrm>
              <a:off x="-1873537" y="3503613"/>
              <a:ext cx="152400" cy="144462"/>
            </a:xfrm>
            <a:custGeom>
              <a:avLst/>
              <a:gdLst>
                <a:gd name="T0" fmla="*/ 12 w 17"/>
                <a:gd name="T1" fmla="*/ 1 h 16"/>
                <a:gd name="T2" fmla="*/ 9 w 17"/>
                <a:gd name="T3" fmla="*/ 4 h 16"/>
                <a:gd name="T4" fmla="*/ 5 w 17"/>
                <a:gd name="T5" fmla="*/ 1 h 16"/>
                <a:gd name="T6" fmla="*/ 1 w 17"/>
                <a:gd name="T7" fmla="*/ 1 h 16"/>
                <a:gd name="T8" fmla="*/ 1 w 17"/>
                <a:gd name="T9" fmla="*/ 4 h 16"/>
                <a:gd name="T10" fmla="*/ 5 w 17"/>
                <a:gd name="T11" fmla="*/ 8 h 16"/>
                <a:gd name="T12" fmla="*/ 1 w 17"/>
                <a:gd name="T13" fmla="*/ 12 h 16"/>
                <a:gd name="T14" fmla="*/ 1 w 17"/>
                <a:gd name="T15" fmla="*/ 15 h 16"/>
                <a:gd name="T16" fmla="*/ 5 w 17"/>
                <a:gd name="T17" fmla="*/ 15 h 16"/>
                <a:gd name="T18" fmla="*/ 9 w 17"/>
                <a:gd name="T19" fmla="*/ 11 h 16"/>
                <a:gd name="T20" fmla="*/ 12 w 17"/>
                <a:gd name="T21" fmla="*/ 15 h 16"/>
                <a:gd name="T22" fmla="*/ 16 w 17"/>
                <a:gd name="T23" fmla="*/ 15 h 16"/>
                <a:gd name="T24" fmla="*/ 16 w 17"/>
                <a:gd name="T25" fmla="*/ 12 h 16"/>
                <a:gd name="T26" fmla="*/ 12 w 17"/>
                <a:gd name="T27" fmla="*/ 8 h 16"/>
                <a:gd name="T28" fmla="*/ 16 w 17"/>
                <a:gd name="T29" fmla="*/ 4 h 16"/>
                <a:gd name="T30" fmla="*/ 16 w 17"/>
                <a:gd name="T31" fmla="*/ 1 h 16"/>
                <a:gd name="T32" fmla="*/ 12 w 17"/>
                <a:gd name="T33" fmla="*/ 1 h 1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7"/>
                <a:gd name="T52" fmla="*/ 0 h 16"/>
                <a:gd name="T53" fmla="*/ 17 w 17"/>
                <a:gd name="T54" fmla="*/ 16 h 1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7" h="16">
                  <a:moveTo>
                    <a:pt x="12" y="1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2" y="0"/>
                    <a:pt x="1" y="1"/>
                  </a:cubicBezTo>
                  <a:cubicBezTo>
                    <a:pt x="0" y="2"/>
                    <a:pt x="0" y="3"/>
                    <a:pt x="1" y="4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3"/>
                    <a:pt x="0" y="14"/>
                    <a:pt x="1" y="15"/>
                  </a:cubicBezTo>
                  <a:cubicBezTo>
                    <a:pt x="2" y="16"/>
                    <a:pt x="4" y="16"/>
                    <a:pt x="5" y="15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6"/>
                    <a:pt x="15" y="16"/>
                    <a:pt x="16" y="15"/>
                  </a:cubicBezTo>
                  <a:cubicBezTo>
                    <a:pt x="17" y="14"/>
                    <a:pt x="17" y="13"/>
                    <a:pt x="16" y="12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7" y="3"/>
                    <a:pt x="17" y="2"/>
                    <a:pt x="16" y="1"/>
                  </a:cubicBezTo>
                  <a:cubicBezTo>
                    <a:pt x="15" y="0"/>
                    <a:pt x="13" y="0"/>
                    <a:pt x="12" y="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92169" name="Group 51"/>
          <p:cNvGrpSpPr>
            <a:grpSpLocks/>
          </p:cNvGrpSpPr>
          <p:nvPr/>
        </p:nvGrpSpPr>
        <p:grpSpPr bwMode="auto">
          <a:xfrm>
            <a:off x="2414588" y="2149475"/>
            <a:ext cx="1157287" cy="1163638"/>
            <a:chOff x="2414588" y="2361449"/>
            <a:chExt cx="1157288" cy="1163180"/>
          </a:xfrm>
        </p:grpSpPr>
        <p:sp>
          <p:nvSpPr>
            <p:cNvPr id="70" name="Oval 69"/>
            <p:cNvSpPr/>
            <p:nvPr/>
          </p:nvSpPr>
          <p:spPr bwMode="auto">
            <a:xfrm>
              <a:off x="2414588" y="2367797"/>
              <a:ext cx="1157288" cy="1156832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b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200"/>
                </a:spcBef>
                <a:defRPr/>
              </a:pPr>
              <a:r>
                <a:rPr lang="hu-HU" sz="1000" smtClean="0">
                  <a:ea typeface="Arial Unicode MS" pitchFamily="34" charset="-128"/>
                  <a:cs typeface="Arial Unicode MS" pitchFamily="34" charset="-128"/>
                </a:rPr>
                <a:t>Könyvet olvas</a:t>
              </a:r>
            </a:p>
            <a:p>
              <a:pPr algn="ctr">
                <a:lnSpc>
                  <a:spcPct val="90000"/>
                </a:lnSpc>
                <a:spcBef>
                  <a:spcPts val="200"/>
                </a:spcBef>
                <a:defRPr/>
              </a:pPr>
              <a:r>
                <a:rPr lang="hu-HU" b="1" smtClean="0">
                  <a:solidFill>
                    <a:schemeClr val="accent4"/>
                  </a:solidFill>
                  <a:ea typeface="Arial Unicode MS" pitchFamily="34" charset="-128"/>
                  <a:cs typeface="Arial Unicode MS" pitchFamily="34" charset="-128"/>
                </a:rPr>
                <a:t>5%</a:t>
              </a:r>
              <a:endParaRPr lang="hu-HU" b="1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92193" name="Group 98"/>
            <p:cNvGrpSpPr>
              <a:grpSpLocks/>
            </p:cNvGrpSpPr>
            <p:nvPr/>
          </p:nvGrpSpPr>
          <p:grpSpPr bwMode="auto">
            <a:xfrm>
              <a:off x="2720399" y="2361449"/>
              <a:ext cx="673965" cy="548311"/>
              <a:chOff x="-2267238" y="4179888"/>
              <a:chExt cx="936625" cy="762000"/>
            </a:xfrm>
          </p:grpSpPr>
          <p:sp>
            <p:nvSpPr>
              <p:cNvPr id="92194" name="Freeform 7"/>
              <p:cNvSpPr>
                <a:spLocks/>
              </p:cNvSpPr>
              <p:nvPr/>
            </p:nvSpPr>
            <p:spPr bwMode="auto">
              <a:xfrm>
                <a:off x="-2267238" y="4210050"/>
                <a:ext cx="236538" cy="725488"/>
              </a:xfrm>
              <a:custGeom>
                <a:avLst/>
                <a:gdLst>
                  <a:gd name="T0" fmla="*/ 31 w 31"/>
                  <a:gd name="T1" fmla="*/ 92 h 95"/>
                  <a:gd name="T2" fmla="*/ 28 w 31"/>
                  <a:gd name="T3" fmla="*/ 95 h 95"/>
                  <a:gd name="T4" fmla="*/ 2 w 31"/>
                  <a:gd name="T5" fmla="*/ 95 h 95"/>
                  <a:gd name="T6" fmla="*/ 0 w 31"/>
                  <a:gd name="T7" fmla="*/ 92 h 95"/>
                  <a:gd name="T8" fmla="*/ 0 w 31"/>
                  <a:gd name="T9" fmla="*/ 4 h 95"/>
                  <a:gd name="T10" fmla="*/ 2 w 31"/>
                  <a:gd name="T11" fmla="*/ 0 h 95"/>
                  <a:gd name="T12" fmla="*/ 28 w 31"/>
                  <a:gd name="T13" fmla="*/ 0 h 95"/>
                  <a:gd name="T14" fmla="*/ 31 w 31"/>
                  <a:gd name="T15" fmla="*/ 4 h 95"/>
                  <a:gd name="T16" fmla="*/ 31 w 31"/>
                  <a:gd name="T17" fmla="*/ 92 h 9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1"/>
                  <a:gd name="T28" fmla="*/ 0 h 95"/>
                  <a:gd name="T29" fmla="*/ 31 w 31"/>
                  <a:gd name="T30" fmla="*/ 95 h 9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1" h="95">
                    <a:moveTo>
                      <a:pt x="31" y="92"/>
                    </a:moveTo>
                    <a:cubicBezTo>
                      <a:pt x="31" y="94"/>
                      <a:pt x="30" y="95"/>
                      <a:pt x="28" y="95"/>
                    </a:cubicBezTo>
                    <a:cubicBezTo>
                      <a:pt x="2" y="95"/>
                      <a:pt x="2" y="95"/>
                      <a:pt x="2" y="95"/>
                    </a:cubicBezTo>
                    <a:cubicBezTo>
                      <a:pt x="1" y="95"/>
                      <a:pt x="0" y="94"/>
                      <a:pt x="0" y="9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2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0" y="0"/>
                      <a:pt x="31" y="2"/>
                      <a:pt x="31" y="4"/>
                    </a:cubicBezTo>
                    <a:lnTo>
                      <a:pt x="31" y="92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195" name="Rectangle 8"/>
              <p:cNvSpPr>
                <a:spLocks noChangeArrowheads="1"/>
              </p:cNvSpPr>
              <p:nvPr/>
            </p:nvSpPr>
            <p:spPr bwMode="auto">
              <a:xfrm>
                <a:off x="-2237075" y="4294188"/>
                <a:ext cx="174625" cy="30163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196" name="Rectangle 9"/>
              <p:cNvSpPr>
                <a:spLocks noChangeArrowheads="1"/>
              </p:cNvSpPr>
              <p:nvPr/>
            </p:nvSpPr>
            <p:spPr bwMode="auto">
              <a:xfrm>
                <a:off x="-2237075" y="4362450"/>
                <a:ext cx="174625" cy="2222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197" name="Rectangle 10"/>
              <p:cNvSpPr>
                <a:spLocks noChangeArrowheads="1"/>
              </p:cNvSpPr>
              <p:nvPr/>
            </p:nvSpPr>
            <p:spPr bwMode="auto">
              <a:xfrm>
                <a:off x="-2237075" y="4857750"/>
                <a:ext cx="174625" cy="23813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49163" name="Freeform 11"/>
              <p:cNvSpPr>
                <a:spLocks/>
              </p:cNvSpPr>
              <p:nvPr/>
            </p:nvSpPr>
            <p:spPr bwMode="auto">
              <a:xfrm>
                <a:off x="-1992870" y="4210762"/>
                <a:ext cx="242681" cy="725549"/>
              </a:xfrm>
              <a:custGeom>
                <a:avLst/>
                <a:gdLst/>
                <a:ahLst/>
                <a:cxnLst>
                  <a:cxn ang="0">
                    <a:pos x="32" y="92"/>
                  </a:cxn>
                  <a:cxn ang="0">
                    <a:pos x="29" y="95"/>
                  </a:cxn>
                  <a:cxn ang="0">
                    <a:pos x="3" y="95"/>
                  </a:cxn>
                  <a:cxn ang="0">
                    <a:pos x="0" y="92"/>
                  </a:cxn>
                  <a:cxn ang="0">
                    <a:pos x="0" y="4"/>
                  </a:cxn>
                  <a:cxn ang="0">
                    <a:pos x="3" y="0"/>
                  </a:cxn>
                  <a:cxn ang="0">
                    <a:pos x="29" y="0"/>
                  </a:cxn>
                  <a:cxn ang="0">
                    <a:pos x="32" y="4"/>
                  </a:cxn>
                  <a:cxn ang="0">
                    <a:pos x="32" y="92"/>
                  </a:cxn>
                </a:cxnLst>
                <a:rect l="0" t="0" r="r" b="b"/>
                <a:pathLst>
                  <a:path w="32" h="95">
                    <a:moveTo>
                      <a:pt x="32" y="92"/>
                    </a:moveTo>
                    <a:cubicBezTo>
                      <a:pt x="32" y="94"/>
                      <a:pt x="30" y="95"/>
                      <a:pt x="29" y="95"/>
                    </a:cubicBezTo>
                    <a:cubicBezTo>
                      <a:pt x="3" y="95"/>
                      <a:pt x="3" y="95"/>
                      <a:pt x="3" y="95"/>
                    </a:cubicBezTo>
                    <a:cubicBezTo>
                      <a:pt x="1" y="95"/>
                      <a:pt x="0" y="94"/>
                      <a:pt x="0" y="9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30" y="0"/>
                      <a:pt x="32" y="2"/>
                      <a:pt x="32" y="4"/>
                    </a:cubicBezTo>
                    <a:lnTo>
                      <a:pt x="32" y="92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199" name="Rectangle 12"/>
              <p:cNvSpPr>
                <a:spLocks noChangeArrowheads="1"/>
              </p:cNvSpPr>
              <p:nvPr/>
            </p:nvSpPr>
            <p:spPr bwMode="auto">
              <a:xfrm>
                <a:off x="-1962438" y="4294188"/>
                <a:ext cx="182563" cy="30163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200" name="Rectangle 13"/>
              <p:cNvSpPr>
                <a:spLocks noChangeArrowheads="1"/>
              </p:cNvSpPr>
              <p:nvPr/>
            </p:nvSpPr>
            <p:spPr bwMode="auto">
              <a:xfrm>
                <a:off x="-1962438" y="4362450"/>
                <a:ext cx="182563" cy="2222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201" name="Rectangle 14"/>
              <p:cNvSpPr>
                <a:spLocks noChangeArrowheads="1"/>
              </p:cNvSpPr>
              <p:nvPr/>
            </p:nvSpPr>
            <p:spPr bwMode="auto">
              <a:xfrm>
                <a:off x="-1962438" y="4857750"/>
                <a:ext cx="182563" cy="23813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202" name="Freeform 15"/>
              <p:cNvSpPr>
                <a:spLocks/>
              </p:cNvSpPr>
              <p:nvPr/>
            </p:nvSpPr>
            <p:spPr bwMode="auto">
              <a:xfrm>
                <a:off x="-1749713" y="4179888"/>
                <a:ext cx="419100" cy="762000"/>
              </a:xfrm>
              <a:custGeom>
                <a:avLst/>
                <a:gdLst>
                  <a:gd name="T0" fmla="*/ 54 w 55"/>
                  <a:gd name="T1" fmla="*/ 89 h 100"/>
                  <a:gd name="T2" fmla="*/ 52 w 55"/>
                  <a:gd name="T3" fmla="*/ 93 h 100"/>
                  <a:gd name="T4" fmla="*/ 27 w 55"/>
                  <a:gd name="T5" fmla="*/ 99 h 100"/>
                  <a:gd name="T6" fmla="*/ 24 w 55"/>
                  <a:gd name="T7" fmla="*/ 97 h 100"/>
                  <a:gd name="T8" fmla="*/ 1 w 55"/>
                  <a:gd name="T9" fmla="*/ 11 h 100"/>
                  <a:gd name="T10" fmla="*/ 3 w 55"/>
                  <a:gd name="T11" fmla="*/ 7 h 100"/>
                  <a:gd name="T12" fmla="*/ 28 w 55"/>
                  <a:gd name="T13" fmla="*/ 1 h 100"/>
                  <a:gd name="T14" fmla="*/ 31 w 55"/>
                  <a:gd name="T15" fmla="*/ 3 h 100"/>
                  <a:gd name="T16" fmla="*/ 54 w 55"/>
                  <a:gd name="T17" fmla="*/ 89 h 1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5"/>
                  <a:gd name="T28" fmla="*/ 0 h 100"/>
                  <a:gd name="T29" fmla="*/ 55 w 55"/>
                  <a:gd name="T30" fmla="*/ 100 h 1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5" h="100">
                    <a:moveTo>
                      <a:pt x="54" y="89"/>
                    </a:moveTo>
                    <a:cubicBezTo>
                      <a:pt x="55" y="90"/>
                      <a:pt x="54" y="92"/>
                      <a:pt x="52" y="93"/>
                    </a:cubicBezTo>
                    <a:cubicBezTo>
                      <a:pt x="27" y="99"/>
                      <a:pt x="27" y="99"/>
                      <a:pt x="27" y="99"/>
                    </a:cubicBezTo>
                    <a:cubicBezTo>
                      <a:pt x="26" y="100"/>
                      <a:pt x="24" y="99"/>
                      <a:pt x="24" y="97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0" y="10"/>
                      <a:pt x="1" y="8"/>
                      <a:pt x="3" y="7"/>
                    </a:cubicBezTo>
                    <a:cubicBezTo>
                      <a:pt x="28" y="1"/>
                      <a:pt x="28" y="1"/>
                      <a:pt x="28" y="1"/>
                    </a:cubicBezTo>
                    <a:cubicBezTo>
                      <a:pt x="29" y="0"/>
                      <a:pt x="31" y="1"/>
                      <a:pt x="31" y="3"/>
                    </a:cubicBezTo>
                    <a:lnTo>
                      <a:pt x="54" y="89"/>
                    </a:lnTo>
                    <a:close/>
                  </a:path>
                </a:pathLst>
              </a:custGeom>
              <a:solidFill>
                <a:srgbClr val="666666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203" name="Freeform 16"/>
              <p:cNvSpPr>
                <a:spLocks/>
              </p:cNvSpPr>
              <p:nvPr/>
            </p:nvSpPr>
            <p:spPr bwMode="auto">
              <a:xfrm>
                <a:off x="-1695738" y="4270375"/>
                <a:ext cx="174625" cy="69850"/>
              </a:xfrm>
              <a:custGeom>
                <a:avLst/>
                <a:gdLst>
                  <a:gd name="T0" fmla="*/ 110 w 110"/>
                  <a:gd name="T1" fmla="*/ 15 h 44"/>
                  <a:gd name="T2" fmla="*/ 0 w 110"/>
                  <a:gd name="T3" fmla="*/ 44 h 44"/>
                  <a:gd name="T4" fmla="*/ 0 w 110"/>
                  <a:gd name="T5" fmla="*/ 29 h 44"/>
                  <a:gd name="T6" fmla="*/ 105 w 110"/>
                  <a:gd name="T7" fmla="*/ 0 h 44"/>
                  <a:gd name="T8" fmla="*/ 110 w 110"/>
                  <a:gd name="T9" fmla="*/ 15 h 4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0"/>
                  <a:gd name="T16" fmla="*/ 0 h 44"/>
                  <a:gd name="T17" fmla="*/ 110 w 110"/>
                  <a:gd name="T18" fmla="*/ 44 h 4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0" h="44">
                    <a:moveTo>
                      <a:pt x="110" y="15"/>
                    </a:moveTo>
                    <a:lnTo>
                      <a:pt x="0" y="44"/>
                    </a:lnTo>
                    <a:lnTo>
                      <a:pt x="0" y="29"/>
                    </a:lnTo>
                    <a:lnTo>
                      <a:pt x="105" y="0"/>
                    </a:lnTo>
                    <a:lnTo>
                      <a:pt x="110" y="1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204" name="Freeform 17"/>
              <p:cNvSpPr>
                <a:spLocks/>
              </p:cNvSpPr>
              <p:nvPr/>
            </p:nvSpPr>
            <p:spPr bwMode="auto">
              <a:xfrm>
                <a:off x="-1681450" y="4332288"/>
                <a:ext cx="176213" cy="68263"/>
              </a:xfrm>
              <a:custGeom>
                <a:avLst/>
                <a:gdLst>
                  <a:gd name="T0" fmla="*/ 111 w 111"/>
                  <a:gd name="T1" fmla="*/ 14 h 43"/>
                  <a:gd name="T2" fmla="*/ 5 w 111"/>
                  <a:gd name="T3" fmla="*/ 43 h 43"/>
                  <a:gd name="T4" fmla="*/ 0 w 111"/>
                  <a:gd name="T5" fmla="*/ 29 h 43"/>
                  <a:gd name="T6" fmla="*/ 106 w 111"/>
                  <a:gd name="T7" fmla="*/ 0 h 43"/>
                  <a:gd name="T8" fmla="*/ 111 w 111"/>
                  <a:gd name="T9" fmla="*/ 14 h 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1"/>
                  <a:gd name="T16" fmla="*/ 0 h 43"/>
                  <a:gd name="T17" fmla="*/ 111 w 111"/>
                  <a:gd name="T18" fmla="*/ 43 h 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1" h="43">
                    <a:moveTo>
                      <a:pt x="111" y="14"/>
                    </a:moveTo>
                    <a:lnTo>
                      <a:pt x="5" y="43"/>
                    </a:lnTo>
                    <a:lnTo>
                      <a:pt x="0" y="29"/>
                    </a:lnTo>
                    <a:lnTo>
                      <a:pt x="106" y="0"/>
                    </a:lnTo>
                    <a:lnTo>
                      <a:pt x="111" y="1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205" name="Freeform 18"/>
              <p:cNvSpPr>
                <a:spLocks/>
              </p:cNvSpPr>
              <p:nvPr/>
            </p:nvSpPr>
            <p:spPr bwMode="auto">
              <a:xfrm>
                <a:off x="-1551275" y="4805363"/>
                <a:ext cx="174625" cy="76200"/>
              </a:xfrm>
              <a:custGeom>
                <a:avLst/>
                <a:gdLst>
                  <a:gd name="T0" fmla="*/ 110 w 110"/>
                  <a:gd name="T1" fmla="*/ 19 h 48"/>
                  <a:gd name="T2" fmla="*/ 0 w 110"/>
                  <a:gd name="T3" fmla="*/ 48 h 48"/>
                  <a:gd name="T4" fmla="*/ 0 w 110"/>
                  <a:gd name="T5" fmla="*/ 33 h 48"/>
                  <a:gd name="T6" fmla="*/ 105 w 110"/>
                  <a:gd name="T7" fmla="*/ 0 h 48"/>
                  <a:gd name="T8" fmla="*/ 110 w 110"/>
                  <a:gd name="T9" fmla="*/ 19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0"/>
                  <a:gd name="T16" fmla="*/ 0 h 48"/>
                  <a:gd name="T17" fmla="*/ 110 w 110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0" h="48">
                    <a:moveTo>
                      <a:pt x="110" y="19"/>
                    </a:moveTo>
                    <a:lnTo>
                      <a:pt x="0" y="48"/>
                    </a:lnTo>
                    <a:lnTo>
                      <a:pt x="0" y="33"/>
                    </a:lnTo>
                    <a:lnTo>
                      <a:pt x="105" y="0"/>
                    </a:lnTo>
                    <a:lnTo>
                      <a:pt x="110" y="1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</p:grpSp>
      <p:grpSp>
        <p:nvGrpSpPr>
          <p:cNvPr id="92170" name="Group 52"/>
          <p:cNvGrpSpPr>
            <a:grpSpLocks/>
          </p:cNvGrpSpPr>
          <p:nvPr/>
        </p:nvGrpSpPr>
        <p:grpSpPr bwMode="auto">
          <a:xfrm>
            <a:off x="2263775" y="3540125"/>
            <a:ext cx="1157288" cy="1157288"/>
            <a:chOff x="2414588" y="4043743"/>
            <a:chExt cx="1157288" cy="1157286"/>
          </a:xfrm>
        </p:grpSpPr>
        <p:sp>
          <p:nvSpPr>
            <p:cNvPr id="74" name="Oval 73"/>
            <p:cNvSpPr/>
            <p:nvPr/>
          </p:nvSpPr>
          <p:spPr bwMode="auto">
            <a:xfrm>
              <a:off x="2414588" y="4043743"/>
              <a:ext cx="1157288" cy="115728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b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200"/>
                </a:spcBef>
                <a:defRPr/>
              </a:pPr>
              <a:r>
                <a:rPr lang="hu-HU" sz="1000" smtClean="0">
                  <a:ea typeface="Arial Unicode MS" pitchFamily="34" charset="-128"/>
                  <a:cs typeface="Arial Unicode MS" pitchFamily="34" charset="-128"/>
                </a:rPr>
                <a:t>Filmet néz</a:t>
              </a:r>
            </a:p>
            <a:p>
              <a:pPr algn="ctr">
                <a:lnSpc>
                  <a:spcPct val="90000"/>
                </a:lnSpc>
                <a:spcBef>
                  <a:spcPts val="200"/>
                </a:spcBef>
                <a:defRPr/>
              </a:pPr>
              <a:r>
                <a:rPr lang="hu-HU" b="1" smtClean="0">
                  <a:solidFill>
                    <a:schemeClr val="accent4"/>
                  </a:solidFill>
                  <a:ea typeface="Arial Unicode MS" pitchFamily="34" charset="-128"/>
                  <a:cs typeface="Arial Unicode MS" pitchFamily="34" charset="-128"/>
                </a:rPr>
                <a:t>21%</a:t>
              </a:r>
              <a:endParaRPr lang="hu-HU" b="1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6" name="Group 101"/>
            <p:cNvGrpSpPr/>
            <p:nvPr/>
          </p:nvGrpSpPr>
          <p:grpSpPr>
            <a:xfrm>
              <a:off x="2750115" y="4174709"/>
              <a:ext cx="480227" cy="421105"/>
              <a:chOff x="-1892300" y="3138488"/>
              <a:chExt cx="1366838" cy="1198563"/>
            </a:xfrm>
            <a:solidFill>
              <a:schemeClr val="tx2"/>
            </a:solidFill>
          </p:grpSpPr>
          <p:sp>
            <p:nvSpPr>
              <p:cNvPr id="9255" name="Freeform 39"/>
              <p:cNvSpPr>
                <a:spLocks noEditPoints="1"/>
              </p:cNvSpPr>
              <p:nvPr/>
            </p:nvSpPr>
            <p:spPr bwMode="auto">
              <a:xfrm>
                <a:off x="-1892300" y="3138488"/>
                <a:ext cx="1366838" cy="1198563"/>
              </a:xfrm>
              <a:custGeom>
                <a:avLst/>
                <a:gdLst/>
                <a:ahLst/>
                <a:cxnLst>
                  <a:cxn ang="0">
                    <a:pos x="726" y="0"/>
                  </a:cxn>
                  <a:cxn ang="0">
                    <a:pos x="0" y="83"/>
                  </a:cxn>
                  <a:cxn ang="0">
                    <a:pos x="82" y="709"/>
                  </a:cxn>
                  <a:cxn ang="0">
                    <a:pos x="808" y="626"/>
                  </a:cxn>
                  <a:cxn ang="0">
                    <a:pos x="726" y="208"/>
                  </a:cxn>
                  <a:cxn ang="0">
                    <a:pos x="687" y="542"/>
                  </a:cxn>
                  <a:cxn ang="0">
                    <a:pos x="78" y="503"/>
                  </a:cxn>
                  <a:cxn ang="0">
                    <a:pos x="117" y="169"/>
                  </a:cxn>
                  <a:cxn ang="0">
                    <a:pos x="726" y="208"/>
                  </a:cxn>
                  <a:cxn ang="0">
                    <a:pos x="663" y="53"/>
                  </a:cxn>
                  <a:cxn ang="0">
                    <a:pos x="723" y="60"/>
                  </a:cxn>
                  <a:cxn ang="0">
                    <a:pos x="715" y="120"/>
                  </a:cxn>
                  <a:cxn ang="0">
                    <a:pos x="656" y="112"/>
                  </a:cxn>
                  <a:cxn ang="0">
                    <a:pos x="513" y="60"/>
                  </a:cxn>
                  <a:cxn ang="0">
                    <a:pos x="573" y="53"/>
                  </a:cxn>
                  <a:cxn ang="0">
                    <a:pos x="580" y="112"/>
                  </a:cxn>
                  <a:cxn ang="0">
                    <a:pos x="520" y="120"/>
                  </a:cxn>
                  <a:cxn ang="0">
                    <a:pos x="513" y="60"/>
                  </a:cxn>
                  <a:cxn ang="0">
                    <a:pos x="377" y="53"/>
                  </a:cxn>
                  <a:cxn ang="0">
                    <a:pos x="439" y="61"/>
                  </a:cxn>
                  <a:cxn ang="0">
                    <a:pos x="431" y="123"/>
                  </a:cxn>
                  <a:cxn ang="0">
                    <a:pos x="369" y="115"/>
                  </a:cxn>
                  <a:cxn ang="0">
                    <a:pos x="220" y="61"/>
                  </a:cxn>
                  <a:cxn ang="0">
                    <a:pos x="282" y="53"/>
                  </a:cxn>
                  <a:cxn ang="0">
                    <a:pos x="290" y="115"/>
                  </a:cxn>
                  <a:cxn ang="0">
                    <a:pos x="228" y="123"/>
                  </a:cxn>
                  <a:cxn ang="0">
                    <a:pos x="220" y="61"/>
                  </a:cxn>
                  <a:cxn ang="0">
                    <a:pos x="79" y="53"/>
                  </a:cxn>
                  <a:cxn ang="0">
                    <a:pos x="141" y="61"/>
                  </a:cxn>
                  <a:cxn ang="0">
                    <a:pos x="134" y="123"/>
                  </a:cxn>
                  <a:cxn ang="0">
                    <a:pos x="72" y="115"/>
                  </a:cxn>
                  <a:cxn ang="0">
                    <a:pos x="141" y="653"/>
                  </a:cxn>
                  <a:cxn ang="0">
                    <a:pos x="79" y="661"/>
                  </a:cxn>
                  <a:cxn ang="0">
                    <a:pos x="72" y="599"/>
                  </a:cxn>
                  <a:cxn ang="0">
                    <a:pos x="134" y="591"/>
                  </a:cxn>
                  <a:cxn ang="0">
                    <a:pos x="141" y="653"/>
                  </a:cxn>
                  <a:cxn ang="0">
                    <a:pos x="282" y="661"/>
                  </a:cxn>
                  <a:cxn ang="0">
                    <a:pos x="220" y="653"/>
                  </a:cxn>
                  <a:cxn ang="0">
                    <a:pos x="228" y="591"/>
                  </a:cxn>
                  <a:cxn ang="0">
                    <a:pos x="290" y="599"/>
                  </a:cxn>
                  <a:cxn ang="0">
                    <a:pos x="439" y="653"/>
                  </a:cxn>
                  <a:cxn ang="0">
                    <a:pos x="377" y="661"/>
                  </a:cxn>
                  <a:cxn ang="0">
                    <a:pos x="369" y="599"/>
                  </a:cxn>
                  <a:cxn ang="0">
                    <a:pos x="431" y="591"/>
                  </a:cxn>
                  <a:cxn ang="0">
                    <a:pos x="439" y="653"/>
                  </a:cxn>
                  <a:cxn ang="0">
                    <a:pos x="525" y="661"/>
                  </a:cxn>
                  <a:cxn ang="0">
                    <a:pos x="518" y="599"/>
                  </a:cxn>
                  <a:cxn ang="0">
                    <a:pos x="580" y="591"/>
                  </a:cxn>
                  <a:cxn ang="0">
                    <a:pos x="588" y="653"/>
                  </a:cxn>
                  <a:cxn ang="0">
                    <a:pos x="729" y="661"/>
                  </a:cxn>
                  <a:cxn ang="0">
                    <a:pos x="667" y="653"/>
                  </a:cxn>
                  <a:cxn ang="0">
                    <a:pos x="674" y="591"/>
                  </a:cxn>
                  <a:cxn ang="0">
                    <a:pos x="736" y="599"/>
                  </a:cxn>
                  <a:cxn ang="0">
                    <a:pos x="729" y="661"/>
                  </a:cxn>
                </a:cxnLst>
                <a:rect l="0" t="0" r="r" b="b"/>
                <a:pathLst>
                  <a:path w="808" h="709">
                    <a:moveTo>
                      <a:pt x="808" y="83"/>
                    </a:moveTo>
                    <a:cubicBezTo>
                      <a:pt x="808" y="37"/>
                      <a:pt x="771" y="0"/>
                      <a:pt x="726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37" y="0"/>
                      <a:pt x="0" y="37"/>
                      <a:pt x="0" y="83"/>
                    </a:cubicBezTo>
                    <a:cubicBezTo>
                      <a:pt x="0" y="626"/>
                      <a:pt x="0" y="626"/>
                      <a:pt x="0" y="626"/>
                    </a:cubicBezTo>
                    <a:cubicBezTo>
                      <a:pt x="0" y="672"/>
                      <a:pt x="37" y="709"/>
                      <a:pt x="82" y="709"/>
                    </a:cubicBezTo>
                    <a:cubicBezTo>
                      <a:pt x="726" y="709"/>
                      <a:pt x="726" y="709"/>
                      <a:pt x="726" y="709"/>
                    </a:cubicBezTo>
                    <a:cubicBezTo>
                      <a:pt x="771" y="709"/>
                      <a:pt x="808" y="672"/>
                      <a:pt x="808" y="626"/>
                    </a:cubicBezTo>
                    <a:lnTo>
                      <a:pt x="808" y="83"/>
                    </a:lnTo>
                    <a:close/>
                    <a:moveTo>
                      <a:pt x="726" y="208"/>
                    </a:moveTo>
                    <a:cubicBezTo>
                      <a:pt x="726" y="503"/>
                      <a:pt x="726" y="503"/>
                      <a:pt x="726" y="503"/>
                    </a:cubicBezTo>
                    <a:cubicBezTo>
                      <a:pt x="726" y="524"/>
                      <a:pt x="708" y="542"/>
                      <a:pt x="687" y="542"/>
                    </a:cubicBezTo>
                    <a:cubicBezTo>
                      <a:pt x="117" y="542"/>
                      <a:pt x="117" y="542"/>
                      <a:pt x="117" y="542"/>
                    </a:cubicBezTo>
                    <a:cubicBezTo>
                      <a:pt x="95" y="542"/>
                      <a:pt x="78" y="524"/>
                      <a:pt x="78" y="503"/>
                    </a:cubicBezTo>
                    <a:cubicBezTo>
                      <a:pt x="78" y="208"/>
                      <a:pt x="78" y="208"/>
                      <a:pt x="78" y="208"/>
                    </a:cubicBezTo>
                    <a:cubicBezTo>
                      <a:pt x="78" y="187"/>
                      <a:pt x="95" y="169"/>
                      <a:pt x="117" y="169"/>
                    </a:cubicBezTo>
                    <a:cubicBezTo>
                      <a:pt x="687" y="169"/>
                      <a:pt x="687" y="169"/>
                      <a:pt x="687" y="169"/>
                    </a:cubicBezTo>
                    <a:cubicBezTo>
                      <a:pt x="708" y="169"/>
                      <a:pt x="726" y="187"/>
                      <a:pt x="726" y="208"/>
                    </a:cubicBezTo>
                    <a:close/>
                    <a:moveTo>
                      <a:pt x="656" y="60"/>
                    </a:moveTo>
                    <a:cubicBezTo>
                      <a:pt x="656" y="56"/>
                      <a:pt x="659" y="53"/>
                      <a:pt x="663" y="53"/>
                    </a:cubicBezTo>
                    <a:cubicBezTo>
                      <a:pt x="715" y="53"/>
                      <a:pt x="715" y="53"/>
                      <a:pt x="715" y="53"/>
                    </a:cubicBezTo>
                    <a:cubicBezTo>
                      <a:pt x="719" y="53"/>
                      <a:pt x="723" y="56"/>
                      <a:pt x="723" y="60"/>
                    </a:cubicBezTo>
                    <a:cubicBezTo>
                      <a:pt x="723" y="112"/>
                      <a:pt x="723" y="112"/>
                      <a:pt x="723" y="112"/>
                    </a:cubicBezTo>
                    <a:cubicBezTo>
                      <a:pt x="723" y="116"/>
                      <a:pt x="719" y="120"/>
                      <a:pt x="715" y="120"/>
                    </a:cubicBezTo>
                    <a:cubicBezTo>
                      <a:pt x="663" y="120"/>
                      <a:pt x="663" y="120"/>
                      <a:pt x="663" y="120"/>
                    </a:cubicBezTo>
                    <a:cubicBezTo>
                      <a:pt x="659" y="120"/>
                      <a:pt x="656" y="116"/>
                      <a:pt x="656" y="112"/>
                    </a:cubicBezTo>
                    <a:lnTo>
                      <a:pt x="656" y="60"/>
                    </a:lnTo>
                    <a:close/>
                    <a:moveTo>
                      <a:pt x="513" y="60"/>
                    </a:moveTo>
                    <a:cubicBezTo>
                      <a:pt x="513" y="56"/>
                      <a:pt x="516" y="53"/>
                      <a:pt x="520" y="53"/>
                    </a:cubicBezTo>
                    <a:cubicBezTo>
                      <a:pt x="573" y="53"/>
                      <a:pt x="573" y="53"/>
                      <a:pt x="573" y="53"/>
                    </a:cubicBezTo>
                    <a:cubicBezTo>
                      <a:pt x="577" y="53"/>
                      <a:pt x="580" y="56"/>
                      <a:pt x="580" y="60"/>
                    </a:cubicBezTo>
                    <a:cubicBezTo>
                      <a:pt x="580" y="112"/>
                      <a:pt x="580" y="112"/>
                      <a:pt x="580" y="112"/>
                    </a:cubicBezTo>
                    <a:cubicBezTo>
                      <a:pt x="580" y="116"/>
                      <a:pt x="577" y="120"/>
                      <a:pt x="573" y="120"/>
                    </a:cubicBezTo>
                    <a:cubicBezTo>
                      <a:pt x="520" y="120"/>
                      <a:pt x="520" y="120"/>
                      <a:pt x="520" y="120"/>
                    </a:cubicBezTo>
                    <a:cubicBezTo>
                      <a:pt x="516" y="120"/>
                      <a:pt x="513" y="116"/>
                      <a:pt x="513" y="112"/>
                    </a:cubicBezTo>
                    <a:lnTo>
                      <a:pt x="513" y="60"/>
                    </a:lnTo>
                    <a:close/>
                    <a:moveTo>
                      <a:pt x="369" y="61"/>
                    </a:moveTo>
                    <a:cubicBezTo>
                      <a:pt x="369" y="57"/>
                      <a:pt x="373" y="53"/>
                      <a:pt x="377" y="53"/>
                    </a:cubicBezTo>
                    <a:cubicBezTo>
                      <a:pt x="431" y="53"/>
                      <a:pt x="431" y="53"/>
                      <a:pt x="431" y="53"/>
                    </a:cubicBezTo>
                    <a:cubicBezTo>
                      <a:pt x="435" y="53"/>
                      <a:pt x="439" y="57"/>
                      <a:pt x="439" y="61"/>
                    </a:cubicBezTo>
                    <a:cubicBezTo>
                      <a:pt x="439" y="115"/>
                      <a:pt x="439" y="115"/>
                      <a:pt x="439" y="115"/>
                    </a:cubicBezTo>
                    <a:cubicBezTo>
                      <a:pt x="439" y="120"/>
                      <a:pt x="435" y="123"/>
                      <a:pt x="431" y="123"/>
                    </a:cubicBezTo>
                    <a:cubicBezTo>
                      <a:pt x="377" y="123"/>
                      <a:pt x="377" y="123"/>
                      <a:pt x="377" y="123"/>
                    </a:cubicBezTo>
                    <a:cubicBezTo>
                      <a:pt x="373" y="123"/>
                      <a:pt x="369" y="120"/>
                      <a:pt x="369" y="115"/>
                    </a:cubicBezTo>
                    <a:lnTo>
                      <a:pt x="369" y="61"/>
                    </a:lnTo>
                    <a:close/>
                    <a:moveTo>
                      <a:pt x="220" y="61"/>
                    </a:moveTo>
                    <a:cubicBezTo>
                      <a:pt x="220" y="57"/>
                      <a:pt x="224" y="53"/>
                      <a:pt x="228" y="53"/>
                    </a:cubicBezTo>
                    <a:cubicBezTo>
                      <a:pt x="282" y="53"/>
                      <a:pt x="282" y="53"/>
                      <a:pt x="282" y="53"/>
                    </a:cubicBezTo>
                    <a:cubicBezTo>
                      <a:pt x="287" y="53"/>
                      <a:pt x="290" y="57"/>
                      <a:pt x="290" y="61"/>
                    </a:cubicBezTo>
                    <a:cubicBezTo>
                      <a:pt x="290" y="115"/>
                      <a:pt x="290" y="115"/>
                      <a:pt x="290" y="115"/>
                    </a:cubicBezTo>
                    <a:cubicBezTo>
                      <a:pt x="290" y="120"/>
                      <a:pt x="287" y="123"/>
                      <a:pt x="282" y="123"/>
                    </a:cubicBezTo>
                    <a:cubicBezTo>
                      <a:pt x="228" y="123"/>
                      <a:pt x="228" y="123"/>
                      <a:pt x="228" y="123"/>
                    </a:cubicBezTo>
                    <a:cubicBezTo>
                      <a:pt x="224" y="123"/>
                      <a:pt x="220" y="120"/>
                      <a:pt x="220" y="115"/>
                    </a:cubicBezTo>
                    <a:lnTo>
                      <a:pt x="220" y="61"/>
                    </a:lnTo>
                    <a:close/>
                    <a:moveTo>
                      <a:pt x="72" y="61"/>
                    </a:moveTo>
                    <a:cubicBezTo>
                      <a:pt x="72" y="57"/>
                      <a:pt x="75" y="53"/>
                      <a:pt x="79" y="53"/>
                    </a:cubicBezTo>
                    <a:cubicBezTo>
                      <a:pt x="134" y="53"/>
                      <a:pt x="134" y="53"/>
                      <a:pt x="134" y="53"/>
                    </a:cubicBezTo>
                    <a:cubicBezTo>
                      <a:pt x="138" y="53"/>
                      <a:pt x="141" y="57"/>
                      <a:pt x="141" y="61"/>
                    </a:cubicBezTo>
                    <a:cubicBezTo>
                      <a:pt x="141" y="115"/>
                      <a:pt x="141" y="115"/>
                      <a:pt x="141" y="115"/>
                    </a:cubicBezTo>
                    <a:cubicBezTo>
                      <a:pt x="141" y="120"/>
                      <a:pt x="138" y="123"/>
                      <a:pt x="134" y="123"/>
                    </a:cubicBezTo>
                    <a:cubicBezTo>
                      <a:pt x="79" y="123"/>
                      <a:pt x="79" y="123"/>
                      <a:pt x="79" y="123"/>
                    </a:cubicBezTo>
                    <a:cubicBezTo>
                      <a:pt x="75" y="123"/>
                      <a:pt x="72" y="120"/>
                      <a:pt x="72" y="115"/>
                    </a:cubicBezTo>
                    <a:lnTo>
                      <a:pt x="72" y="61"/>
                    </a:lnTo>
                    <a:close/>
                    <a:moveTo>
                      <a:pt x="141" y="653"/>
                    </a:moveTo>
                    <a:cubicBezTo>
                      <a:pt x="141" y="657"/>
                      <a:pt x="138" y="661"/>
                      <a:pt x="134" y="661"/>
                    </a:cubicBezTo>
                    <a:cubicBezTo>
                      <a:pt x="79" y="661"/>
                      <a:pt x="79" y="661"/>
                      <a:pt x="79" y="661"/>
                    </a:cubicBezTo>
                    <a:cubicBezTo>
                      <a:pt x="75" y="661"/>
                      <a:pt x="72" y="657"/>
                      <a:pt x="72" y="653"/>
                    </a:cubicBezTo>
                    <a:cubicBezTo>
                      <a:pt x="72" y="599"/>
                      <a:pt x="72" y="599"/>
                      <a:pt x="72" y="599"/>
                    </a:cubicBezTo>
                    <a:cubicBezTo>
                      <a:pt x="72" y="594"/>
                      <a:pt x="75" y="591"/>
                      <a:pt x="79" y="591"/>
                    </a:cubicBezTo>
                    <a:cubicBezTo>
                      <a:pt x="134" y="591"/>
                      <a:pt x="134" y="591"/>
                      <a:pt x="134" y="591"/>
                    </a:cubicBezTo>
                    <a:cubicBezTo>
                      <a:pt x="138" y="591"/>
                      <a:pt x="141" y="594"/>
                      <a:pt x="141" y="599"/>
                    </a:cubicBezTo>
                    <a:lnTo>
                      <a:pt x="141" y="653"/>
                    </a:lnTo>
                    <a:close/>
                    <a:moveTo>
                      <a:pt x="290" y="653"/>
                    </a:moveTo>
                    <a:cubicBezTo>
                      <a:pt x="290" y="657"/>
                      <a:pt x="287" y="661"/>
                      <a:pt x="282" y="661"/>
                    </a:cubicBezTo>
                    <a:cubicBezTo>
                      <a:pt x="228" y="661"/>
                      <a:pt x="228" y="661"/>
                      <a:pt x="228" y="661"/>
                    </a:cubicBezTo>
                    <a:cubicBezTo>
                      <a:pt x="224" y="661"/>
                      <a:pt x="220" y="657"/>
                      <a:pt x="220" y="653"/>
                    </a:cubicBezTo>
                    <a:cubicBezTo>
                      <a:pt x="220" y="599"/>
                      <a:pt x="220" y="599"/>
                      <a:pt x="220" y="599"/>
                    </a:cubicBezTo>
                    <a:cubicBezTo>
                      <a:pt x="220" y="594"/>
                      <a:pt x="224" y="591"/>
                      <a:pt x="228" y="591"/>
                    </a:cubicBezTo>
                    <a:cubicBezTo>
                      <a:pt x="282" y="591"/>
                      <a:pt x="282" y="591"/>
                      <a:pt x="282" y="591"/>
                    </a:cubicBezTo>
                    <a:cubicBezTo>
                      <a:pt x="287" y="591"/>
                      <a:pt x="290" y="594"/>
                      <a:pt x="290" y="599"/>
                    </a:cubicBezTo>
                    <a:lnTo>
                      <a:pt x="290" y="653"/>
                    </a:lnTo>
                    <a:close/>
                    <a:moveTo>
                      <a:pt x="439" y="653"/>
                    </a:moveTo>
                    <a:cubicBezTo>
                      <a:pt x="439" y="657"/>
                      <a:pt x="435" y="661"/>
                      <a:pt x="431" y="661"/>
                    </a:cubicBezTo>
                    <a:cubicBezTo>
                      <a:pt x="377" y="661"/>
                      <a:pt x="377" y="661"/>
                      <a:pt x="377" y="661"/>
                    </a:cubicBezTo>
                    <a:cubicBezTo>
                      <a:pt x="372" y="661"/>
                      <a:pt x="369" y="657"/>
                      <a:pt x="369" y="653"/>
                    </a:cubicBezTo>
                    <a:cubicBezTo>
                      <a:pt x="369" y="599"/>
                      <a:pt x="369" y="599"/>
                      <a:pt x="369" y="599"/>
                    </a:cubicBezTo>
                    <a:cubicBezTo>
                      <a:pt x="369" y="594"/>
                      <a:pt x="372" y="591"/>
                      <a:pt x="377" y="591"/>
                    </a:cubicBezTo>
                    <a:cubicBezTo>
                      <a:pt x="431" y="591"/>
                      <a:pt x="431" y="591"/>
                      <a:pt x="431" y="591"/>
                    </a:cubicBezTo>
                    <a:cubicBezTo>
                      <a:pt x="435" y="591"/>
                      <a:pt x="439" y="594"/>
                      <a:pt x="439" y="599"/>
                    </a:cubicBezTo>
                    <a:lnTo>
                      <a:pt x="439" y="653"/>
                    </a:lnTo>
                    <a:close/>
                    <a:moveTo>
                      <a:pt x="580" y="661"/>
                    </a:moveTo>
                    <a:cubicBezTo>
                      <a:pt x="525" y="661"/>
                      <a:pt x="525" y="661"/>
                      <a:pt x="525" y="661"/>
                    </a:cubicBezTo>
                    <a:cubicBezTo>
                      <a:pt x="521" y="661"/>
                      <a:pt x="518" y="657"/>
                      <a:pt x="518" y="653"/>
                    </a:cubicBezTo>
                    <a:cubicBezTo>
                      <a:pt x="518" y="599"/>
                      <a:pt x="518" y="599"/>
                      <a:pt x="518" y="599"/>
                    </a:cubicBezTo>
                    <a:cubicBezTo>
                      <a:pt x="518" y="594"/>
                      <a:pt x="521" y="591"/>
                      <a:pt x="525" y="591"/>
                    </a:cubicBezTo>
                    <a:cubicBezTo>
                      <a:pt x="580" y="591"/>
                      <a:pt x="580" y="591"/>
                      <a:pt x="580" y="591"/>
                    </a:cubicBezTo>
                    <a:cubicBezTo>
                      <a:pt x="584" y="591"/>
                      <a:pt x="588" y="594"/>
                      <a:pt x="588" y="599"/>
                    </a:cubicBezTo>
                    <a:cubicBezTo>
                      <a:pt x="588" y="653"/>
                      <a:pt x="588" y="653"/>
                      <a:pt x="588" y="653"/>
                    </a:cubicBezTo>
                    <a:cubicBezTo>
                      <a:pt x="588" y="657"/>
                      <a:pt x="584" y="661"/>
                      <a:pt x="580" y="661"/>
                    </a:cubicBezTo>
                    <a:close/>
                    <a:moveTo>
                      <a:pt x="729" y="661"/>
                    </a:moveTo>
                    <a:cubicBezTo>
                      <a:pt x="674" y="661"/>
                      <a:pt x="674" y="661"/>
                      <a:pt x="674" y="661"/>
                    </a:cubicBezTo>
                    <a:cubicBezTo>
                      <a:pt x="670" y="661"/>
                      <a:pt x="667" y="657"/>
                      <a:pt x="667" y="653"/>
                    </a:cubicBezTo>
                    <a:cubicBezTo>
                      <a:pt x="667" y="599"/>
                      <a:pt x="667" y="599"/>
                      <a:pt x="667" y="599"/>
                    </a:cubicBezTo>
                    <a:cubicBezTo>
                      <a:pt x="667" y="594"/>
                      <a:pt x="670" y="591"/>
                      <a:pt x="674" y="591"/>
                    </a:cubicBezTo>
                    <a:cubicBezTo>
                      <a:pt x="729" y="591"/>
                      <a:pt x="729" y="591"/>
                      <a:pt x="729" y="591"/>
                    </a:cubicBezTo>
                    <a:cubicBezTo>
                      <a:pt x="733" y="591"/>
                      <a:pt x="736" y="594"/>
                      <a:pt x="736" y="599"/>
                    </a:cubicBezTo>
                    <a:cubicBezTo>
                      <a:pt x="736" y="653"/>
                      <a:pt x="736" y="653"/>
                      <a:pt x="736" y="653"/>
                    </a:cubicBezTo>
                    <a:cubicBezTo>
                      <a:pt x="736" y="657"/>
                      <a:pt x="733" y="661"/>
                      <a:pt x="729" y="66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56" name="Freeform 40"/>
              <p:cNvSpPr>
                <a:spLocks noEditPoints="1"/>
              </p:cNvSpPr>
              <p:nvPr/>
            </p:nvSpPr>
            <p:spPr bwMode="auto">
              <a:xfrm>
                <a:off x="-1703388" y="3479800"/>
                <a:ext cx="982663" cy="519113"/>
              </a:xfrm>
              <a:custGeom>
                <a:avLst/>
                <a:gdLst/>
                <a:ahLst/>
                <a:cxnLst>
                  <a:cxn ang="0">
                    <a:pos x="582" y="21"/>
                  </a:cxn>
                  <a:cxn ang="0">
                    <a:pos x="561" y="0"/>
                  </a:cxn>
                  <a:cxn ang="0">
                    <a:pos x="20" y="0"/>
                  </a:cxn>
                  <a:cxn ang="0">
                    <a:pos x="0" y="21"/>
                  </a:cxn>
                  <a:cxn ang="0">
                    <a:pos x="0" y="286"/>
                  </a:cxn>
                  <a:cxn ang="0">
                    <a:pos x="20" y="307"/>
                  </a:cxn>
                  <a:cxn ang="0">
                    <a:pos x="561" y="307"/>
                  </a:cxn>
                  <a:cxn ang="0">
                    <a:pos x="582" y="286"/>
                  </a:cxn>
                  <a:cxn ang="0">
                    <a:pos x="582" y="21"/>
                  </a:cxn>
                  <a:cxn ang="0">
                    <a:pos x="412" y="162"/>
                  </a:cxn>
                  <a:cxn ang="0">
                    <a:pos x="252" y="245"/>
                  </a:cxn>
                  <a:cxn ang="0">
                    <a:pos x="227" y="231"/>
                  </a:cxn>
                  <a:cxn ang="0">
                    <a:pos x="227" y="68"/>
                  </a:cxn>
                  <a:cxn ang="0">
                    <a:pos x="252" y="53"/>
                  </a:cxn>
                  <a:cxn ang="0">
                    <a:pos x="412" y="137"/>
                  </a:cxn>
                  <a:cxn ang="0">
                    <a:pos x="412" y="162"/>
                  </a:cxn>
                </a:cxnLst>
                <a:rect l="0" t="0" r="r" b="b"/>
                <a:pathLst>
                  <a:path w="582" h="307">
                    <a:moveTo>
                      <a:pt x="582" y="21"/>
                    </a:moveTo>
                    <a:cubicBezTo>
                      <a:pt x="582" y="9"/>
                      <a:pt x="573" y="0"/>
                      <a:pt x="561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9" y="0"/>
                      <a:pt x="0" y="9"/>
                      <a:pt x="0" y="21"/>
                    </a:cubicBezTo>
                    <a:cubicBezTo>
                      <a:pt x="0" y="286"/>
                      <a:pt x="0" y="286"/>
                      <a:pt x="0" y="286"/>
                    </a:cubicBezTo>
                    <a:cubicBezTo>
                      <a:pt x="0" y="298"/>
                      <a:pt x="9" y="307"/>
                      <a:pt x="20" y="307"/>
                    </a:cubicBezTo>
                    <a:cubicBezTo>
                      <a:pt x="561" y="307"/>
                      <a:pt x="561" y="307"/>
                      <a:pt x="561" y="307"/>
                    </a:cubicBezTo>
                    <a:cubicBezTo>
                      <a:pt x="573" y="307"/>
                      <a:pt x="582" y="298"/>
                      <a:pt x="582" y="286"/>
                    </a:cubicBezTo>
                    <a:lnTo>
                      <a:pt x="582" y="21"/>
                    </a:lnTo>
                    <a:close/>
                    <a:moveTo>
                      <a:pt x="412" y="162"/>
                    </a:moveTo>
                    <a:cubicBezTo>
                      <a:pt x="252" y="245"/>
                      <a:pt x="252" y="245"/>
                      <a:pt x="252" y="245"/>
                    </a:cubicBezTo>
                    <a:cubicBezTo>
                      <a:pt x="238" y="252"/>
                      <a:pt x="227" y="246"/>
                      <a:pt x="227" y="231"/>
                    </a:cubicBezTo>
                    <a:cubicBezTo>
                      <a:pt x="227" y="68"/>
                      <a:pt x="227" y="68"/>
                      <a:pt x="227" y="68"/>
                    </a:cubicBezTo>
                    <a:cubicBezTo>
                      <a:pt x="227" y="53"/>
                      <a:pt x="238" y="46"/>
                      <a:pt x="252" y="53"/>
                    </a:cubicBezTo>
                    <a:cubicBezTo>
                      <a:pt x="412" y="137"/>
                      <a:pt x="412" y="137"/>
                      <a:pt x="412" y="137"/>
                    </a:cubicBezTo>
                    <a:cubicBezTo>
                      <a:pt x="425" y="144"/>
                      <a:pt x="425" y="155"/>
                      <a:pt x="412" y="162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</p:grpSp>
      <p:grpSp>
        <p:nvGrpSpPr>
          <p:cNvPr id="92171" name="Group 56"/>
          <p:cNvGrpSpPr>
            <a:grpSpLocks/>
          </p:cNvGrpSpPr>
          <p:nvPr/>
        </p:nvGrpSpPr>
        <p:grpSpPr bwMode="auto">
          <a:xfrm>
            <a:off x="5548313" y="1968500"/>
            <a:ext cx="1157287" cy="1344613"/>
            <a:chOff x="5548313" y="2179654"/>
            <a:chExt cx="1157288" cy="1344975"/>
          </a:xfrm>
        </p:grpSpPr>
        <p:sp>
          <p:nvSpPr>
            <p:cNvPr id="71" name="Oval 70"/>
            <p:cNvSpPr/>
            <p:nvPr/>
          </p:nvSpPr>
          <p:spPr bwMode="auto">
            <a:xfrm>
              <a:off x="5548313" y="2367029"/>
              <a:ext cx="1157288" cy="115760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b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200"/>
                </a:spcBef>
              </a:pPr>
              <a:r>
                <a:rPr lang="hu-HU" sz="1000">
                  <a:ea typeface="Arial Unicode MS" pitchFamily="34" charset="-128"/>
                  <a:cs typeface="Arial Unicode MS" pitchFamily="34" charset="-128"/>
                </a:rPr>
                <a:t>Tv-t néz</a:t>
              </a:r>
            </a:p>
            <a:p>
              <a:pPr algn="ctr">
                <a:lnSpc>
                  <a:spcPct val="90000"/>
                </a:lnSpc>
                <a:spcBef>
                  <a:spcPts val="200"/>
                </a:spcBef>
              </a:pPr>
              <a:r>
                <a:rPr lang="hu-HU" b="1">
                  <a:solidFill>
                    <a:srgbClr val="D50F25"/>
                  </a:solidFill>
                  <a:ea typeface="Arial Unicode MS" pitchFamily="34" charset="-128"/>
                  <a:cs typeface="Arial Unicode MS" pitchFamily="34" charset="-128"/>
                </a:rPr>
                <a:t>34%</a:t>
              </a:r>
            </a:p>
          </p:txBody>
        </p:sp>
        <p:grpSp>
          <p:nvGrpSpPr>
            <p:cNvPr id="7" name="Group 34"/>
            <p:cNvGrpSpPr/>
            <p:nvPr/>
          </p:nvGrpSpPr>
          <p:grpSpPr>
            <a:xfrm>
              <a:off x="5845010" y="2179654"/>
              <a:ext cx="681295" cy="716769"/>
              <a:chOff x="533400" y="3873500"/>
              <a:chExt cx="1189038" cy="1250950"/>
            </a:xfrm>
            <a:solidFill>
              <a:schemeClr val="accent4"/>
            </a:solidFill>
          </p:grpSpPr>
          <p:sp>
            <p:nvSpPr>
              <p:cNvPr id="85" name="Freeform 17"/>
              <p:cNvSpPr>
                <a:spLocks/>
              </p:cNvSpPr>
              <p:nvPr/>
            </p:nvSpPr>
            <p:spPr bwMode="auto">
              <a:xfrm>
                <a:off x="774700" y="3873500"/>
                <a:ext cx="722313" cy="273050"/>
              </a:xfrm>
              <a:custGeom>
                <a:avLst/>
                <a:gdLst/>
                <a:ahLst/>
                <a:cxnLst>
                  <a:cxn ang="0">
                    <a:pos x="36" y="15"/>
                  </a:cxn>
                  <a:cxn ang="0">
                    <a:pos x="35" y="13"/>
                  </a:cxn>
                  <a:cxn ang="0">
                    <a:pos x="45" y="3"/>
                  </a:cxn>
                  <a:cxn ang="0">
                    <a:pos x="45" y="0"/>
                  </a:cxn>
                  <a:cxn ang="0">
                    <a:pos x="43" y="0"/>
                  </a:cxn>
                  <a:cxn ang="0">
                    <a:pos x="32" y="12"/>
                  </a:cxn>
                  <a:cxn ang="0">
                    <a:pos x="14" y="12"/>
                  </a:cxn>
                  <a:cxn ang="0">
                    <a:pos x="3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11" y="13"/>
                  </a:cxn>
                  <a:cxn ang="0">
                    <a:pos x="10" y="15"/>
                  </a:cxn>
                  <a:cxn ang="0">
                    <a:pos x="10" y="17"/>
                  </a:cxn>
                  <a:cxn ang="0">
                    <a:pos x="36" y="17"/>
                  </a:cxn>
                  <a:cxn ang="0">
                    <a:pos x="36" y="15"/>
                  </a:cxn>
                </a:cxnLst>
                <a:rect l="0" t="0" r="r" b="b"/>
                <a:pathLst>
                  <a:path w="45" h="17">
                    <a:moveTo>
                      <a:pt x="36" y="15"/>
                    </a:moveTo>
                    <a:cubicBezTo>
                      <a:pt x="36" y="14"/>
                      <a:pt x="36" y="13"/>
                      <a:pt x="35" y="13"/>
                    </a:cubicBezTo>
                    <a:cubicBezTo>
                      <a:pt x="45" y="3"/>
                      <a:pt x="45" y="3"/>
                      <a:pt x="45" y="3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0" y="13"/>
                      <a:pt x="10" y="14"/>
                      <a:pt x="10" y="15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36" y="17"/>
                      <a:pt x="36" y="17"/>
                      <a:pt x="36" y="17"/>
                    </a:cubicBezTo>
                    <a:lnTo>
                      <a:pt x="36" y="1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6" name="Freeform 18"/>
              <p:cNvSpPr>
                <a:spLocks noEditPoints="1"/>
              </p:cNvSpPr>
              <p:nvPr/>
            </p:nvSpPr>
            <p:spPr bwMode="auto">
              <a:xfrm>
                <a:off x="533400" y="4162425"/>
                <a:ext cx="1189038" cy="962025"/>
              </a:xfrm>
              <a:custGeom>
                <a:avLst/>
                <a:gdLst/>
                <a:ahLst/>
                <a:cxnLst>
                  <a:cxn ang="0">
                    <a:pos x="71" y="0"/>
                  </a:cxn>
                  <a:cxn ang="0">
                    <a:pos x="52" y="0"/>
                  </a:cxn>
                  <a:cxn ang="0">
                    <a:pos x="51" y="0"/>
                  </a:cxn>
                  <a:cxn ang="0">
                    <a:pos x="25" y="0"/>
                  </a:cxn>
                  <a:cxn ang="0">
                    <a:pos x="23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57"/>
                  </a:cxn>
                  <a:cxn ang="0">
                    <a:pos x="3" y="60"/>
                  </a:cxn>
                  <a:cxn ang="0">
                    <a:pos x="71" y="60"/>
                  </a:cxn>
                  <a:cxn ang="0">
                    <a:pos x="74" y="57"/>
                  </a:cxn>
                  <a:cxn ang="0">
                    <a:pos x="74" y="3"/>
                  </a:cxn>
                  <a:cxn ang="0">
                    <a:pos x="71" y="0"/>
                  </a:cxn>
                  <a:cxn ang="0">
                    <a:pos x="21" y="56"/>
                  </a:cxn>
                  <a:cxn ang="0">
                    <a:pos x="19" y="54"/>
                  </a:cxn>
                  <a:cxn ang="0">
                    <a:pos x="21" y="51"/>
                  </a:cxn>
                  <a:cxn ang="0">
                    <a:pos x="24" y="54"/>
                  </a:cxn>
                  <a:cxn ang="0">
                    <a:pos x="21" y="56"/>
                  </a:cxn>
                  <a:cxn ang="0">
                    <a:pos x="29" y="56"/>
                  </a:cxn>
                  <a:cxn ang="0">
                    <a:pos x="27" y="54"/>
                  </a:cxn>
                  <a:cxn ang="0">
                    <a:pos x="29" y="51"/>
                  </a:cxn>
                  <a:cxn ang="0">
                    <a:pos x="32" y="54"/>
                  </a:cxn>
                  <a:cxn ang="0">
                    <a:pos x="29" y="56"/>
                  </a:cxn>
                  <a:cxn ang="0">
                    <a:pos x="37" y="58"/>
                  </a:cxn>
                  <a:cxn ang="0">
                    <a:pos x="33" y="53"/>
                  </a:cxn>
                  <a:cxn ang="0">
                    <a:pos x="37" y="49"/>
                  </a:cxn>
                  <a:cxn ang="0">
                    <a:pos x="41" y="53"/>
                  </a:cxn>
                  <a:cxn ang="0">
                    <a:pos x="37" y="58"/>
                  </a:cxn>
                  <a:cxn ang="0">
                    <a:pos x="45" y="56"/>
                  </a:cxn>
                  <a:cxn ang="0">
                    <a:pos x="43" y="54"/>
                  </a:cxn>
                  <a:cxn ang="0">
                    <a:pos x="45" y="51"/>
                  </a:cxn>
                  <a:cxn ang="0">
                    <a:pos x="47" y="54"/>
                  </a:cxn>
                  <a:cxn ang="0">
                    <a:pos x="45" y="56"/>
                  </a:cxn>
                  <a:cxn ang="0">
                    <a:pos x="53" y="56"/>
                  </a:cxn>
                  <a:cxn ang="0">
                    <a:pos x="51" y="54"/>
                  </a:cxn>
                  <a:cxn ang="0">
                    <a:pos x="53" y="51"/>
                  </a:cxn>
                  <a:cxn ang="0">
                    <a:pos x="55" y="54"/>
                  </a:cxn>
                  <a:cxn ang="0">
                    <a:pos x="53" y="56"/>
                  </a:cxn>
                  <a:cxn ang="0">
                    <a:pos x="70" y="44"/>
                  </a:cxn>
                  <a:cxn ang="0">
                    <a:pos x="67" y="47"/>
                  </a:cxn>
                  <a:cxn ang="0">
                    <a:pos x="7" y="47"/>
                  </a:cxn>
                  <a:cxn ang="0">
                    <a:pos x="4" y="44"/>
                  </a:cxn>
                  <a:cxn ang="0">
                    <a:pos x="4" y="8"/>
                  </a:cxn>
                  <a:cxn ang="0">
                    <a:pos x="7" y="5"/>
                  </a:cxn>
                  <a:cxn ang="0">
                    <a:pos x="21" y="5"/>
                  </a:cxn>
                  <a:cxn ang="0">
                    <a:pos x="53" y="5"/>
                  </a:cxn>
                  <a:cxn ang="0">
                    <a:pos x="67" y="5"/>
                  </a:cxn>
                  <a:cxn ang="0">
                    <a:pos x="70" y="8"/>
                  </a:cxn>
                  <a:cxn ang="0">
                    <a:pos x="70" y="44"/>
                  </a:cxn>
                </a:cxnLst>
                <a:rect l="0" t="0" r="r" b="b"/>
                <a:pathLst>
                  <a:path w="74" h="60">
                    <a:moveTo>
                      <a:pt x="71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2"/>
                      <a:pt x="0" y="3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59"/>
                      <a:pt x="2" y="60"/>
                      <a:pt x="3" y="60"/>
                    </a:cubicBezTo>
                    <a:cubicBezTo>
                      <a:pt x="71" y="60"/>
                      <a:pt x="71" y="60"/>
                      <a:pt x="71" y="60"/>
                    </a:cubicBezTo>
                    <a:cubicBezTo>
                      <a:pt x="73" y="60"/>
                      <a:pt x="74" y="59"/>
                      <a:pt x="74" y="57"/>
                    </a:cubicBezTo>
                    <a:cubicBezTo>
                      <a:pt x="74" y="3"/>
                      <a:pt x="74" y="3"/>
                      <a:pt x="74" y="3"/>
                    </a:cubicBezTo>
                    <a:cubicBezTo>
                      <a:pt x="74" y="2"/>
                      <a:pt x="73" y="0"/>
                      <a:pt x="71" y="0"/>
                    </a:cubicBezTo>
                    <a:close/>
                    <a:moveTo>
                      <a:pt x="21" y="56"/>
                    </a:moveTo>
                    <a:cubicBezTo>
                      <a:pt x="20" y="56"/>
                      <a:pt x="19" y="55"/>
                      <a:pt x="19" y="54"/>
                    </a:cubicBezTo>
                    <a:cubicBezTo>
                      <a:pt x="19" y="52"/>
                      <a:pt x="20" y="51"/>
                      <a:pt x="21" y="51"/>
                    </a:cubicBezTo>
                    <a:cubicBezTo>
                      <a:pt x="23" y="51"/>
                      <a:pt x="24" y="52"/>
                      <a:pt x="24" y="54"/>
                    </a:cubicBezTo>
                    <a:cubicBezTo>
                      <a:pt x="24" y="55"/>
                      <a:pt x="23" y="56"/>
                      <a:pt x="21" y="56"/>
                    </a:cubicBezTo>
                    <a:close/>
                    <a:moveTo>
                      <a:pt x="29" y="56"/>
                    </a:moveTo>
                    <a:cubicBezTo>
                      <a:pt x="28" y="56"/>
                      <a:pt x="27" y="55"/>
                      <a:pt x="27" y="54"/>
                    </a:cubicBezTo>
                    <a:cubicBezTo>
                      <a:pt x="27" y="52"/>
                      <a:pt x="28" y="51"/>
                      <a:pt x="29" y="51"/>
                    </a:cubicBezTo>
                    <a:cubicBezTo>
                      <a:pt x="31" y="51"/>
                      <a:pt x="32" y="52"/>
                      <a:pt x="32" y="54"/>
                    </a:cubicBezTo>
                    <a:cubicBezTo>
                      <a:pt x="32" y="55"/>
                      <a:pt x="31" y="56"/>
                      <a:pt x="29" y="56"/>
                    </a:cubicBezTo>
                    <a:close/>
                    <a:moveTo>
                      <a:pt x="37" y="58"/>
                    </a:moveTo>
                    <a:cubicBezTo>
                      <a:pt x="35" y="58"/>
                      <a:pt x="33" y="56"/>
                      <a:pt x="33" y="53"/>
                    </a:cubicBezTo>
                    <a:cubicBezTo>
                      <a:pt x="33" y="51"/>
                      <a:pt x="35" y="49"/>
                      <a:pt x="37" y="49"/>
                    </a:cubicBezTo>
                    <a:cubicBezTo>
                      <a:pt x="39" y="49"/>
                      <a:pt x="41" y="51"/>
                      <a:pt x="41" y="53"/>
                    </a:cubicBezTo>
                    <a:cubicBezTo>
                      <a:pt x="41" y="56"/>
                      <a:pt x="39" y="58"/>
                      <a:pt x="37" y="58"/>
                    </a:cubicBezTo>
                    <a:close/>
                    <a:moveTo>
                      <a:pt x="45" y="56"/>
                    </a:moveTo>
                    <a:cubicBezTo>
                      <a:pt x="44" y="56"/>
                      <a:pt x="43" y="55"/>
                      <a:pt x="43" y="54"/>
                    </a:cubicBezTo>
                    <a:cubicBezTo>
                      <a:pt x="43" y="52"/>
                      <a:pt x="44" y="51"/>
                      <a:pt x="45" y="51"/>
                    </a:cubicBezTo>
                    <a:cubicBezTo>
                      <a:pt x="46" y="51"/>
                      <a:pt x="47" y="52"/>
                      <a:pt x="47" y="54"/>
                    </a:cubicBezTo>
                    <a:cubicBezTo>
                      <a:pt x="47" y="55"/>
                      <a:pt x="46" y="56"/>
                      <a:pt x="45" y="56"/>
                    </a:cubicBezTo>
                    <a:close/>
                    <a:moveTo>
                      <a:pt x="53" y="56"/>
                    </a:moveTo>
                    <a:cubicBezTo>
                      <a:pt x="52" y="56"/>
                      <a:pt x="51" y="55"/>
                      <a:pt x="51" y="54"/>
                    </a:cubicBezTo>
                    <a:cubicBezTo>
                      <a:pt x="51" y="52"/>
                      <a:pt x="52" y="51"/>
                      <a:pt x="53" y="51"/>
                    </a:cubicBezTo>
                    <a:cubicBezTo>
                      <a:pt x="54" y="51"/>
                      <a:pt x="55" y="52"/>
                      <a:pt x="55" y="54"/>
                    </a:cubicBezTo>
                    <a:cubicBezTo>
                      <a:pt x="55" y="55"/>
                      <a:pt x="54" y="56"/>
                      <a:pt x="53" y="56"/>
                    </a:cubicBezTo>
                    <a:close/>
                    <a:moveTo>
                      <a:pt x="70" y="44"/>
                    </a:moveTo>
                    <a:cubicBezTo>
                      <a:pt x="70" y="46"/>
                      <a:pt x="69" y="47"/>
                      <a:pt x="67" y="47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6" y="47"/>
                      <a:pt x="4" y="46"/>
                      <a:pt x="4" y="44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6"/>
                      <a:pt x="6" y="5"/>
                      <a:pt x="7" y="5"/>
                    </a:cubicBezTo>
                    <a:cubicBezTo>
                      <a:pt x="21" y="5"/>
                      <a:pt x="21" y="5"/>
                      <a:pt x="21" y="5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69" y="5"/>
                      <a:pt x="70" y="6"/>
                      <a:pt x="70" y="8"/>
                    </a:cubicBezTo>
                    <a:lnTo>
                      <a:pt x="70" y="4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</p:grpSp>
      <p:grpSp>
        <p:nvGrpSpPr>
          <p:cNvPr id="92172" name="Group 57"/>
          <p:cNvGrpSpPr>
            <a:grpSpLocks/>
          </p:cNvGrpSpPr>
          <p:nvPr/>
        </p:nvGrpSpPr>
        <p:grpSpPr bwMode="auto">
          <a:xfrm>
            <a:off x="3983038" y="1346200"/>
            <a:ext cx="1158875" cy="1204913"/>
            <a:chOff x="3983831" y="1369895"/>
            <a:chExt cx="1157288" cy="1204615"/>
          </a:xfrm>
        </p:grpSpPr>
        <p:sp>
          <p:nvSpPr>
            <p:cNvPr id="72" name="Oval 71"/>
            <p:cNvSpPr/>
            <p:nvPr/>
          </p:nvSpPr>
          <p:spPr bwMode="auto">
            <a:xfrm>
              <a:off x="3983831" y="1417508"/>
              <a:ext cx="1157288" cy="1157002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b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200"/>
                </a:spcBef>
                <a:defRPr/>
              </a:pPr>
              <a:r>
                <a:rPr lang="hu-HU" sz="1000" cap="all" smtClean="0">
                  <a:ea typeface="Arial Unicode MS" pitchFamily="34" charset="-128"/>
                  <a:cs typeface="Arial Unicode MS" pitchFamily="34" charset="-128"/>
                </a:rPr>
                <a:t>Z</a:t>
              </a:r>
              <a:r>
                <a:rPr lang="hu-HU" sz="1000" smtClean="0">
                  <a:ea typeface="Arial Unicode MS" pitchFamily="34" charset="-128"/>
                  <a:cs typeface="Arial Unicode MS" pitchFamily="34" charset="-128"/>
                </a:rPr>
                <a:t>enét hallgat</a:t>
              </a:r>
            </a:p>
            <a:p>
              <a:pPr algn="ctr">
                <a:lnSpc>
                  <a:spcPct val="90000"/>
                </a:lnSpc>
                <a:spcBef>
                  <a:spcPts val="200"/>
                </a:spcBef>
                <a:defRPr/>
              </a:pPr>
              <a:r>
                <a:rPr lang="hu-HU" b="1" cap="all" smtClean="0">
                  <a:solidFill>
                    <a:schemeClr val="accent4"/>
                  </a:solidFill>
                  <a:ea typeface="Arial Unicode MS" pitchFamily="34" charset="-128"/>
                  <a:cs typeface="Arial Unicode MS" pitchFamily="34" charset="-128"/>
                </a:rPr>
                <a:t>33%</a:t>
              </a:r>
              <a:endParaRPr lang="hu-HU" b="1" cap="all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262" name="Freeform 46"/>
            <p:cNvSpPr>
              <a:spLocks noEditPoints="1"/>
            </p:cNvSpPr>
            <p:nvPr/>
          </p:nvSpPr>
          <p:spPr bwMode="auto">
            <a:xfrm>
              <a:off x="4188338" y="1369895"/>
              <a:ext cx="716567" cy="611037"/>
            </a:xfrm>
            <a:custGeom>
              <a:avLst/>
              <a:gdLst/>
              <a:ahLst/>
              <a:cxnLst>
                <a:cxn ang="0">
                  <a:pos x="162" y="96"/>
                </a:cxn>
                <a:cxn ang="0">
                  <a:pos x="148" y="86"/>
                </a:cxn>
                <a:cxn ang="0">
                  <a:pos x="148" y="86"/>
                </a:cxn>
                <a:cxn ang="0">
                  <a:pos x="133" y="101"/>
                </a:cxn>
                <a:cxn ang="0">
                  <a:pos x="133" y="145"/>
                </a:cxn>
                <a:cxn ang="0">
                  <a:pos x="148" y="161"/>
                </a:cxn>
                <a:cxn ang="0">
                  <a:pos x="148" y="161"/>
                </a:cxn>
                <a:cxn ang="0">
                  <a:pos x="162" y="150"/>
                </a:cxn>
                <a:cxn ang="0">
                  <a:pos x="189" y="123"/>
                </a:cxn>
                <a:cxn ang="0">
                  <a:pos x="162" y="96"/>
                </a:cxn>
                <a:cxn ang="0">
                  <a:pos x="153" y="146"/>
                </a:cxn>
                <a:cxn ang="0">
                  <a:pos x="148" y="151"/>
                </a:cxn>
                <a:cxn ang="0">
                  <a:pos x="143" y="146"/>
                </a:cxn>
                <a:cxn ang="0">
                  <a:pos x="143" y="100"/>
                </a:cxn>
                <a:cxn ang="0">
                  <a:pos x="148" y="96"/>
                </a:cxn>
                <a:cxn ang="0">
                  <a:pos x="153" y="100"/>
                </a:cxn>
                <a:cxn ang="0">
                  <a:pos x="153" y="146"/>
                </a:cxn>
                <a:cxn ang="0">
                  <a:pos x="41" y="86"/>
                </a:cxn>
                <a:cxn ang="0">
                  <a:pos x="41" y="86"/>
                </a:cxn>
                <a:cxn ang="0">
                  <a:pos x="27" y="96"/>
                </a:cxn>
                <a:cxn ang="0">
                  <a:pos x="0" y="123"/>
                </a:cxn>
                <a:cxn ang="0">
                  <a:pos x="27" y="150"/>
                </a:cxn>
                <a:cxn ang="0">
                  <a:pos x="41" y="161"/>
                </a:cxn>
                <a:cxn ang="0">
                  <a:pos x="41" y="161"/>
                </a:cxn>
                <a:cxn ang="0">
                  <a:pos x="56" y="145"/>
                </a:cxn>
                <a:cxn ang="0">
                  <a:pos x="56" y="101"/>
                </a:cxn>
                <a:cxn ang="0">
                  <a:pos x="41" y="86"/>
                </a:cxn>
                <a:cxn ang="0">
                  <a:pos x="46" y="146"/>
                </a:cxn>
                <a:cxn ang="0">
                  <a:pos x="41" y="151"/>
                </a:cxn>
                <a:cxn ang="0">
                  <a:pos x="36" y="146"/>
                </a:cxn>
                <a:cxn ang="0">
                  <a:pos x="36" y="100"/>
                </a:cxn>
                <a:cxn ang="0">
                  <a:pos x="41" y="96"/>
                </a:cxn>
                <a:cxn ang="0">
                  <a:pos x="46" y="100"/>
                </a:cxn>
                <a:cxn ang="0">
                  <a:pos x="46" y="146"/>
                </a:cxn>
                <a:cxn ang="0">
                  <a:pos x="139" y="42"/>
                </a:cxn>
                <a:cxn ang="0">
                  <a:pos x="149" y="45"/>
                </a:cxn>
                <a:cxn ang="0">
                  <a:pos x="163" y="87"/>
                </a:cxn>
                <a:cxn ang="0">
                  <a:pos x="169" y="93"/>
                </a:cxn>
                <a:cxn ang="0">
                  <a:pos x="175" y="87"/>
                </a:cxn>
                <a:cxn ang="0">
                  <a:pos x="158" y="37"/>
                </a:cxn>
                <a:cxn ang="0">
                  <a:pos x="155" y="26"/>
                </a:cxn>
                <a:cxn ang="0">
                  <a:pos x="94" y="0"/>
                </a:cxn>
                <a:cxn ang="0">
                  <a:pos x="94" y="0"/>
                </a:cxn>
                <a:cxn ang="0">
                  <a:pos x="94" y="0"/>
                </a:cxn>
                <a:cxn ang="0">
                  <a:pos x="94" y="0"/>
                </a:cxn>
                <a:cxn ang="0">
                  <a:pos x="94" y="0"/>
                </a:cxn>
                <a:cxn ang="0">
                  <a:pos x="33" y="26"/>
                </a:cxn>
                <a:cxn ang="0">
                  <a:pos x="31" y="37"/>
                </a:cxn>
                <a:cxn ang="0">
                  <a:pos x="14" y="87"/>
                </a:cxn>
                <a:cxn ang="0">
                  <a:pos x="20" y="93"/>
                </a:cxn>
                <a:cxn ang="0">
                  <a:pos x="26" y="87"/>
                </a:cxn>
                <a:cxn ang="0">
                  <a:pos x="40" y="45"/>
                </a:cxn>
                <a:cxn ang="0">
                  <a:pos x="50" y="42"/>
                </a:cxn>
                <a:cxn ang="0">
                  <a:pos x="50" y="42"/>
                </a:cxn>
                <a:cxn ang="0">
                  <a:pos x="94" y="23"/>
                </a:cxn>
                <a:cxn ang="0">
                  <a:pos x="139" y="42"/>
                </a:cxn>
              </a:cxnLst>
              <a:rect l="0" t="0" r="r" b="b"/>
              <a:pathLst>
                <a:path w="189" h="161">
                  <a:moveTo>
                    <a:pt x="162" y="96"/>
                  </a:moveTo>
                  <a:cubicBezTo>
                    <a:pt x="160" y="90"/>
                    <a:pt x="155" y="86"/>
                    <a:pt x="148" y="86"/>
                  </a:cubicBezTo>
                  <a:cubicBezTo>
                    <a:pt x="148" y="86"/>
                    <a:pt x="148" y="86"/>
                    <a:pt x="148" y="86"/>
                  </a:cubicBezTo>
                  <a:cubicBezTo>
                    <a:pt x="140" y="86"/>
                    <a:pt x="133" y="93"/>
                    <a:pt x="133" y="101"/>
                  </a:cubicBezTo>
                  <a:cubicBezTo>
                    <a:pt x="133" y="145"/>
                    <a:pt x="133" y="145"/>
                    <a:pt x="133" y="145"/>
                  </a:cubicBezTo>
                  <a:cubicBezTo>
                    <a:pt x="133" y="154"/>
                    <a:pt x="140" y="161"/>
                    <a:pt x="148" y="161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55" y="161"/>
                    <a:pt x="160" y="156"/>
                    <a:pt x="162" y="150"/>
                  </a:cubicBezTo>
                  <a:cubicBezTo>
                    <a:pt x="177" y="150"/>
                    <a:pt x="189" y="138"/>
                    <a:pt x="189" y="123"/>
                  </a:cubicBezTo>
                  <a:cubicBezTo>
                    <a:pt x="189" y="108"/>
                    <a:pt x="177" y="96"/>
                    <a:pt x="162" y="96"/>
                  </a:cubicBezTo>
                  <a:close/>
                  <a:moveTo>
                    <a:pt x="153" y="146"/>
                  </a:moveTo>
                  <a:cubicBezTo>
                    <a:pt x="153" y="149"/>
                    <a:pt x="150" y="151"/>
                    <a:pt x="148" y="151"/>
                  </a:cubicBezTo>
                  <a:cubicBezTo>
                    <a:pt x="145" y="151"/>
                    <a:pt x="143" y="149"/>
                    <a:pt x="143" y="146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3" y="98"/>
                    <a:pt x="145" y="96"/>
                    <a:pt x="148" y="96"/>
                  </a:cubicBezTo>
                  <a:cubicBezTo>
                    <a:pt x="150" y="96"/>
                    <a:pt x="153" y="98"/>
                    <a:pt x="153" y="100"/>
                  </a:cubicBezTo>
                  <a:lnTo>
                    <a:pt x="153" y="146"/>
                  </a:lnTo>
                  <a:close/>
                  <a:moveTo>
                    <a:pt x="41" y="86"/>
                  </a:moveTo>
                  <a:cubicBezTo>
                    <a:pt x="41" y="86"/>
                    <a:pt x="41" y="86"/>
                    <a:pt x="41" y="86"/>
                  </a:cubicBezTo>
                  <a:cubicBezTo>
                    <a:pt x="34" y="86"/>
                    <a:pt x="29" y="90"/>
                    <a:pt x="27" y="96"/>
                  </a:cubicBezTo>
                  <a:cubicBezTo>
                    <a:pt x="12" y="96"/>
                    <a:pt x="0" y="108"/>
                    <a:pt x="0" y="123"/>
                  </a:cubicBezTo>
                  <a:cubicBezTo>
                    <a:pt x="0" y="138"/>
                    <a:pt x="12" y="150"/>
                    <a:pt x="27" y="150"/>
                  </a:cubicBezTo>
                  <a:cubicBezTo>
                    <a:pt x="29" y="156"/>
                    <a:pt x="34" y="161"/>
                    <a:pt x="41" y="161"/>
                  </a:cubicBezTo>
                  <a:cubicBezTo>
                    <a:pt x="41" y="161"/>
                    <a:pt x="41" y="161"/>
                    <a:pt x="41" y="161"/>
                  </a:cubicBezTo>
                  <a:cubicBezTo>
                    <a:pt x="49" y="161"/>
                    <a:pt x="56" y="154"/>
                    <a:pt x="56" y="145"/>
                  </a:cubicBezTo>
                  <a:cubicBezTo>
                    <a:pt x="56" y="101"/>
                    <a:pt x="56" y="101"/>
                    <a:pt x="56" y="101"/>
                  </a:cubicBezTo>
                  <a:cubicBezTo>
                    <a:pt x="56" y="93"/>
                    <a:pt x="49" y="86"/>
                    <a:pt x="41" y="86"/>
                  </a:cubicBezTo>
                  <a:close/>
                  <a:moveTo>
                    <a:pt x="46" y="146"/>
                  </a:moveTo>
                  <a:cubicBezTo>
                    <a:pt x="46" y="149"/>
                    <a:pt x="44" y="151"/>
                    <a:pt x="41" y="151"/>
                  </a:cubicBezTo>
                  <a:cubicBezTo>
                    <a:pt x="39" y="151"/>
                    <a:pt x="36" y="149"/>
                    <a:pt x="36" y="146"/>
                  </a:cubicBezTo>
                  <a:cubicBezTo>
                    <a:pt x="36" y="100"/>
                    <a:pt x="36" y="100"/>
                    <a:pt x="36" y="100"/>
                  </a:cubicBezTo>
                  <a:cubicBezTo>
                    <a:pt x="36" y="98"/>
                    <a:pt x="39" y="96"/>
                    <a:pt x="41" y="96"/>
                  </a:cubicBezTo>
                  <a:cubicBezTo>
                    <a:pt x="44" y="96"/>
                    <a:pt x="46" y="98"/>
                    <a:pt x="46" y="100"/>
                  </a:cubicBezTo>
                  <a:lnTo>
                    <a:pt x="46" y="146"/>
                  </a:lnTo>
                  <a:close/>
                  <a:moveTo>
                    <a:pt x="139" y="42"/>
                  </a:moveTo>
                  <a:cubicBezTo>
                    <a:pt x="142" y="45"/>
                    <a:pt x="146" y="46"/>
                    <a:pt x="149" y="45"/>
                  </a:cubicBezTo>
                  <a:cubicBezTo>
                    <a:pt x="158" y="57"/>
                    <a:pt x="163" y="71"/>
                    <a:pt x="163" y="87"/>
                  </a:cubicBezTo>
                  <a:cubicBezTo>
                    <a:pt x="163" y="90"/>
                    <a:pt x="166" y="93"/>
                    <a:pt x="169" y="93"/>
                  </a:cubicBezTo>
                  <a:cubicBezTo>
                    <a:pt x="173" y="93"/>
                    <a:pt x="175" y="90"/>
                    <a:pt x="175" y="87"/>
                  </a:cubicBezTo>
                  <a:cubicBezTo>
                    <a:pt x="175" y="68"/>
                    <a:pt x="169" y="51"/>
                    <a:pt x="158" y="37"/>
                  </a:cubicBezTo>
                  <a:cubicBezTo>
                    <a:pt x="159" y="33"/>
                    <a:pt x="159" y="29"/>
                    <a:pt x="155" y="26"/>
                  </a:cubicBezTo>
                  <a:cubicBezTo>
                    <a:pt x="140" y="10"/>
                    <a:pt x="118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71" y="0"/>
                    <a:pt x="49" y="10"/>
                    <a:pt x="33" y="26"/>
                  </a:cubicBezTo>
                  <a:cubicBezTo>
                    <a:pt x="30" y="29"/>
                    <a:pt x="29" y="33"/>
                    <a:pt x="31" y="37"/>
                  </a:cubicBezTo>
                  <a:cubicBezTo>
                    <a:pt x="20" y="51"/>
                    <a:pt x="14" y="68"/>
                    <a:pt x="14" y="87"/>
                  </a:cubicBezTo>
                  <a:cubicBezTo>
                    <a:pt x="14" y="90"/>
                    <a:pt x="16" y="93"/>
                    <a:pt x="20" y="93"/>
                  </a:cubicBezTo>
                  <a:cubicBezTo>
                    <a:pt x="23" y="93"/>
                    <a:pt x="26" y="90"/>
                    <a:pt x="26" y="87"/>
                  </a:cubicBezTo>
                  <a:cubicBezTo>
                    <a:pt x="26" y="71"/>
                    <a:pt x="31" y="57"/>
                    <a:pt x="40" y="45"/>
                  </a:cubicBezTo>
                  <a:cubicBezTo>
                    <a:pt x="43" y="46"/>
                    <a:pt x="47" y="45"/>
                    <a:pt x="50" y="42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61" y="30"/>
                    <a:pt x="77" y="23"/>
                    <a:pt x="94" y="23"/>
                  </a:cubicBezTo>
                  <a:cubicBezTo>
                    <a:pt x="112" y="23"/>
                    <a:pt x="128" y="30"/>
                    <a:pt x="139" y="42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 cap="all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92173" name="Group 55"/>
          <p:cNvGrpSpPr>
            <a:grpSpLocks/>
          </p:cNvGrpSpPr>
          <p:nvPr/>
        </p:nvGrpSpPr>
        <p:grpSpPr bwMode="auto">
          <a:xfrm>
            <a:off x="5721350" y="3505200"/>
            <a:ext cx="1157288" cy="1192213"/>
            <a:chOff x="5548313" y="4008455"/>
            <a:chExt cx="1157288" cy="1192574"/>
          </a:xfrm>
        </p:grpSpPr>
        <p:sp>
          <p:nvSpPr>
            <p:cNvPr id="75" name="Oval 74"/>
            <p:cNvSpPr/>
            <p:nvPr/>
          </p:nvSpPr>
          <p:spPr bwMode="auto">
            <a:xfrm>
              <a:off x="5548313" y="4043391"/>
              <a:ext cx="1157288" cy="1157638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b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200"/>
                </a:spcBef>
                <a:defRPr/>
              </a:pPr>
              <a:r>
                <a:rPr lang="hu-HU" sz="1000" smtClean="0">
                  <a:ea typeface="Arial Unicode MS" pitchFamily="34" charset="-128"/>
                  <a:cs typeface="Arial Unicode MS" pitchFamily="34" charset="-128"/>
                </a:rPr>
                <a:t>Internetezik</a:t>
              </a:r>
            </a:p>
            <a:p>
              <a:pPr algn="ctr">
                <a:lnSpc>
                  <a:spcPct val="90000"/>
                </a:lnSpc>
                <a:spcBef>
                  <a:spcPts val="200"/>
                </a:spcBef>
                <a:defRPr/>
              </a:pPr>
              <a:r>
                <a:rPr lang="hu-HU" b="1" smtClean="0">
                  <a:solidFill>
                    <a:schemeClr val="accent4"/>
                  </a:solidFill>
                  <a:ea typeface="Arial Unicode MS" pitchFamily="34" charset="-128"/>
                  <a:cs typeface="Arial Unicode MS" pitchFamily="34" charset="-128"/>
                </a:rPr>
                <a:t>16%</a:t>
              </a:r>
              <a:endParaRPr lang="hu-HU" b="1">
                <a:solidFill>
                  <a:schemeClr val="accent4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92179" name="Group 99"/>
            <p:cNvGrpSpPr>
              <a:grpSpLocks/>
            </p:cNvGrpSpPr>
            <p:nvPr/>
          </p:nvGrpSpPr>
          <p:grpSpPr bwMode="auto">
            <a:xfrm>
              <a:off x="5857065" y="4008455"/>
              <a:ext cx="808193" cy="602010"/>
              <a:chOff x="-7595959" y="3712976"/>
              <a:chExt cx="1515035" cy="1128525"/>
            </a:xfrm>
          </p:grpSpPr>
          <p:sp>
            <p:nvSpPr>
              <p:cNvPr id="9234" name="Freeform 18"/>
              <p:cNvSpPr>
                <a:spLocks/>
              </p:cNvSpPr>
              <p:nvPr/>
            </p:nvSpPr>
            <p:spPr bwMode="auto">
              <a:xfrm>
                <a:off x="-7597416" y="3733815"/>
                <a:ext cx="410677" cy="1092492"/>
              </a:xfrm>
              <a:custGeom>
                <a:avLst/>
                <a:gdLst/>
                <a:ahLst/>
                <a:cxnLst>
                  <a:cxn ang="0">
                    <a:pos x="187" y="496"/>
                  </a:cxn>
                  <a:cxn ang="0">
                    <a:pos x="0" y="248"/>
                  </a:cxn>
                  <a:cxn ang="0">
                    <a:pos x="187" y="0"/>
                  </a:cxn>
                  <a:cxn ang="0">
                    <a:pos x="76" y="248"/>
                  </a:cxn>
                  <a:cxn ang="0">
                    <a:pos x="187" y="496"/>
                  </a:cxn>
                </a:cxnLst>
                <a:rect l="0" t="0" r="r" b="b"/>
                <a:pathLst>
                  <a:path w="187" h="496">
                    <a:moveTo>
                      <a:pt x="187" y="496"/>
                    </a:moveTo>
                    <a:cubicBezTo>
                      <a:pt x="77" y="455"/>
                      <a:pt x="0" y="360"/>
                      <a:pt x="0" y="248"/>
                    </a:cubicBezTo>
                    <a:cubicBezTo>
                      <a:pt x="0" y="137"/>
                      <a:pt x="77" y="41"/>
                      <a:pt x="187" y="0"/>
                    </a:cubicBezTo>
                    <a:cubicBezTo>
                      <a:pt x="120" y="51"/>
                      <a:pt x="76" y="143"/>
                      <a:pt x="76" y="248"/>
                    </a:cubicBezTo>
                    <a:cubicBezTo>
                      <a:pt x="76" y="353"/>
                      <a:pt x="120" y="445"/>
                      <a:pt x="187" y="49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35" name="Rectangle 19"/>
              <p:cNvSpPr>
                <a:spLocks noChangeArrowheads="1"/>
              </p:cNvSpPr>
              <p:nvPr/>
            </p:nvSpPr>
            <p:spPr bwMode="auto">
              <a:xfrm>
                <a:off x="-7049846" y="3712976"/>
                <a:ext cx="38688" cy="1128216"/>
              </a:xfrm>
              <a:prstGeom prst="rect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36" name="Freeform 20"/>
              <p:cNvSpPr>
                <a:spLocks noEditPoints="1"/>
              </p:cNvSpPr>
              <p:nvPr/>
            </p:nvSpPr>
            <p:spPr bwMode="auto">
              <a:xfrm>
                <a:off x="-7409932" y="3712976"/>
                <a:ext cx="925510" cy="1128216"/>
              </a:xfrm>
              <a:custGeom>
                <a:avLst/>
                <a:gdLst/>
                <a:ahLst/>
                <a:cxnLst>
                  <a:cxn ang="0">
                    <a:pos x="402" y="286"/>
                  </a:cxn>
                  <a:cxn ang="0">
                    <a:pos x="377" y="369"/>
                  </a:cxn>
                  <a:cxn ang="0">
                    <a:pos x="326" y="369"/>
                  </a:cxn>
                  <a:cxn ang="0">
                    <a:pos x="342" y="283"/>
                  </a:cxn>
                  <a:cxn ang="0">
                    <a:pos x="323" y="274"/>
                  </a:cxn>
                  <a:cxn ang="0">
                    <a:pos x="306" y="369"/>
                  </a:cxn>
                  <a:cxn ang="0">
                    <a:pos x="37" y="369"/>
                  </a:cxn>
                  <a:cxn ang="0">
                    <a:pos x="20" y="266"/>
                  </a:cxn>
                  <a:cxn ang="0">
                    <a:pos x="313" y="266"/>
                  </a:cxn>
                  <a:cxn ang="0">
                    <a:pos x="296" y="249"/>
                  </a:cxn>
                  <a:cxn ang="0">
                    <a:pos x="20" y="249"/>
                  </a:cxn>
                  <a:cxn ang="0">
                    <a:pos x="37" y="146"/>
                  </a:cxn>
                  <a:cxn ang="0">
                    <a:pos x="283" y="146"/>
                  </a:cxn>
                  <a:cxn ang="0">
                    <a:pos x="292" y="129"/>
                  </a:cxn>
                  <a:cxn ang="0">
                    <a:pos x="43" y="129"/>
                  </a:cxn>
                  <a:cxn ang="0">
                    <a:pos x="170" y="18"/>
                  </a:cxn>
                  <a:cxn ang="0">
                    <a:pos x="173" y="18"/>
                  </a:cxn>
                  <a:cxn ang="0">
                    <a:pos x="297" y="123"/>
                  </a:cxn>
                  <a:cxn ang="0">
                    <a:pos x="312" y="108"/>
                  </a:cxn>
                  <a:cxn ang="0">
                    <a:pos x="257" y="34"/>
                  </a:cxn>
                  <a:cxn ang="0">
                    <a:pos x="340" y="91"/>
                  </a:cxn>
                  <a:cxn ang="0">
                    <a:pos x="359" y="86"/>
                  </a:cxn>
                  <a:cxn ang="0">
                    <a:pos x="176" y="0"/>
                  </a:cxn>
                  <a:cxn ang="0">
                    <a:pos x="173" y="0"/>
                  </a:cxn>
                  <a:cxn ang="0">
                    <a:pos x="172" y="0"/>
                  </a:cxn>
                  <a:cxn ang="0">
                    <a:pos x="17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0" y="257"/>
                  </a:cxn>
                  <a:cxn ang="0">
                    <a:pos x="172" y="513"/>
                  </a:cxn>
                  <a:cxn ang="0">
                    <a:pos x="189" y="512"/>
                  </a:cxn>
                  <a:cxn ang="0">
                    <a:pos x="420" y="280"/>
                  </a:cxn>
                  <a:cxn ang="0">
                    <a:pos x="402" y="286"/>
                  </a:cxn>
                  <a:cxn ang="0">
                    <a:pos x="185" y="494"/>
                  </a:cxn>
                  <a:cxn ang="0">
                    <a:pos x="176" y="495"/>
                  </a:cxn>
                  <a:cxn ang="0">
                    <a:pos x="167" y="494"/>
                  </a:cxn>
                  <a:cxn ang="0">
                    <a:pos x="167" y="495"/>
                  </a:cxn>
                  <a:cxn ang="0">
                    <a:pos x="44" y="386"/>
                  </a:cxn>
                  <a:cxn ang="0">
                    <a:pos x="300" y="386"/>
                  </a:cxn>
                  <a:cxn ang="0">
                    <a:pos x="185" y="494"/>
                  </a:cxn>
                  <a:cxn ang="0">
                    <a:pos x="258" y="478"/>
                  </a:cxn>
                  <a:cxn ang="0">
                    <a:pos x="320" y="386"/>
                  </a:cxn>
                  <a:cxn ang="0">
                    <a:pos x="367" y="386"/>
                  </a:cxn>
                  <a:cxn ang="0">
                    <a:pos x="258" y="478"/>
                  </a:cxn>
                </a:cxnLst>
                <a:rect l="0" t="0" r="r" b="b"/>
                <a:pathLst>
                  <a:path w="420" h="513">
                    <a:moveTo>
                      <a:pt x="402" y="286"/>
                    </a:moveTo>
                    <a:cubicBezTo>
                      <a:pt x="398" y="316"/>
                      <a:pt x="390" y="344"/>
                      <a:pt x="377" y="369"/>
                    </a:cubicBezTo>
                    <a:cubicBezTo>
                      <a:pt x="326" y="369"/>
                      <a:pt x="326" y="369"/>
                      <a:pt x="326" y="369"/>
                    </a:cubicBezTo>
                    <a:cubicBezTo>
                      <a:pt x="335" y="342"/>
                      <a:pt x="340" y="313"/>
                      <a:pt x="342" y="283"/>
                    </a:cubicBezTo>
                    <a:cubicBezTo>
                      <a:pt x="336" y="281"/>
                      <a:pt x="329" y="278"/>
                      <a:pt x="323" y="274"/>
                    </a:cubicBezTo>
                    <a:cubicBezTo>
                      <a:pt x="322" y="308"/>
                      <a:pt x="316" y="340"/>
                      <a:pt x="306" y="369"/>
                    </a:cubicBezTo>
                    <a:cubicBezTo>
                      <a:pt x="37" y="369"/>
                      <a:pt x="37" y="369"/>
                      <a:pt x="37" y="369"/>
                    </a:cubicBezTo>
                    <a:cubicBezTo>
                      <a:pt x="27" y="338"/>
                      <a:pt x="21" y="303"/>
                      <a:pt x="20" y="266"/>
                    </a:cubicBezTo>
                    <a:cubicBezTo>
                      <a:pt x="313" y="266"/>
                      <a:pt x="313" y="266"/>
                      <a:pt x="313" y="266"/>
                    </a:cubicBezTo>
                    <a:cubicBezTo>
                      <a:pt x="306" y="261"/>
                      <a:pt x="301" y="255"/>
                      <a:pt x="296" y="249"/>
                    </a:cubicBezTo>
                    <a:cubicBezTo>
                      <a:pt x="20" y="249"/>
                      <a:pt x="20" y="249"/>
                      <a:pt x="20" y="249"/>
                    </a:cubicBezTo>
                    <a:cubicBezTo>
                      <a:pt x="20" y="212"/>
                      <a:pt x="26" y="177"/>
                      <a:pt x="37" y="146"/>
                    </a:cubicBezTo>
                    <a:cubicBezTo>
                      <a:pt x="283" y="146"/>
                      <a:pt x="283" y="146"/>
                      <a:pt x="283" y="146"/>
                    </a:cubicBezTo>
                    <a:cubicBezTo>
                      <a:pt x="285" y="140"/>
                      <a:pt x="289" y="135"/>
                      <a:pt x="292" y="129"/>
                    </a:cubicBezTo>
                    <a:cubicBezTo>
                      <a:pt x="43" y="129"/>
                      <a:pt x="43" y="129"/>
                      <a:pt x="43" y="129"/>
                    </a:cubicBezTo>
                    <a:cubicBezTo>
                      <a:pt x="70" y="63"/>
                      <a:pt x="117" y="19"/>
                      <a:pt x="170" y="18"/>
                    </a:cubicBezTo>
                    <a:cubicBezTo>
                      <a:pt x="171" y="18"/>
                      <a:pt x="172" y="18"/>
                      <a:pt x="173" y="18"/>
                    </a:cubicBezTo>
                    <a:cubicBezTo>
                      <a:pt x="225" y="18"/>
                      <a:pt x="270" y="60"/>
                      <a:pt x="297" y="123"/>
                    </a:cubicBezTo>
                    <a:cubicBezTo>
                      <a:pt x="302" y="118"/>
                      <a:pt x="306" y="113"/>
                      <a:pt x="312" y="108"/>
                    </a:cubicBezTo>
                    <a:cubicBezTo>
                      <a:pt x="297" y="78"/>
                      <a:pt x="279" y="52"/>
                      <a:pt x="257" y="34"/>
                    </a:cubicBezTo>
                    <a:cubicBezTo>
                      <a:pt x="289" y="46"/>
                      <a:pt x="317" y="66"/>
                      <a:pt x="340" y="91"/>
                    </a:cubicBezTo>
                    <a:cubicBezTo>
                      <a:pt x="346" y="89"/>
                      <a:pt x="352" y="87"/>
                      <a:pt x="359" y="86"/>
                    </a:cubicBezTo>
                    <a:cubicBezTo>
                      <a:pt x="314" y="33"/>
                      <a:pt x="249" y="0"/>
                      <a:pt x="176" y="0"/>
                    </a:cubicBezTo>
                    <a:cubicBezTo>
                      <a:pt x="175" y="0"/>
                      <a:pt x="174" y="0"/>
                      <a:pt x="173" y="0"/>
                    </a:cubicBezTo>
                    <a:cubicBezTo>
                      <a:pt x="173" y="0"/>
                      <a:pt x="172" y="0"/>
                      <a:pt x="172" y="0"/>
                    </a:cubicBezTo>
                    <a:cubicBezTo>
                      <a:pt x="171" y="0"/>
                      <a:pt x="170" y="0"/>
                      <a:pt x="170" y="0"/>
                    </a:cubicBezTo>
                    <a:cubicBezTo>
                      <a:pt x="169" y="0"/>
                      <a:pt x="168" y="0"/>
                      <a:pt x="167" y="0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74" y="4"/>
                      <a:pt x="0" y="117"/>
                      <a:pt x="0" y="257"/>
                    </a:cubicBezTo>
                    <a:cubicBezTo>
                      <a:pt x="0" y="398"/>
                      <a:pt x="77" y="513"/>
                      <a:pt x="172" y="513"/>
                    </a:cubicBezTo>
                    <a:cubicBezTo>
                      <a:pt x="178" y="513"/>
                      <a:pt x="183" y="513"/>
                      <a:pt x="189" y="512"/>
                    </a:cubicBezTo>
                    <a:cubicBezTo>
                      <a:pt x="311" y="505"/>
                      <a:pt x="409" y="406"/>
                      <a:pt x="420" y="280"/>
                    </a:cubicBezTo>
                    <a:cubicBezTo>
                      <a:pt x="414" y="283"/>
                      <a:pt x="408" y="285"/>
                      <a:pt x="402" y="286"/>
                    </a:cubicBezTo>
                    <a:close/>
                    <a:moveTo>
                      <a:pt x="185" y="494"/>
                    </a:moveTo>
                    <a:cubicBezTo>
                      <a:pt x="182" y="494"/>
                      <a:pt x="179" y="495"/>
                      <a:pt x="176" y="495"/>
                    </a:cubicBezTo>
                    <a:cubicBezTo>
                      <a:pt x="173" y="495"/>
                      <a:pt x="170" y="495"/>
                      <a:pt x="167" y="494"/>
                    </a:cubicBezTo>
                    <a:cubicBezTo>
                      <a:pt x="167" y="495"/>
                      <a:pt x="167" y="495"/>
                      <a:pt x="167" y="495"/>
                    </a:cubicBezTo>
                    <a:cubicBezTo>
                      <a:pt x="115" y="493"/>
                      <a:pt x="70" y="450"/>
                      <a:pt x="44" y="386"/>
                    </a:cubicBezTo>
                    <a:cubicBezTo>
                      <a:pt x="300" y="386"/>
                      <a:pt x="300" y="386"/>
                      <a:pt x="300" y="386"/>
                    </a:cubicBezTo>
                    <a:cubicBezTo>
                      <a:pt x="275" y="446"/>
                      <a:pt x="233" y="487"/>
                      <a:pt x="185" y="494"/>
                    </a:cubicBezTo>
                    <a:close/>
                    <a:moveTo>
                      <a:pt x="258" y="478"/>
                    </a:moveTo>
                    <a:cubicBezTo>
                      <a:pt x="284" y="456"/>
                      <a:pt x="305" y="424"/>
                      <a:pt x="320" y="386"/>
                    </a:cubicBezTo>
                    <a:cubicBezTo>
                      <a:pt x="367" y="386"/>
                      <a:pt x="367" y="386"/>
                      <a:pt x="367" y="386"/>
                    </a:cubicBezTo>
                    <a:cubicBezTo>
                      <a:pt x="341" y="428"/>
                      <a:pt x="303" y="460"/>
                      <a:pt x="258" y="478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183" name="Freeform 21"/>
              <p:cNvSpPr>
                <a:spLocks/>
              </p:cNvSpPr>
              <p:nvPr/>
            </p:nvSpPr>
            <p:spPr bwMode="auto">
              <a:xfrm>
                <a:off x="-6384758" y="4335112"/>
                <a:ext cx="303834" cy="299701"/>
              </a:xfrm>
              <a:custGeom>
                <a:avLst/>
                <a:gdLst>
                  <a:gd name="T0" fmla="*/ 39 w 138"/>
                  <a:gd name="T1" fmla="*/ 0 h 136"/>
                  <a:gd name="T2" fmla="*/ 127 w 138"/>
                  <a:gd name="T3" fmla="*/ 85 h 136"/>
                  <a:gd name="T4" fmla="*/ 127 w 138"/>
                  <a:gd name="T5" fmla="*/ 124 h 136"/>
                  <a:gd name="T6" fmla="*/ 87 w 138"/>
                  <a:gd name="T7" fmla="*/ 125 h 136"/>
                  <a:gd name="T8" fmla="*/ 0 w 138"/>
                  <a:gd name="T9" fmla="*/ 40 h 136"/>
                  <a:gd name="T10" fmla="*/ 39 w 138"/>
                  <a:gd name="T11" fmla="*/ 0 h 1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8"/>
                  <a:gd name="T19" fmla="*/ 0 h 136"/>
                  <a:gd name="T20" fmla="*/ 138 w 138"/>
                  <a:gd name="T21" fmla="*/ 136 h 1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8" h="136">
                    <a:moveTo>
                      <a:pt x="39" y="0"/>
                    </a:moveTo>
                    <a:cubicBezTo>
                      <a:pt x="127" y="85"/>
                      <a:pt x="127" y="85"/>
                      <a:pt x="127" y="85"/>
                    </a:cubicBezTo>
                    <a:cubicBezTo>
                      <a:pt x="138" y="95"/>
                      <a:pt x="138" y="113"/>
                      <a:pt x="127" y="124"/>
                    </a:cubicBezTo>
                    <a:cubicBezTo>
                      <a:pt x="116" y="136"/>
                      <a:pt x="98" y="136"/>
                      <a:pt x="87" y="125"/>
                    </a:cubicBezTo>
                    <a:cubicBezTo>
                      <a:pt x="0" y="40"/>
                      <a:pt x="0" y="40"/>
                      <a:pt x="0" y="40"/>
                    </a:cubicBezTo>
                    <a:lnTo>
                      <a:pt x="39" y="0"/>
                    </a:lnTo>
                    <a:close/>
                  </a:path>
                </a:pathLst>
              </a:cu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184" name="Freeform 22"/>
              <p:cNvSpPr>
                <a:spLocks noEditPoints="1"/>
              </p:cNvSpPr>
              <p:nvPr/>
            </p:nvSpPr>
            <p:spPr bwMode="auto">
              <a:xfrm>
                <a:off x="-6791937" y="3905198"/>
                <a:ext cx="452651" cy="475386"/>
              </a:xfrm>
              <a:custGeom>
                <a:avLst/>
                <a:gdLst>
                  <a:gd name="T0" fmla="*/ 205 w 205"/>
                  <a:gd name="T1" fmla="*/ 193 h 216"/>
                  <a:gd name="T2" fmla="*/ 173 w 205"/>
                  <a:gd name="T3" fmla="*/ 163 h 216"/>
                  <a:gd name="T4" fmla="*/ 197 w 205"/>
                  <a:gd name="T5" fmla="*/ 99 h 216"/>
                  <a:gd name="T6" fmla="*/ 98 w 205"/>
                  <a:gd name="T7" fmla="*/ 0 h 216"/>
                  <a:gd name="T8" fmla="*/ 0 w 205"/>
                  <a:gd name="T9" fmla="*/ 99 h 216"/>
                  <a:gd name="T10" fmla="*/ 98 w 205"/>
                  <a:gd name="T11" fmla="*/ 198 h 216"/>
                  <a:gd name="T12" fmla="*/ 149 w 205"/>
                  <a:gd name="T13" fmla="*/ 183 h 216"/>
                  <a:gd name="T14" fmla="*/ 182 w 205"/>
                  <a:gd name="T15" fmla="*/ 216 h 216"/>
                  <a:gd name="T16" fmla="*/ 205 w 205"/>
                  <a:gd name="T17" fmla="*/ 193 h 216"/>
                  <a:gd name="T18" fmla="*/ 28 w 205"/>
                  <a:gd name="T19" fmla="*/ 99 h 216"/>
                  <a:gd name="T20" fmla="*/ 98 w 205"/>
                  <a:gd name="T21" fmla="*/ 29 h 216"/>
                  <a:gd name="T22" fmla="*/ 169 w 205"/>
                  <a:gd name="T23" fmla="*/ 99 h 216"/>
                  <a:gd name="T24" fmla="*/ 98 w 205"/>
                  <a:gd name="T25" fmla="*/ 170 h 216"/>
                  <a:gd name="T26" fmla="*/ 28 w 205"/>
                  <a:gd name="T27" fmla="*/ 99 h 21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05"/>
                  <a:gd name="T43" fmla="*/ 0 h 216"/>
                  <a:gd name="T44" fmla="*/ 205 w 205"/>
                  <a:gd name="T45" fmla="*/ 216 h 21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05" h="216">
                    <a:moveTo>
                      <a:pt x="205" y="193"/>
                    </a:moveTo>
                    <a:cubicBezTo>
                      <a:pt x="173" y="163"/>
                      <a:pt x="173" y="163"/>
                      <a:pt x="173" y="163"/>
                    </a:cubicBezTo>
                    <a:cubicBezTo>
                      <a:pt x="188" y="146"/>
                      <a:pt x="197" y="124"/>
                      <a:pt x="197" y="99"/>
                    </a:cubicBezTo>
                    <a:cubicBezTo>
                      <a:pt x="197" y="45"/>
                      <a:pt x="153" y="0"/>
                      <a:pt x="98" y="0"/>
                    </a:cubicBezTo>
                    <a:cubicBezTo>
                      <a:pt x="44" y="0"/>
                      <a:pt x="0" y="45"/>
                      <a:pt x="0" y="99"/>
                    </a:cubicBezTo>
                    <a:cubicBezTo>
                      <a:pt x="0" y="154"/>
                      <a:pt x="44" y="198"/>
                      <a:pt x="98" y="198"/>
                    </a:cubicBezTo>
                    <a:cubicBezTo>
                      <a:pt x="117" y="198"/>
                      <a:pt x="134" y="192"/>
                      <a:pt x="149" y="183"/>
                    </a:cubicBezTo>
                    <a:cubicBezTo>
                      <a:pt x="182" y="216"/>
                      <a:pt x="182" y="216"/>
                      <a:pt x="182" y="216"/>
                    </a:cubicBezTo>
                    <a:lnTo>
                      <a:pt x="205" y="193"/>
                    </a:lnTo>
                    <a:close/>
                    <a:moveTo>
                      <a:pt x="28" y="99"/>
                    </a:moveTo>
                    <a:cubicBezTo>
                      <a:pt x="28" y="60"/>
                      <a:pt x="59" y="29"/>
                      <a:pt x="98" y="29"/>
                    </a:cubicBezTo>
                    <a:cubicBezTo>
                      <a:pt x="137" y="29"/>
                      <a:pt x="169" y="60"/>
                      <a:pt x="169" y="99"/>
                    </a:cubicBezTo>
                    <a:cubicBezTo>
                      <a:pt x="169" y="138"/>
                      <a:pt x="137" y="170"/>
                      <a:pt x="98" y="170"/>
                    </a:cubicBezTo>
                    <a:cubicBezTo>
                      <a:pt x="59" y="170"/>
                      <a:pt x="28" y="138"/>
                      <a:pt x="28" y="99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239" name="Freeform 23"/>
              <p:cNvSpPr>
                <a:spLocks/>
              </p:cNvSpPr>
              <p:nvPr/>
            </p:nvSpPr>
            <p:spPr bwMode="auto">
              <a:xfrm>
                <a:off x="-6674880" y="4022565"/>
                <a:ext cx="202363" cy="202424"/>
              </a:xfrm>
              <a:custGeom>
                <a:avLst/>
                <a:gdLst/>
                <a:ahLst/>
                <a:cxnLst>
                  <a:cxn ang="0">
                    <a:pos x="84" y="38"/>
                  </a:cxn>
                  <a:cxn ang="0">
                    <a:pos x="55" y="38"/>
                  </a:cxn>
                  <a:cxn ang="0">
                    <a:pos x="55" y="8"/>
                  </a:cxn>
                  <a:cxn ang="0">
                    <a:pos x="46" y="0"/>
                  </a:cxn>
                  <a:cxn ang="0">
                    <a:pos x="38" y="8"/>
                  </a:cxn>
                  <a:cxn ang="0">
                    <a:pos x="38" y="38"/>
                  </a:cxn>
                  <a:cxn ang="0">
                    <a:pos x="8" y="38"/>
                  </a:cxn>
                  <a:cxn ang="0">
                    <a:pos x="0" y="46"/>
                  </a:cxn>
                  <a:cxn ang="0">
                    <a:pos x="8" y="54"/>
                  </a:cxn>
                  <a:cxn ang="0">
                    <a:pos x="38" y="54"/>
                  </a:cxn>
                  <a:cxn ang="0">
                    <a:pos x="38" y="84"/>
                  </a:cxn>
                  <a:cxn ang="0">
                    <a:pos x="46" y="92"/>
                  </a:cxn>
                  <a:cxn ang="0">
                    <a:pos x="55" y="84"/>
                  </a:cxn>
                  <a:cxn ang="0">
                    <a:pos x="55" y="54"/>
                  </a:cxn>
                  <a:cxn ang="0">
                    <a:pos x="84" y="54"/>
                  </a:cxn>
                  <a:cxn ang="0">
                    <a:pos x="92" y="46"/>
                  </a:cxn>
                  <a:cxn ang="0">
                    <a:pos x="84" y="38"/>
                  </a:cxn>
                </a:cxnLst>
                <a:rect l="0" t="0" r="r" b="b"/>
                <a:pathLst>
                  <a:path w="92" h="92">
                    <a:moveTo>
                      <a:pt x="84" y="38"/>
                    </a:moveTo>
                    <a:cubicBezTo>
                      <a:pt x="55" y="38"/>
                      <a:pt x="55" y="38"/>
                      <a:pt x="55" y="38"/>
                    </a:cubicBezTo>
                    <a:cubicBezTo>
                      <a:pt x="55" y="8"/>
                      <a:pt x="55" y="8"/>
                      <a:pt x="55" y="8"/>
                    </a:cubicBezTo>
                    <a:cubicBezTo>
                      <a:pt x="55" y="4"/>
                      <a:pt x="51" y="0"/>
                      <a:pt x="46" y="0"/>
                    </a:cubicBezTo>
                    <a:cubicBezTo>
                      <a:pt x="42" y="0"/>
                      <a:pt x="38" y="4"/>
                      <a:pt x="38" y="8"/>
                    </a:cubicBezTo>
                    <a:cubicBezTo>
                      <a:pt x="38" y="38"/>
                      <a:pt x="38" y="38"/>
                      <a:pt x="38" y="38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4" y="38"/>
                      <a:pt x="0" y="42"/>
                      <a:pt x="0" y="46"/>
                    </a:cubicBezTo>
                    <a:cubicBezTo>
                      <a:pt x="0" y="51"/>
                      <a:pt x="4" y="54"/>
                      <a:pt x="8" y="54"/>
                    </a:cubicBezTo>
                    <a:cubicBezTo>
                      <a:pt x="38" y="54"/>
                      <a:pt x="38" y="54"/>
                      <a:pt x="38" y="54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8" y="88"/>
                      <a:pt x="42" y="92"/>
                      <a:pt x="46" y="92"/>
                    </a:cubicBezTo>
                    <a:cubicBezTo>
                      <a:pt x="51" y="92"/>
                      <a:pt x="55" y="88"/>
                      <a:pt x="55" y="84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84" y="54"/>
                      <a:pt x="84" y="54"/>
                      <a:pt x="84" y="54"/>
                    </a:cubicBezTo>
                    <a:cubicBezTo>
                      <a:pt x="89" y="54"/>
                      <a:pt x="92" y="51"/>
                      <a:pt x="92" y="46"/>
                    </a:cubicBezTo>
                    <a:cubicBezTo>
                      <a:pt x="92" y="42"/>
                      <a:pt x="89" y="38"/>
                      <a:pt x="84" y="38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hu-HU"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</p:grpSp>
      <p:sp>
        <p:nvSpPr>
          <p:cNvPr id="60" name="Oval 59"/>
          <p:cNvSpPr/>
          <p:nvPr/>
        </p:nvSpPr>
        <p:spPr bwMode="auto">
          <a:xfrm>
            <a:off x="4689475" y="4776788"/>
            <a:ext cx="1157288" cy="1157287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>
            <a:noAutofit/>
          </a:bodyPr>
          <a:lstStyle/>
          <a:p>
            <a:pPr algn="ctr">
              <a:lnSpc>
                <a:spcPct val="90000"/>
              </a:lnSpc>
              <a:spcBef>
                <a:spcPts val="200"/>
              </a:spcBef>
            </a:pPr>
            <a:r>
              <a:rPr lang="hu-HU" sz="1000">
                <a:ea typeface="Arial Unicode MS" pitchFamily="34" charset="-128"/>
                <a:cs typeface="Arial Unicode MS" pitchFamily="34" charset="-128"/>
              </a:rPr>
              <a:t>Magazint/</a:t>
            </a:r>
            <a:br>
              <a:rPr lang="hu-HU" sz="1000">
                <a:ea typeface="Arial Unicode MS" pitchFamily="34" charset="-128"/>
                <a:cs typeface="Arial Unicode MS" pitchFamily="34" charset="-128"/>
              </a:rPr>
            </a:br>
            <a:r>
              <a:rPr lang="hu-HU" sz="1000">
                <a:ea typeface="Arial Unicode MS" pitchFamily="34" charset="-128"/>
                <a:cs typeface="Arial Unicode MS" pitchFamily="34" charset="-128"/>
              </a:rPr>
              <a:t>újságot olvas</a:t>
            </a:r>
          </a:p>
          <a:p>
            <a:pPr algn="ctr">
              <a:lnSpc>
                <a:spcPct val="90000"/>
              </a:lnSpc>
              <a:spcBef>
                <a:spcPts val="200"/>
              </a:spcBef>
            </a:pPr>
            <a:r>
              <a:rPr lang="hu-HU" b="1">
                <a:solidFill>
                  <a:srgbClr val="D50F25"/>
                </a:solidFill>
                <a:ea typeface="Arial Unicode MS" pitchFamily="34" charset="-128"/>
                <a:cs typeface="Arial Unicode MS" pitchFamily="34" charset="-128"/>
              </a:rPr>
              <a:t>10%</a:t>
            </a:r>
          </a:p>
        </p:txBody>
      </p:sp>
      <p:grpSp>
        <p:nvGrpSpPr>
          <p:cNvPr id="92175" name="Group 78"/>
          <p:cNvGrpSpPr>
            <a:grpSpLocks/>
          </p:cNvGrpSpPr>
          <p:nvPr/>
        </p:nvGrpSpPr>
        <p:grpSpPr bwMode="auto">
          <a:xfrm>
            <a:off x="4975225" y="4764088"/>
            <a:ext cx="581025" cy="463550"/>
            <a:chOff x="2579688" y="5221288"/>
            <a:chExt cx="2763837" cy="2205037"/>
          </a:xfrm>
        </p:grpSpPr>
        <p:sp>
          <p:nvSpPr>
            <p:cNvPr id="2054" name="Freeform 6"/>
            <p:cNvSpPr>
              <a:spLocks noEditPoints="1"/>
            </p:cNvSpPr>
            <p:nvPr/>
          </p:nvSpPr>
          <p:spPr bwMode="auto">
            <a:xfrm>
              <a:off x="2579688" y="6376665"/>
              <a:ext cx="2763837" cy="1049660"/>
            </a:xfrm>
            <a:custGeom>
              <a:avLst/>
              <a:gdLst/>
              <a:ahLst/>
              <a:cxnLst>
                <a:cxn ang="0">
                  <a:pos x="308" y="130"/>
                </a:cxn>
                <a:cxn ang="0">
                  <a:pos x="116" y="130"/>
                </a:cxn>
                <a:cxn ang="0">
                  <a:pos x="99" y="147"/>
                </a:cxn>
                <a:cxn ang="0">
                  <a:pos x="116" y="164"/>
                </a:cxn>
                <a:cxn ang="0">
                  <a:pos x="308" y="164"/>
                </a:cxn>
                <a:cxn ang="0">
                  <a:pos x="325" y="147"/>
                </a:cxn>
                <a:cxn ang="0">
                  <a:pos x="308" y="130"/>
                </a:cxn>
                <a:cxn ang="0">
                  <a:pos x="308" y="55"/>
                </a:cxn>
                <a:cxn ang="0">
                  <a:pos x="116" y="55"/>
                </a:cxn>
                <a:cxn ang="0">
                  <a:pos x="99" y="72"/>
                </a:cxn>
                <a:cxn ang="0">
                  <a:pos x="116" y="89"/>
                </a:cxn>
                <a:cxn ang="0">
                  <a:pos x="308" y="89"/>
                </a:cxn>
                <a:cxn ang="0">
                  <a:pos x="325" y="72"/>
                </a:cxn>
                <a:cxn ang="0">
                  <a:pos x="308" y="55"/>
                </a:cxn>
                <a:cxn ang="0">
                  <a:pos x="323" y="0"/>
                </a:cxn>
                <a:cxn ang="0">
                  <a:pos x="100" y="0"/>
                </a:cxn>
                <a:cxn ang="0">
                  <a:pos x="116" y="10"/>
                </a:cxn>
                <a:cxn ang="0">
                  <a:pos x="308" y="10"/>
                </a:cxn>
                <a:cxn ang="0">
                  <a:pos x="323" y="0"/>
                </a:cxn>
                <a:cxn ang="0">
                  <a:pos x="652" y="0"/>
                </a:cxn>
                <a:cxn ang="0">
                  <a:pos x="560" y="0"/>
                </a:cxn>
                <a:cxn ang="0">
                  <a:pos x="568" y="25"/>
                </a:cxn>
                <a:cxn ang="0">
                  <a:pos x="546" y="63"/>
                </a:cxn>
                <a:cxn ang="0">
                  <a:pos x="550" y="64"/>
                </a:cxn>
                <a:cxn ang="0">
                  <a:pos x="615" y="145"/>
                </a:cxn>
                <a:cxn ang="0">
                  <a:pos x="431" y="145"/>
                </a:cxn>
                <a:cxn ang="0">
                  <a:pos x="496" y="64"/>
                </a:cxn>
                <a:cxn ang="0">
                  <a:pos x="499" y="63"/>
                </a:cxn>
                <a:cxn ang="0">
                  <a:pos x="478" y="25"/>
                </a:cxn>
                <a:cxn ang="0">
                  <a:pos x="485" y="0"/>
                </a:cxn>
                <a:cxn ang="0">
                  <a:pos x="391" y="0"/>
                </a:cxn>
                <a:cxn ang="0">
                  <a:pos x="391" y="177"/>
                </a:cxn>
                <a:cxn ang="0">
                  <a:pos x="652" y="177"/>
                </a:cxn>
                <a:cxn ang="0">
                  <a:pos x="652" y="0"/>
                </a:cxn>
                <a:cxn ang="0">
                  <a:pos x="737" y="0"/>
                </a:cxn>
                <a:cxn ang="0">
                  <a:pos x="704" y="0"/>
                </a:cxn>
                <a:cxn ang="0">
                  <a:pos x="704" y="193"/>
                </a:cxn>
                <a:cxn ang="0">
                  <a:pos x="651" y="245"/>
                </a:cxn>
                <a:cxn ang="0">
                  <a:pos x="86" y="245"/>
                </a:cxn>
                <a:cxn ang="0">
                  <a:pos x="34" y="193"/>
                </a:cxn>
                <a:cxn ang="0">
                  <a:pos x="34" y="0"/>
                </a:cxn>
                <a:cxn ang="0">
                  <a:pos x="0" y="0"/>
                </a:cxn>
                <a:cxn ang="0">
                  <a:pos x="0" y="193"/>
                </a:cxn>
                <a:cxn ang="0">
                  <a:pos x="86" y="279"/>
                </a:cxn>
                <a:cxn ang="0">
                  <a:pos x="651" y="279"/>
                </a:cxn>
                <a:cxn ang="0">
                  <a:pos x="737" y="193"/>
                </a:cxn>
                <a:cxn ang="0">
                  <a:pos x="737" y="0"/>
                </a:cxn>
              </a:cxnLst>
              <a:rect l="0" t="0" r="r" b="b"/>
              <a:pathLst>
                <a:path w="737" h="279">
                  <a:moveTo>
                    <a:pt x="308" y="130"/>
                  </a:moveTo>
                  <a:cubicBezTo>
                    <a:pt x="116" y="130"/>
                    <a:pt x="116" y="130"/>
                    <a:pt x="116" y="130"/>
                  </a:cubicBezTo>
                  <a:cubicBezTo>
                    <a:pt x="106" y="130"/>
                    <a:pt x="99" y="137"/>
                    <a:pt x="99" y="147"/>
                  </a:cubicBezTo>
                  <a:cubicBezTo>
                    <a:pt x="99" y="156"/>
                    <a:pt x="106" y="164"/>
                    <a:pt x="116" y="164"/>
                  </a:cubicBezTo>
                  <a:cubicBezTo>
                    <a:pt x="308" y="164"/>
                    <a:pt x="308" y="164"/>
                    <a:pt x="308" y="164"/>
                  </a:cubicBezTo>
                  <a:cubicBezTo>
                    <a:pt x="318" y="164"/>
                    <a:pt x="325" y="156"/>
                    <a:pt x="325" y="147"/>
                  </a:cubicBezTo>
                  <a:cubicBezTo>
                    <a:pt x="325" y="137"/>
                    <a:pt x="318" y="130"/>
                    <a:pt x="308" y="130"/>
                  </a:cubicBezTo>
                  <a:close/>
                  <a:moveTo>
                    <a:pt x="308" y="55"/>
                  </a:moveTo>
                  <a:cubicBezTo>
                    <a:pt x="116" y="55"/>
                    <a:pt x="116" y="55"/>
                    <a:pt x="116" y="55"/>
                  </a:cubicBezTo>
                  <a:cubicBezTo>
                    <a:pt x="106" y="55"/>
                    <a:pt x="99" y="63"/>
                    <a:pt x="99" y="72"/>
                  </a:cubicBezTo>
                  <a:cubicBezTo>
                    <a:pt x="99" y="81"/>
                    <a:pt x="106" y="89"/>
                    <a:pt x="116" y="89"/>
                  </a:cubicBezTo>
                  <a:cubicBezTo>
                    <a:pt x="308" y="89"/>
                    <a:pt x="308" y="89"/>
                    <a:pt x="308" y="89"/>
                  </a:cubicBezTo>
                  <a:cubicBezTo>
                    <a:pt x="318" y="89"/>
                    <a:pt x="325" y="81"/>
                    <a:pt x="325" y="72"/>
                  </a:cubicBezTo>
                  <a:cubicBezTo>
                    <a:pt x="325" y="63"/>
                    <a:pt x="318" y="55"/>
                    <a:pt x="308" y="55"/>
                  </a:cubicBezTo>
                  <a:close/>
                  <a:moveTo>
                    <a:pt x="323" y="0"/>
                  </a:moveTo>
                  <a:cubicBezTo>
                    <a:pt x="100" y="0"/>
                    <a:pt x="100" y="0"/>
                    <a:pt x="100" y="0"/>
                  </a:cubicBezTo>
                  <a:cubicBezTo>
                    <a:pt x="103" y="6"/>
                    <a:pt x="109" y="10"/>
                    <a:pt x="116" y="10"/>
                  </a:cubicBezTo>
                  <a:cubicBezTo>
                    <a:pt x="308" y="10"/>
                    <a:pt x="308" y="10"/>
                    <a:pt x="308" y="10"/>
                  </a:cubicBezTo>
                  <a:cubicBezTo>
                    <a:pt x="315" y="10"/>
                    <a:pt x="321" y="6"/>
                    <a:pt x="323" y="0"/>
                  </a:cubicBezTo>
                  <a:close/>
                  <a:moveTo>
                    <a:pt x="652" y="0"/>
                  </a:moveTo>
                  <a:cubicBezTo>
                    <a:pt x="560" y="0"/>
                    <a:pt x="560" y="0"/>
                    <a:pt x="560" y="0"/>
                  </a:cubicBezTo>
                  <a:cubicBezTo>
                    <a:pt x="565" y="8"/>
                    <a:pt x="568" y="16"/>
                    <a:pt x="568" y="25"/>
                  </a:cubicBezTo>
                  <a:cubicBezTo>
                    <a:pt x="568" y="42"/>
                    <a:pt x="559" y="56"/>
                    <a:pt x="546" y="63"/>
                  </a:cubicBezTo>
                  <a:cubicBezTo>
                    <a:pt x="550" y="64"/>
                    <a:pt x="550" y="64"/>
                    <a:pt x="550" y="64"/>
                  </a:cubicBezTo>
                  <a:cubicBezTo>
                    <a:pt x="583" y="76"/>
                    <a:pt x="608" y="107"/>
                    <a:pt x="615" y="145"/>
                  </a:cubicBezTo>
                  <a:cubicBezTo>
                    <a:pt x="431" y="145"/>
                    <a:pt x="431" y="145"/>
                    <a:pt x="431" y="145"/>
                  </a:cubicBezTo>
                  <a:cubicBezTo>
                    <a:pt x="437" y="107"/>
                    <a:pt x="463" y="76"/>
                    <a:pt x="496" y="64"/>
                  </a:cubicBezTo>
                  <a:cubicBezTo>
                    <a:pt x="499" y="63"/>
                    <a:pt x="499" y="63"/>
                    <a:pt x="499" y="63"/>
                  </a:cubicBezTo>
                  <a:cubicBezTo>
                    <a:pt x="486" y="55"/>
                    <a:pt x="478" y="41"/>
                    <a:pt x="478" y="25"/>
                  </a:cubicBezTo>
                  <a:cubicBezTo>
                    <a:pt x="478" y="16"/>
                    <a:pt x="481" y="8"/>
                    <a:pt x="485" y="0"/>
                  </a:cubicBezTo>
                  <a:cubicBezTo>
                    <a:pt x="391" y="0"/>
                    <a:pt x="391" y="0"/>
                    <a:pt x="391" y="0"/>
                  </a:cubicBezTo>
                  <a:cubicBezTo>
                    <a:pt x="391" y="177"/>
                    <a:pt x="391" y="177"/>
                    <a:pt x="391" y="177"/>
                  </a:cubicBezTo>
                  <a:cubicBezTo>
                    <a:pt x="652" y="177"/>
                    <a:pt x="652" y="177"/>
                    <a:pt x="652" y="177"/>
                  </a:cubicBezTo>
                  <a:cubicBezTo>
                    <a:pt x="652" y="0"/>
                    <a:pt x="652" y="0"/>
                    <a:pt x="652" y="0"/>
                  </a:cubicBezTo>
                  <a:close/>
                  <a:moveTo>
                    <a:pt x="737" y="0"/>
                  </a:moveTo>
                  <a:cubicBezTo>
                    <a:pt x="704" y="0"/>
                    <a:pt x="704" y="0"/>
                    <a:pt x="704" y="0"/>
                  </a:cubicBezTo>
                  <a:cubicBezTo>
                    <a:pt x="704" y="193"/>
                    <a:pt x="704" y="193"/>
                    <a:pt x="704" y="193"/>
                  </a:cubicBezTo>
                  <a:cubicBezTo>
                    <a:pt x="704" y="222"/>
                    <a:pt x="680" y="245"/>
                    <a:pt x="651" y="245"/>
                  </a:cubicBezTo>
                  <a:cubicBezTo>
                    <a:pt x="86" y="245"/>
                    <a:pt x="86" y="245"/>
                    <a:pt x="86" y="245"/>
                  </a:cubicBezTo>
                  <a:cubicBezTo>
                    <a:pt x="58" y="245"/>
                    <a:pt x="34" y="222"/>
                    <a:pt x="34" y="193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0" y="240"/>
                    <a:pt x="39" y="279"/>
                    <a:pt x="86" y="279"/>
                  </a:cubicBezTo>
                  <a:cubicBezTo>
                    <a:pt x="651" y="279"/>
                    <a:pt x="651" y="279"/>
                    <a:pt x="651" y="279"/>
                  </a:cubicBezTo>
                  <a:cubicBezTo>
                    <a:pt x="699" y="279"/>
                    <a:pt x="737" y="240"/>
                    <a:pt x="737" y="193"/>
                  </a:cubicBezTo>
                  <a:cubicBezTo>
                    <a:pt x="737" y="0"/>
                    <a:pt x="737" y="0"/>
                    <a:pt x="737" y="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055" name="Freeform 7"/>
            <p:cNvSpPr>
              <a:spLocks noEditPoints="1"/>
            </p:cNvSpPr>
            <p:nvPr/>
          </p:nvSpPr>
          <p:spPr bwMode="auto">
            <a:xfrm>
              <a:off x="2579688" y="5221288"/>
              <a:ext cx="2763837" cy="1155377"/>
            </a:xfrm>
            <a:custGeom>
              <a:avLst/>
              <a:gdLst/>
              <a:ahLst/>
              <a:cxnLst>
                <a:cxn ang="0">
                  <a:pos x="116" y="285"/>
                </a:cxn>
                <a:cxn ang="0">
                  <a:pos x="100" y="309"/>
                </a:cxn>
                <a:cxn ang="0">
                  <a:pos x="325" y="302"/>
                </a:cxn>
                <a:cxn ang="0">
                  <a:pos x="652" y="266"/>
                </a:cxn>
                <a:cxn ang="0">
                  <a:pos x="391" y="309"/>
                </a:cxn>
                <a:cxn ang="0">
                  <a:pos x="523" y="289"/>
                </a:cxn>
                <a:cxn ang="0">
                  <a:pos x="652" y="309"/>
                </a:cxn>
                <a:cxn ang="0">
                  <a:pos x="221" y="96"/>
                </a:cxn>
                <a:cxn ang="0">
                  <a:pos x="193" y="127"/>
                </a:cxn>
                <a:cxn ang="0">
                  <a:pos x="195" y="172"/>
                </a:cxn>
                <a:cxn ang="0">
                  <a:pos x="145" y="96"/>
                </a:cxn>
                <a:cxn ang="0">
                  <a:pos x="109" y="203"/>
                </a:cxn>
                <a:cxn ang="0">
                  <a:pos x="137" y="171"/>
                </a:cxn>
                <a:cxn ang="0">
                  <a:pos x="136" y="124"/>
                </a:cxn>
                <a:cxn ang="0">
                  <a:pos x="189" y="203"/>
                </a:cxn>
                <a:cxn ang="0">
                  <a:pos x="221" y="96"/>
                </a:cxn>
                <a:cxn ang="0">
                  <a:pos x="247" y="96"/>
                </a:cxn>
                <a:cxn ang="0">
                  <a:pos x="333" y="203"/>
                </a:cxn>
                <a:cxn ang="0">
                  <a:pos x="278" y="183"/>
                </a:cxn>
                <a:cxn ang="0">
                  <a:pos x="327" y="158"/>
                </a:cxn>
                <a:cxn ang="0">
                  <a:pos x="278" y="138"/>
                </a:cxn>
                <a:cxn ang="0">
                  <a:pos x="330" y="116"/>
                </a:cxn>
                <a:cxn ang="0">
                  <a:pos x="518" y="96"/>
                </a:cxn>
                <a:cxn ang="0">
                  <a:pos x="476" y="140"/>
                </a:cxn>
                <a:cxn ang="0">
                  <a:pos x="467" y="177"/>
                </a:cxn>
                <a:cxn ang="0">
                  <a:pos x="449" y="96"/>
                </a:cxn>
                <a:cxn ang="0">
                  <a:pos x="405" y="140"/>
                </a:cxn>
                <a:cxn ang="0">
                  <a:pos x="396" y="178"/>
                </a:cxn>
                <a:cxn ang="0">
                  <a:pos x="378" y="96"/>
                </a:cxn>
                <a:cxn ang="0">
                  <a:pos x="377" y="203"/>
                </a:cxn>
                <a:cxn ang="0">
                  <a:pos x="424" y="157"/>
                </a:cxn>
                <a:cxn ang="0">
                  <a:pos x="432" y="124"/>
                </a:cxn>
                <a:cxn ang="0">
                  <a:pos x="450" y="203"/>
                </a:cxn>
                <a:cxn ang="0">
                  <a:pos x="518" y="96"/>
                </a:cxn>
                <a:cxn ang="0">
                  <a:pos x="528" y="127"/>
                </a:cxn>
                <a:cxn ang="0">
                  <a:pos x="588" y="173"/>
                </a:cxn>
                <a:cxn ang="0">
                  <a:pos x="533" y="178"/>
                </a:cxn>
                <a:cxn ang="0">
                  <a:pos x="565" y="205"/>
                </a:cxn>
                <a:cxn ang="0">
                  <a:pos x="584" y="140"/>
                </a:cxn>
                <a:cxn ang="0">
                  <a:pos x="579" y="114"/>
                </a:cxn>
                <a:cxn ang="0">
                  <a:pos x="614" y="100"/>
                </a:cxn>
                <a:cxn ang="0">
                  <a:pos x="737" y="0"/>
                </a:cxn>
                <a:cxn ang="0">
                  <a:pos x="0" y="309"/>
                </a:cxn>
                <a:cxn ang="0">
                  <a:pos x="34" y="34"/>
                </a:cxn>
                <a:cxn ang="0">
                  <a:pos x="704" y="309"/>
                </a:cxn>
                <a:cxn ang="0">
                  <a:pos x="737" y="0"/>
                </a:cxn>
              </a:cxnLst>
              <a:rect l="0" t="0" r="r" b="b"/>
              <a:pathLst>
                <a:path w="737" h="309">
                  <a:moveTo>
                    <a:pt x="308" y="285"/>
                  </a:moveTo>
                  <a:cubicBezTo>
                    <a:pt x="116" y="285"/>
                    <a:pt x="116" y="285"/>
                    <a:pt x="116" y="285"/>
                  </a:cubicBezTo>
                  <a:cubicBezTo>
                    <a:pt x="106" y="285"/>
                    <a:pt x="99" y="292"/>
                    <a:pt x="99" y="302"/>
                  </a:cubicBezTo>
                  <a:cubicBezTo>
                    <a:pt x="99" y="305"/>
                    <a:pt x="99" y="307"/>
                    <a:pt x="100" y="309"/>
                  </a:cubicBezTo>
                  <a:cubicBezTo>
                    <a:pt x="323" y="309"/>
                    <a:pt x="323" y="309"/>
                    <a:pt x="323" y="309"/>
                  </a:cubicBezTo>
                  <a:cubicBezTo>
                    <a:pt x="325" y="307"/>
                    <a:pt x="325" y="305"/>
                    <a:pt x="325" y="302"/>
                  </a:cubicBezTo>
                  <a:cubicBezTo>
                    <a:pt x="325" y="292"/>
                    <a:pt x="318" y="285"/>
                    <a:pt x="308" y="285"/>
                  </a:cubicBezTo>
                  <a:close/>
                  <a:moveTo>
                    <a:pt x="652" y="266"/>
                  </a:moveTo>
                  <a:cubicBezTo>
                    <a:pt x="391" y="266"/>
                    <a:pt x="391" y="266"/>
                    <a:pt x="391" y="266"/>
                  </a:cubicBezTo>
                  <a:cubicBezTo>
                    <a:pt x="391" y="309"/>
                    <a:pt x="391" y="309"/>
                    <a:pt x="391" y="309"/>
                  </a:cubicBezTo>
                  <a:cubicBezTo>
                    <a:pt x="485" y="309"/>
                    <a:pt x="485" y="309"/>
                    <a:pt x="485" y="309"/>
                  </a:cubicBezTo>
                  <a:cubicBezTo>
                    <a:pt x="493" y="297"/>
                    <a:pt x="507" y="289"/>
                    <a:pt x="523" y="289"/>
                  </a:cubicBezTo>
                  <a:cubicBezTo>
                    <a:pt x="538" y="289"/>
                    <a:pt x="552" y="297"/>
                    <a:pt x="560" y="309"/>
                  </a:cubicBezTo>
                  <a:cubicBezTo>
                    <a:pt x="652" y="309"/>
                    <a:pt x="652" y="309"/>
                    <a:pt x="652" y="309"/>
                  </a:cubicBezTo>
                  <a:cubicBezTo>
                    <a:pt x="652" y="266"/>
                    <a:pt x="652" y="266"/>
                    <a:pt x="652" y="266"/>
                  </a:cubicBezTo>
                  <a:close/>
                  <a:moveTo>
                    <a:pt x="221" y="96"/>
                  </a:moveTo>
                  <a:cubicBezTo>
                    <a:pt x="193" y="96"/>
                    <a:pt x="193" y="96"/>
                    <a:pt x="193" y="96"/>
                  </a:cubicBezTo>
                  <a:cubicBezTo>
                    <a:pt x="193" y="127"/>
                    <a:pt x="193" y="127"/>
                    <a:pt x="193" y="127"/>
                  </a:cubicBezTo>
                  <a:cubicBezTo>
                    <a:pt x="193" y="143"/>
                    <a:pt x="193" y="158"/>
                    <a:pt x="195" y="172"/>
                  </a:cubicBezTo>
                  <a:cubicBezTo>
                    <a:pt x="195" y="172"/>
                    <a:pt x="195" y="172"/>
                    <a:pt x="195" y="172"/>
                  </a:cubicBezTo>
                  <a:cubicBezTo>
                    <a:pt x="189" y="160"/>
                    <a:pt x="181" y="147"/>
                    <a:pt x="173" y="135"/>
                  </a:cubicBezTo>
                  <a:cubicBezTo>
                    <a:pt x="145" y="96"/>
                    <a:pt x="145" y="96"/>
                    <a:pt x="145" y="96"/>
                  </a:cubicBezTo>
                  <a:cubicBezTo>
                    <a:pt x="109" y="96"/>
                    <a:pt x="109" y="96"/>
                    <a:pt x="109" y="96"/>
                  </a:cubicBezTo>
                  <a:cubicBezTo>
                    <a:pt x="109" y="203"/>
                    <a:pt x="109" y="203"/>
                    <a:pt x="109" y="203"/>
                  </a:cubicBezTo>
                  <a:cubicBezTo>
                    <a:pt x="137" y="203"/>
                    <a:pt x="137" y="203"/>
                    <a:pt x="137" y="203"/>
                  </a:cubicBezTo>
                  <a:cubicBezTo>
                    <a:pt x="137" y="171"/>
                    <a:pt x="137" y="171"/>
                    <a:pt x="137" y="171"/>
                  </a:cubicBezTo>
                  <a:cubicBezTo>
                    <a:pt x="137" y="153"/>
                    <a:pt x="137" y="138"/>
                    <a:pt x="136" y="124"/>
                  </a:cubicBezTo>
                  <a:cubicBezTo>
                    <a:pt x="136" y="124"/>
                    <a:pt x="136" y="124"/>
                    <a:pt x="136" y="124"/>
                  </a:cubicBezTo>
                  <a:cubicBezTo>
                    <a:pt x="143" y="137"/>
                    <a:pt x="152" y="150"/>
                    <a:pt x="160" y="162"/>
                  </a:cubicBezTo>
                  <a:cubicBezTo>
                    <a:pt x="189" y="203"/>
                    <a:pt x="189" y="203"/>
                    <a:pt x="189" y="203"/>
                  </a:cubicBezTo>
                  <a:cubicBezTo>
                    <a:pt x="221" y="203"/>
                    <a:pt x="221" y="203"/>
                    <a:pt x="221" y="203"/>
                  </a:cubicBezTo>
                  <a:cubicBezTo>
                    <a:pt x="221" y="96"/>
                    <a:pt x="221" y="96"/>
                    <a:pt x="221" y="96"/>
                  </a:cubicBezTo>
                  <a:close/>
                  <a:moveTo>
                    <a:pt x="330" y="96"/>
                  </a:moveTo>
                  <a:cubicBezTo>
                    <a:pt x="247" y="96"/>
                    <a:pt x="247" y="96"/>
                    <a:pt x="247" y="96"/>
                  </a:cubicBezTo>
                  <a:cubicBezTo>
                    <a:pt x="247" y="203"/>
                    <a:pt x="247" y="203"/>
                    <a:pt x="247" y="203"/>
                  </a:cubicBezTo>
                  <a:cubicBezTo>
                    <a:pt x="333" y="203"/>
                    <a:pt x="333" y="203"/>
                    <a:pt x="333" y="203"/>
                  </a:cubicBezTo>
                  <a:cubicBezTo>
                    <a:pt x="333" y="183"/>
                    <a:pt x="333" y="183"/>
                    <a:pt x="333" y="183"/>
                  </a:cubicBezTo>
                  <a:cubicBezTo>
                    <a:pt x="278" y="183"/>
                    <a:pt x="278" y="183"/>
                    <a:pt x="278" y="183"/>
                  </a:cubicBezTo>
                  <a:cubicBezTo>
                    <a:pt x="278" y="158"/>
                    <a:pt x="278" y="158"/>
                    <a:pt x="278" y="158"/>
                  </a:cubicBezTo>
                  <a:cubicBezTo>
                    <a:pt x="327" y="158"/>
                    <a:pt x="327" y="158"/>
                    <a:pt x="327" y="158"/>
                  </a:cubicBezTo>
                  <a:cubicBezTo>
                    <a:pt x="327" y="138"/>
                    <a:pt x="327" y="138"/>
                    <a:pt x="327" y="138"/>
                  </a:cubicBezTo>
                  <a:cubicBezTo>
                    <a:pt x="278" y="138"/>
                    <a:pt x="278" y="138"/>
                    <a:pt x="278" y="138"/>
                  </a:cubicBezTo>
                  <a:cubicBezTo>
                    <a:pt x="278" y="116"/>
                    <a:pt x="278" y="116"/>
                    <a:pt x="278" y="116"/>
                  </a:cubicBezTo>
                  <a:cubicBezTo>
                    <a:pt x="330" y="116"/>
                    <a:pt x="330" y="116"/>
                    <a:pt x="330" y="116"/>
                  </a:cubicBezTo>
                  <a:cubicBezTo>
                    <a:pt x="330" y="96"/>
                    <a:pt x="330" y="96"/>
                    <a:pt x="330" y="96"/>
                  </a:cubicBezTo>
                  <a:close/>
                  <a:moveTo>
                    <a:pt x="518" y="96"/>
                  </a:moveTo>
                  <a:cubicBezTo>
                    <a:pt x="487" y="96"/>
                    <a:pt x="487" y="96"/>
                    <a:pt x="487" y="96"/>
                  </a:cubicBezTo>
                  <a:cubicBezTo>
                    <a:pt x="476" y="140"/>
                    <a:pt x="476" y="140"/>
                    <a:pt x="476" y="140"/>
                  </a:cubicBezTo>
                  <a:cubicBezTo>
                    <a:pt x="473" y="153"/>
                    <a:pt x="470" y="165"/>
                    <a:pt x="468" y="177"/>
                  </a:cubicBezTo>
                  <a:cubicBezTo>
                    <a:pt x="467" y="177"/>
                    <a:pt x="467" y="177"/>
                    <a:pt x="467" y="177"/>
                  </a:cubicBezTo>
                  <a:cubicBezTo>
                    <a:pt x="465" y="165"/>
                    <a:pt x="463" y="154"/>
                    <a:pt x="460" y="141"/>
                  </a:cubicBezTo>
                  <a:cubicBezTo>
                    <a:pt x="449" y="96"/>
                    <a:pt x="449" y="96"/>
                    <a:pt x="449" y="96"/>
                  </a:cubicBezTo>
                  <a:cubicBezTo>
                    <a:pt x="417" y="96"/>
                    <a:pt x="417" y="96"/>
                    <a:pt x="417" y="96"/>
                  </a:cubicBezTo>
                  <a:cubicBezTo>
                    <a:pt x="405" y="140"/>
                    <a:pt x="405" y="140"/>
                    <a:pt x="405" y="140"/>
                  </a:cubicBezTo>
                  <a:cubicBezTo>
                    <a:pt x="402" y="153"/>
                    <a:pt x="399" y="166"/>
                    <a:pt x="397" y="178"/>
                  </a:cubicBezTo>
                  <a:cubicBezTo>
                    <a:pt x="396" y="178"/>
                    <a:pt x="396" y="178"/>
                    <a:pt x="396" y="178"/>
                  </a:cubicBezTo>
                  <a:cubicBezTo>
                    <a:pt x="394" y="167"/>
                    <a:pt x="391" y="153"/>
                    <a:pt x="388" y="140"/>
                  </a:cubicBezTo>
                  <a:cubicBezTo>
                    <a:pt x="378" y="96"/>
                    <a:pt x="378" y="96"/>
                    <a:pt x="378" y="96"/>
                  </a:cubicBezTo>
                  <a:cubicBezTo>
                    <a:pt x="345" y="96"/>
                    <a:pt x="345" y="96"/>
                    <a:pt x="345" y="96"/>
                  </a:cubicBezTo>
                  <a:cubicBezTo>
                    <a:pt x="377" y="203"/>
                    <a:pt x="377" y="203"/>
                    <a:pt x="377" y="203"/>
                  </a:cubicBezTo>
                  <a:cubicBezTo>
                    <a:pt x="411" y="203"/>
                    <a:pt x="411" y="203"/>
                    <a:pt x="411" y="203"/>
                  </a:cubicBezTo>
                  <a:cubicBezTo>
                    <a:pt x="424" y="157"/>
                    <a:pt x="424" y="157"/>
                    <a:pt x="424" y="157"/>
                  </a:cubicBezTo>
                  <a:cubicBezTo>
                    <a:pt x="427" y="146"/>
                    <a:pt x="429" y="136"/>
                    <a:pt x="431" y="124"/>
                  </a:cubicBezTo>
                  <a:cubicBezTo>
                    <a:pt x="432" y="124"/>
                    <a:pt x="432" y="124"/>
                    <a:pt x="432" y="124"/>
                  </a:cubicBezTo>
                  <a:cubicBezTo>
                    <a:pt x="434" y="136"/>
                    <a:pt x="436" y="146"/>
                    <a:pt x="438" y="157"/>
                  </a:cubicBezTo>
                  <a:cubicBezTo>
                    <a:pt x="450" y="203"/>
                    <a:pt x="450" y="203"/>
                    <a:pt x="450" y="203"/>
                  </a:cubicBezTo>
                  <a:cubicBezTo>
                    <a:pt x="483" y="203"/>
                    <a:pt x="483" y="203"/>
                    <a:pt x="483" y="203"/>
                  </a:cubicBezTo>
                  <a:cubicBezTo>
                    <a:pt x="518" y="96"/>
                    <a:pt x="518" y="96"/>
                    <a:pt x="518" y="96"/>
                  </a:cubicBezTo>
                  <a:close/>
                  <a:moveTo>
                    <a:pt x="579" y="94"/>
                  </a:moveTo>
                  <a:cubicBezTo>
                    <a:pt x="548" y="94"/>
                    <a:pt x="528" y="108"/>
                    <a:pt x="528" y="127"/>
                  </a:cubicBezTo>
                  <a:cubicBezTo>
                    <a:pt x="528" y="142"/>
                    <a:pt x="543" y="152"/>
                    <a:pt x="565" y="158"/>
                  </a:cubicBezTo>
                  <a:cubicBezTo>
                    <a:pt x="582" y="163"/>
                    <a:pt x="588" y="167"/>
                    <a:pt x="588" y="173"/>
                  </a:cubicBezTo>
                  <a:cubicBezTo>
                    <a:pt x="588" y="180"/>
                    <a:pt x="581" y="185"/>
                    <a:pt x="567" y="185"/>
                  </a:cubicBezTo>
                  <a:cubicBezTo>
                    <a:pt x="554" y="185"/>
                    <a:pt x="541" y="182"/>
                    <a:pt x="533" y="178"/>
                  </a:cubicBezTo>
                  <a:cubicBezTo>
                    <a:pt x="527" y="198"/>
                    <a:pt x="527" y="198"/>
                    <a:pt x="527" y="198"/>
                  </a:cubicBezTo>
                  <a:cubicBezTo>
                    <a:pt x="534" y="202"/>
                    <a:pt x="549" y="205"/>
                    <a:pt x="565" y="205"/>
                  </a:cubicBezTo>
                  <a:cubicBezTo>
                    <a:pt x="602" y="205"/>
                    <a:pt x="619" y="190"/>
                    <a:pt x="619" y="172"/>
                  </a:cubicBezTo>
                  <a:cubicBezTo>
                    <a:pt x="619" y="157"/>
                    <a:pt x="608" y="147"/>
                    <a:pt x="584" y="140"/>
                  </a:cubicBezTo>
                  <a:cubicBezTo>
                    <a:pt x="567" y="134"/>
                    <a:pt x="559" y="131"/>
                    <a:pt x="559" y="124"/>
                  </a:cubicBezTo>
                  <a:cubicBezTo>
                    <a:pt x="559" y="119"/>
                    <a:pt x="566" y="114"/>
                    <a:pt x="579" y="114"/>
                  </a:cubicBezTo>
                  <a:cubicBezTo>
                    <a:pt x="592" y="114"/>
                    <a:pt x="602" y="117"/>
                    <a:pt x="607" y="119"/>
                  </a:cubicBezTo>
                  <a:cubicBezTo>
                    <a:pt x="614" y="100"/>
                    <a:pt x="614" y="100"/>
                    <a:pt x="614" y="100"/>
                  </a:cubicBezTo>
                  <a:cubicBezTo>
                    <a:pt x="606" y="97"/>
                    <a:pt x="595" y="94"/>
                    <a:pt x="579" y="94"/>
                  </a:cubicBezTo>
                  <a:close/>
                  <a:moveTo>
                    <a:pt x="73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34" y="309"/>
                    <a:pt x="34" y="309"/>
                    <a:pt x="34" y="309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704" y="34"/>
                    <a:pt x="704" y="34"/>
                    <a:pt x="704" y="34"/>
                  </a:cubicBezTo>
                  <a:cubicBezTo>
                    <a:pt x="704" y="309"/>
                    <a:pt x="704" y="309"/>
                    <a:pt x="704" y="309"/>
                  </a:cubicBezTo>
                  <a:cubicBezTo>
                    <a:pt x="737" y="309"/>
                    <a:pt x="737" y="309"/>
                    <a:pt x="737" y="309"/>
                  </a:cubicBezTo>
                  <a:cubicBezTo>
                    <a:pt x="737" y="0"/>
                    <a:pt x="737" y="0"/>
                    <a:pt x="737" y="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</p:spTree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21" name="Picture 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5400000">
            <a:off x="2493963" y="-527050"/>
            <a:ext cx="4241800" cy="814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22" name="Title 29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476250"/>
          </a:xfrm>
        </p:spPr>
        <p:txBody>
          <a:bodyPr>
            <a:noAutofit/>
          </a:bodyPr>
          <a:lstStyle/>
          <a:p>
            <a:r>
              <a:rPr lang="hu-HU" smtClean="0"/>
              <a:t>Az okostelefonok informálnak bennünket </a:t>
            </a:r>
            <a:br>
              <a:rPr lang="hu-HU" smtClean="0"/>
            </a:br>
            <a:r>
              <a:rPr lang="hu-HU" smtClean="0"/>
              <a:t>a mindennapokban</a:t>
            </a:r>
          </a:p>
        </p:txBody>
      </p:sp>
      <p:sp>
        <p:nvSpPr>
          <p:cNvPr id="81923" name="Slide Number Placeholder 3"/>
          <p:cNvSpPr>
            <a:spLocks noGrp="1"/>
          </p:cNvSpPr>
          <p:nvPr>
            <p:ph type="sldNum" sz="quarter" idx="10"/>
          </p:nvPr>
        </p:nvSpPr>
        <p:spPr bwMode="auto">
          <a:noFill/>
        </p:spPr>
        <p:txBody>
          <a:bodyPr vert="horz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fld id="{D6B7D7E7-4CEC-434F-BF09-1A0C037880B0}" type="slidenum">
              <a:rPr lang="hu-HU"/>
              <a:pPr/>
              <a:t>9</a:t>
            </a:fld>
            <a:endParaRPr lang="hu-HU"/>
          </a:p>
        </p:txBody>
      </p:sp>
      <p:grpSp>
        <p:nvGrpSpPr>
          <p:cNvPr id="10" name="Group 76"/>
          <p:cNvGrpSpPr/>
          <p:nvPr/>
        </p:nvGrpSpPr>
        <p:grpSpPr>
          <a:xfrm>
            <a:off x="2171009" y="2387837"/>
            <a:ext cx="1793306" cy="1535909"/>
            <a:chOff x="-2497137" y="2349500"/>
            <a:chExt cx="1349374" cy="1155700"/>
          </a:xfrm>
          <a:solidFill>
            <a:schemeClr val="accent4">
              <a:lumMod val="75000"/>
            </a:schemeClr>
          </a:solidFill>
        </p:grpSpPr>
        <p:sp>
          <p:nvSpPr>
            <p:cNvPr id="11" name="Freeform 15"/>
            <p:cNvSpPr>
              <a:spLocks/>
            </p:cNvSpPr>
            <p:nvPr/>
          </p:nvSpPr>
          <p:spPr bwMode="auto">
            <a:xfrm>
              <a:off x="-2497137" y="3108325"/>
              <a:ext cx="396875" cy="396875"/>
            </a:xfrm>
            <a:custGeom>
              <a:avLst/>
              <a:gdLst/>
              <a:ahLst/>
              <a:cxnLst>
                <a:cxn ang="0">
                  <a:pos x="38" y="101"/>
                </a:cxn>
                <a:cxn ang="0">
                  <a:pos x="22" y="100"/>
                </a:cxn>
                <a:cxn ang="0">
                  <a:pos x="6" y="84"/>
                </a:cxn>
                <a:cxn ang="0">
                  <a:pos x="4" y="68"/>
                </a:cxn>
                <a:cxn ang="0">
                  <a:pos x="68" y="4"/>
                </a:cxn>
                <a:cxn ang="0">
                  <a:pos x="85" y="5"/>
                </a:cxn>
                <a:cxn ang="0">
                  <a:pos x="100" y="21"/>
                </a:cxn>
                <a:cxn ang="0">
                  <a:pos x="102" y="37"/>
                </a:cxn>
                <a:cxn ang="0">
                  <a:pos x="38" y="101"/>
                </a:cxn>
              </a:cxnLst>
              <a:rect l="0" t="0" r="r" b="b"/>
              <a:pathLst>
                <a:path w="106" h="106">
                  <a:moveTo>
                    <a:pt x="38" y="101"/>
                  </a:moveTo>
                  <a:cubicBezTo>
                    <a:pt x="34" y="106"/>
                    <a:pt x="27" y="105"/>
                    <a:pt x="22" y="100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1" y="79"/>
                    <a:pt x="0" y="72"/>
                    <a:pt x="4" y="68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72" y="0"/>
                    <a:pt x="80" y="0"/>
                    <a:pt x="85" y="5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05" y="26"/>
                    <a:pt x="106" y="33"/>
                    <a:pt x="102" y="37"/>
                  </a:cubicBezTo>
                  <a:lnTo>
                    <a:pt x="38" y="10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Freeform 16"/>
            <p:cNvSpPr>
              <a:spLocks noEditPoints="1"/>
            </p:cNvSpPr>
            <p:nvPr/>
          </p:nvSpPr>
          <p:spPr bwMode="auto">
            <a:xfrm>
              <a:off x="-1649413" y="2767013"/>
              <a:ext cx="347662" cy="434975"/>
            </a:xfrm>
            <a:custGeom>
              <a:avLst/>
              <a:gdLst/>
              <a:ahLst/>
              <a:cxnLst>
                <a:cxn ang="0">
                  <a:pos x="84" y="74"/>
                </a:cxn>
                <a:cxn ang="0">
                  <a:pos x="26" y="74"/>
                </a:cxn>
                <a:cxn ang="0">
                  <a:pos x="18" y="92"/>
                </a:cxn>
                <a:cxn ang="0">
                  <a:pos x="84" y="92"/>
                </a:cxn>
                <a:cxn ang="0">
                  <a:pos x="93" y="83"/>
                </a:cxn>
                <a:cxn ang="0">
                  <a:pos x="84" y="74"/>
                </a:cxn>
                <a:cxn ang="0">
                  <a:pos x="84" y="18"/>
                </a:cxn>
                <a:cxn ang="0">
                  <a:pos x="93" y="9"/>
                </a:cxn>
                <a:cxn ang="0">
                  <a:pos x="84" y="0"/>
                </a:cxn>
                <a:cxn ang="0">
                  <a:pos x="24" y="0"/>
                </a:cxn>
                <a:cxn ang="0">
                  <a:pos x="29" y="18"/>
                </a:cxn>
                <a:cxn ang="0">
                  <a:pos x="84" y="18"/>
                </a:cxn>
                <a:cxn ang="0">
                  <a:pos x="84" y="99"/>
                </a:cxn>
                <a:cxn ang="0">
                  <a:pos x="14" y="99"/>
                </a:cxn>
                <a:cxn ang="0">
                  <a:pos x="0" y="116"/>
                </a:cxn>
                <a:cxn ang="0">
                  <a:pos x="84" y="116"/>
                </a:cxn>
                <a:cxn ang="0">
                  <a:pos x="93" y="108"/>
                </a:cxn>
                <a:cxn ang="0">
                  <a:pos x="84" y="99"/>
                </a:cxn>
                <a:cxn ang="0">
                  <a:pos x="84" y="49"/>
                </a:cxn>
                <a:cxn ang="0">
                  <a:pos x="31" y="49"/>
                </a:cxn>
                <a:cxn ang="0">
                  <a:pos x="28" y="67"/>
                </a:cxn>
                <a:cxn ang="0">
                  <a:pos x="84" y="67"/>
                </a:cxn>
                <a:cxn ang="0">
                  <a:pos x="93" y="58"/>
                </a:cxn>
                <a:cxn ang="0">
                  <a:pos x="84" y="49"/>
                </a:cxn>
                <a:cxn ang="0">
                  <a:pos x="84" y="24"/>
                </a:cxn>
                <a:cxn ang="0">
                  <a:pos x="30" y="24"/>
                </a:cxn>
                <a:cxn ang="0">
                  <a:pos x="31" y="40"/>
                </a:cxn>
                <a:cxn ang="0">
                  <a:pos x="31" y="42"/>
                </a:cxn>
                <a:cxn ang="0">
                  <a:pos x="84" y="42"/>
                </a:cxn>
                <a:cxn ang="0">
                  <a:pos x="93" y="33"/>
                </a:cxn>
                <a:cxn ang="0">
                  <a:pos x="84" y="24"/>
                </a:cxn>
              </a:cxnLst>
              <a:rect l="0" t="0" r="r" b="b"/>
              <a:pathLst>
                <a:path w="93" h="116">
                  <a:moveTo>
                    <a:pt x="84" y="74"/>
                  </a:moveTo>
                  <a:cubicBezTo>
                    <a:pt x="26" y="74"/>
                    <a:pt x="26" y="74"/>
                    <a:pt x="26" y="74"/>
                  </a:cubicBezTo>
                  <a:cubicBezTo>
                    <a:pt x="24" y="80"/>
                    <a:pt x="21" y="86"/>
                    <a:pt x="18" y="92"/>
                  </a:cubicBezTo>
                  <a:cubicBezTo>
                    <a:pt x="84" y="92"/>
                    <a:pt x="84" y="92"/>
                    <a:pt x="84" y="92"/>
                  </a:cubicBezTo>
                  <a:cubicBezTo>
                    <a:pt x="89" y="92"/>
                    <a:pt x="93" y="88"/>
                    <a:pt x="93" y="83"/>
                  </a:cubicBezTo>
                  <a:cubicBezTo>
                    <a:pt x="93" y="78"/>
                    <a:pt x="89" y="74"/>
                    <a:pt x="84" y="74"/>
                  </a:cubicBezTo>
                  <a:close/>
                  <a:moveTo>
                    <a:pt x="84" y="18"/>
                  </a:moveTo>
                  <a:cubicBezTo>
                    <a:pt x="89" y="18"/>
                    <a:pt x="93" y="14"/>
                    <a:pt x="93" y="9"/>
                  </a:cubicBezTo>
                  <a:cubicBezTo>
                    <a:pt x="93" y="4"/>
                    <a:pt x="89" y="0"/>
                    <a:pt x="8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6"/>
                    <a:pt x="28" y="12"/>
                    <a:pt x="29" y="18"/>
                  </a:cubicBezTo>
                  <a:lnTo>
                    <a:pt x="84" y="18"/>
                  </a:lnTo>
                  <a:close/>
                  <a:moveTo>
                    <a:pt x="84" y="99"/>
                  </a:moveTo>
                  <a:cubicBezTo>
                    <a:pt x="14" y="99"/>
                    <a:pt x="14" y="99"/>
                    <a:pt x="14" y="99"/>
                  </a:cubicBezTo>
                  <a:cubicBezTo>
                    <a:pt x="10" y="105"/>
                    <a:pt x="5" y="111"/>
                    <a:pt x="0" y="116"/>
                  </a:cubicBezTo>
                  <a:cubicBezTo>
                    <a:pt x="84" y="116"/>
                    <a:pt x="84" y="116"/>
                    <a:pt x="84" y="116"/>
                  </a:cubicBezTo>
                  <a:cubicBezTo>
                    <a:pt x="89" y="116"/>
                    <a:pt x="93" y="112"/>
                    <a:pt x="93" y="108"/>
                  </a:cubicBezTo>
                  <a:cubicBezTo>
                    <a:pt x="93" y="103"/>
                    <a:pt x="89" y="99"/>
                    <a:pt x="84" y="99"/>
                  </a:cubicBezTo>
                  <a:close/>
                  <a:moveTo>
                    <a:pt x="84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30" y="55"/>
                    <a:pt x="29" y="61"/>
                    <a:pt x="28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9" y="67"/>
                    <a:pt x="93" y="63"/>
                    <a:pt x="93" y="58"/>
                  </a:cubicBezTo>
                  <a:cubicBezTo>
                    <a:pt x="93" y="53"/>
                    <a:pt x="89" y="49"/>
                    <a:pt x="84" y="49"/>
                  </a:cubicBezTo>
                  <a:close/>
                  <a:moveTo>
                    <a:pt x="84" y="24"/>
                  </a:moveTo>
                  <a:cubicBezTo>
                    <a:pt x="30" y="24"/>
                    <a:pt x="30" y="24"/>
                    <a:pt x="30" y="24"/>
                  </a:cubicBezTo>
                  <a:cubicBezTo>
                    <a:pt x="31" y="29"/>
                    <a:pt x="31" y="34"/>
                    <a:pt x="31" y="40"/>
                  </a:cubicBezTo>
                  <a:cubicBezTo>
                    <a:pt x="31" y="40"/>
                    <a:pt x="31" y="41"/>
                    <a:pt x="31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9" y="42"/>
                    <a:pt x="93" y="38"/>
                    <a:pt x="93" y="33"/>
                  </a:cubicBezTo>
                  <a:cubicBezTo>
                    <a:pt x="93" y="28"/>
                    <a:pt x="89" y="24"/>
                    <a:pt x="84" y="2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" name="Freeform 17"/>
            <p:cNvSpPr>
              <a:spLocks noEditPoints="1"/>
            </p:cNvSpPr>
            <p:nvPr/>
          </p:nvSpPr>
          <p:spPr bwMode="auto">
            <a:xfrm>
              <a:off x="-2054225" y="2349500"/>
              <a:ext cx="906462" cy="1122363"/>
            </a:xfrm>
            <a:custGeom>
              <a:avLst/>
              <a:gdLst/>
              <a:ahLst/>
              <a:cxnLst>
                <a:cxn ang="0">
                  <a:pos x="240" y="78"/>
                </a:cxn>
                <a:cxn ang="0">
                  <a:pos x="240" y="78"/>
                </a:cxn>
                <a:cxn ang="0">
                  <a:pos x="239" y="78"/>
                </a:cxn>
                <a:cxn ang="0">
                  <a:pos x="238" y="76"/>
                </a:cxn>
                <a:cxn ang="0">
                  <a:pos x="171" y="3"/>
                </a:cxn>
                <a:cxn ang="0">
                  <a:pos x="160" y="0"/>
                </a:cxn>
                <a:cxn ang="0">
                  <a:pos x="29" y="0"/>
                </a:cxn>
                <a:cxn ang="0">
                  <a:pos x="0" y="34"/>
                </a:cxn>
                <a:cxn ang="0">
                  <a:pos x="0" y="45"/>
                </a:cxn>
                <a:cxn ang="0">
                  <a:pos x="23" y="41"/>
                </a:cxn>
                <a:cxn ang="0">
                  <a:pos x="23" y="34"/>
                </a:cxn>
                <a:cxn ang="0">
                  <a:pos x="29" y="22"/>
                </a:cxn>
                <a:cxn ang="0">
                  <a:pos x="146" y="22"/>
                </a:cxn>
                <a:cxn ang="0">
                  <a:pos x="146" y="66"/>
                </a:cxn>
                <a:cxn ang="0">
                  <a:pos x="175" y="100"/>
                </a:cxn>
                <a:cxn ang="0">
                  <a:pos x="218" y="100"/>
                </a:cxn>
                <a:cxn ang="0">
                  <a:pos x="218" y="265"/>
                </a:cxn>
                <a:cxn ang="0">
                  <a:pos x="211" y="277"/>
                </a:cxn>
                <a:cxn ang="0">
                  <a:pos x="29" y="277"/>
                </a:cxn>
                <a:cxn ang="0">
                  <a:pos x="23" y="265"/>
                </a:cxn>
                <a:cxn ang="0">
                  <a:pos x="23" y="260"/>
                </a:cxn>
                <a:cxn ang="0">
                  <a:pos x="0" y="256"/>
                </a:cxn>
                <a:cxn ang="0">
                  <a:pos x="0" y="265"/>
                </a:cxn>
                <a:cxn ang="0">
                  <a:pos x="29" y="299"/>
                </a:cxn>
                <a:cxn ang="0">
                  <a:pos x="211" y="299"/>
                </a:cxn>
                <a:cxn ang="0">
                  <a:pos x="240" y="265"/>
                </a:cxn>
                <a:cxn ang="0">
                  <a:pos x="240" y="78"/>
                </a:cxn>
                <a:cxn ang="0">
                  <a:pos x="175" y="78"/>
                </a:cxn>
                <a:cxn ang="0">
                  <a:pos x="168" y="66"/>
                </a:cxn>
                <a:cxn ang="0">
                  <a:pos x="168" y="33"/>
                </a:cxn>
                <a:cxn ang="0">
                  <a:pos x="209" y="78"/>
                </a:cxn>
                <a:cxn ang="0">
                  <a:pos x="175" y="78"/>
                </a:cxn>
              </a:cxnLst>
              <a:rect l="0" t="0" r="r" b="b"/>
              <a:pathLst>
                <a:path w="242" h="299">
                  <a:moveTo>
                    <a:pt x="240" y="78"/>
                  </a:moveTo>
                  <a:cubicBezTo>
                    <a:pt x="240" y="78"/>
                    <a:pt x="240" y="78"/>
                    <a:pt x="240" y="78"/>
                  </a:cubicBezTo>
                  <a:cubicBezTo>
                    <a:pt x="239" y="78"/>
                    <a:pt x="239" y="78"/>
                    <a:pt x="239" y="78"/>
                  </a:cubicBezTo>
                  <a:cubicBezTo>
                    <a:pt x="239" y="77"/>
                    <a:pt x="239" y="76"/>
                    <a:pt x="238" y="76"/>
                  </a:cubicBezTo>
                  <a:cubicBezTo>
                    <a:pt x="171" y="3"/>
                    <a:pt x="171" y="3"/>
                    <a:pt x="171" y="3"/>
                  </a:cubicBezTo>
                  <a:cubicBezTo>
                    <a:pt x="170" y="2"/>
                    <a:pt x="162" y="0"/>
                    <a:pt x="16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3" y="0"/>
                    <a:pt x="0" y="15"/>
                    <a:pt x="0" y="34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7" y="43"/>
                    <a:pt x="15" y="42"/>
                    <a:pt x="23" y="41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27"/>
                    <a:pt x="26" y="22"/>
                    <a:pt x="29" y="22"/>
                  </a:cubicBezTo>
                  <a:cubicBezTo>
                    <a:pt x="146" y="22"/>
                    <a:pt x="146" y="22"/>
                    <a:pt x="146" y="22"/>
                  </a:cubicBezTo>
                  <a:cubicBezTo>
                    <a:pt x="146" y="66"/>
                    <a:pt x="146" y="66"/>
                    <a:pt x="146" y="66"/>
                  </a:cubicBezTo>
                  <a:cubicBezTo>
                    <a:pt x="146" y="85"/>
                    <a:pt x="159" y="100"/>
                    <a:pt x="175" y="100"/>
                  </a:cubicBezTo>
                  <a:cubicBezTo>
                    <a:pt x="218" y="100"/>
                    <a:pt x="218" y="100"/>
                    <a:pt x="218" y="100"/>
                  </a:cubicBezTo>
                  <a:cubicBezTo>
                    <a:pt x="218" y="265"/>
                    <a:pt x="218" y="265"/>
                    <a:pt x="218" y="265"/>
                  </a:cubicBezTo>
                  <a:cubicBezTo>
                    <a:pt x="218" y="272"/>
                    <a:pt x="214" y="277"/>
                    <a:pt x="211" y="277"/>
                  </a:cubicBezTo>
                  <a:cubicBezTo>
                    <a:pt x="29" y="277"/>
                    <a:pt x="29" y="277"/>
                    <a:pt x="29" y="277"/>
                  </a:cubicBezTo>
                  <a:cubicBezTo>
                    <a:pt x="26" y="277"/>
                    <a:pt x="23" y="272"/>
                    <a:pt x="23" y="265"/>
                  </a:cubicBezTo>
                  <a:cubicBezTo>
                    <a:pt x="23" y="260"/>
                    <a:pt x="23" y="260"/>
                    <a:pt x="23" y="260"/>
                  </a:cubicBezTo>
                  <a:cubicBezTo>
                    <a:pt x="15" y="259"/>
                    <a:pt x="7" y="258"/>
                    <a:pt x="0" y="256"/>
                  </a:cubicBezTo>
                  <a:cubicBezTo>
                    <a:pt x="0" y="265"/>
                    <a:pt x="0" y="265"/>
                    <a:pt x="0" y="265"/>
                  </a:cubicBezTo>
                  <a:cubicBezTo>
                    <a:pt x="0" y="284"/>
                    <a:pt x="13" y="299"/>
                    <a:pt x="29" y="299"/>
                  </a:cubicBezTo>
                  <a:cubicBezTo>
                    <a:pt x="211" y="299"/>
                    <a:pt x="211" y="299"/>
                    <a:pt x="211" y="299"/>
                  </a:cubicBezTo>
                  <a:cubicBezTo>
                    <a:pt x="227" y="299"/>
                    <a:pt x="240" y="284"/>
                    <a:pt x="240" y="265"/>
                  </a:cubicBezTo>
                  <a:cubicBezTo>
                    <a:pt x="240" y="265"/>
                    <a:pt x="242" y="82"/>
                    <a:pt x="240" y="78"/>
                  </a:cubicBezTo>
                  <a:close/>
                  <a:moveTo>
                    <a:pt x="175" y="78"/>
                  </a:moveTo>
                  <a:cubicBezTo>
                    <a:pt x="172" y="78"/>
                    <a:pt x="168" y="72"/>
                    <a:pt x="168" y="66"/>
                  </a:cubicBezTo>
                  <a:cubicBezTo>
                    <a:pt x="168" y="33"/>
                    <a:pt x="168" y="33"/>
                    <a:pt x="168" y="33"/>
                  </a:cubicBezTo>
                  <a:cubicBezTo>
                    <a:pt x="209" y="78"/>
                    <a:pt x="209" y="78"/>
                    <a:pt x="209" y="78"/>
                  </a:cubicBezTo>
                  <a:lnTo>
                    <a:pt x="175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" name="Freeform 18"/>
            <p:cNvSpPr>
              <a:spLocks noEditPoints="1"/>
            </p:cNvSpPr>
            <p:nvPr/>
          </p:nvSpPr>
          <p:spPr bwMode="auto">
            <a:xfrm>
              <a:off x="-2312988" y="2544763"/>
              <a:ext cx="738187" cy="739775"/>
            </a:xfrm>
            <a:custGeom>
              <a:avLst/>
              <a:gdLst/>
              <a:ahLst/>
              <a:cxnLst>
                <a:cxn ang="0">
                  <a:pos x="0" y="99"/>
                </a:cxn>
                <a:cxn ang="0">
                  <a:pos x="99" y="197"/>
                </a:cxn>
                <a:cxn ang="0">
                  <a:pos x="197" y="99"/>
                </a:cxn>
                <a:cxn ang="0">
                  <a:pos x="99" y="0"/>
                </a:cxn>
                <a:cxn ang="0">
                  <a:pos x="0" y="99"/>
                </a:cxn>
                <a:cxn ang="0">
                  <a:pos x="25" y="99"/>
                </a:cxn>
                <a:cxn ang="0">
                  <a:pos x="99" y="25"/>
                </a:cxn>
                <a:cxn ang="0">
                  <a:pos x="172" y="99"/>
                </a:cxn>
                <a:cxn ang="0">
                  <a:pos x="99" y="172"/>
                </a:cxn>
                <a:cxn ang="0">
                  <a:pos x="25" y="99"/>
                </a:cxn>
              </a:cxnLst>
              <a:rect l="0" t="0" r="r" b="b"/>
              <a:pathLst>
                <a:path w="197" h="197">
                  <a:moveTo>
                    <a:pt x="0" y="99"/>
                  </a:moveTo>
                  <a:cubicBezTo>
                    <a:pt x="0" y="153"/>
                    <a:pt x="44" y="197"/>
                    <a:pt x="99" y="197"/>
                  </a:cubicBezTo>
                  <a:cubicBezTo>
                    <a:pt x="153" y="197"/>
                    <a:pt x="197" y="153"/>
                    <a:pt x="197" y="99"/>
                  </a:cubicBezTo>
                  <a:cubicBezTo>
                    <a:pt x="197" y="44"/>
                    <a:pt x="153" y="0"/>
                    <a:pt x="99" y="0"/>
                  </a:cubicBezTo>
                  <a:cubicBezTo>
                    <a:pt x="44" y="0"/>
                    <a:pt x="0" y="44"/>
                    <a:pt x="0" y="99"/>
                  </a:cubicBezTo>
                  <a:close/>
                  <a:moveTo>
                    <a:pt x="25" y="99"/>
                  </a:moveTo>
                  <a:cubicBezTo>
                    <a:pt x="25" y="58"/>
                    <a:pt x="58" y="25"/>
                    <a:pt x="99" y="25"/>
                  </a:cubicBezTo>
                  <a:cubicBezTo>
                    <a:pt x="139" y="25"/>
                    <a:pt x="172" y="58"/>
                    <a:pt x="172" y="99"/>
                  </a:cubicBezTo>
                  <a:cubicBezTo>
                    <a:pt x="172" y="139"/>
                    <a:pt x="139" y="172"/>
                    <a:pt x="99" y="172"/>
                  </a:cubicBezTo>
                  <a:cubicBezTo>
                    <a:pt x="58" y="172"/>
                    <a:pt x="25" y="139"/>
                    <a:pt x="25" y="9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5" name="Freeform 19"/>
            <p:cNvSpPr>
              <a:spLocks/>
            </p:cNvSpPr>
            <p:nvPr/>
          </p:nvSpPr>
          <p:spPr bwMode="auto">
            <a:xfrm>
              <a:off x="-2178050" y="2673350"/>
              <a:ext cx="250825" cy="234950"/>
            </a:xfrm>
            <a:custGeom>
              <a:avLst/>
              <a:gdLst/>
              <a:ahLst/>
              <a:cxnLst>
                <a:cxn ang="0">
                  <a:pos x="67" y="6"/>
                </a:cxn>
                <a:cxn ang="0">
                  <a:pos x="60" y="0"/>
                </a:cxn>
                <a:cxn ang="0">
                  <a:pos x="1" y="55"/>
                </a:cxn>
                <a:cxn ang="0">
                  <a:pos x="6" y="63"/>
                </a:cxn>
                <a:cxn ang="0">
                  <a:pos x="14" y="58"/>
                </a:cxn>
                <a:cxn ang="0">
                  <a:pos x="61" y="13"/>
                </a:cxn>
                <a:cxn ang="0">
                  <a:pos x="67" y="6"/>
                </a:cxn>
              </a:cxnLst>
              <a:rect l="0" t="0" r="r" b="b"/>
              <a:pathLst>
                <a:path w="67" h="63">
                  <a:moveTo>
                    <a:pt x="67" y="6"/>
                  </a:moveTo>
                  <a:cubicBezTo>
                    <a:pt x="67" y="2"/>
                    <a:pt x="64" y="0"/>
                    <a:pt x="60" y="0"/>
                  </a:cubicBezTo>
                  <a:cubicBezTo>
                    <a:pt x="60" y="0"/>
                    <a:pt x="15" y="5"/>
                    <a:pt x="1" y="55"/>
                  </a:cubicBezTo>
                  <a:cubicBezTo>
                    <a:pt x="0" y="58"/>
                    <a:pt x="2" y="62"/>
                    <a:pt x="6" y="63"/>
                  </a:cubicBezTo>
                  <a:cubicBezTo>
                    <a:pt x="9" y="63"/>
                    <a:pt x="13" y="61"/>
                    <a:pt x="14" y="58"/>
                  </a:cubicBezTo>
                  <a:cubicBezTo>
                    <a:pt x="25" y="17"/>
                    <a:pt x="60" y="13"/>
                    <a:pt x="61" y="13"/>
                  </a:cubicBezTo>
                  <a:cubicBezTo>
                    <a:pt x="65" y="13"/>
                    <a:pt x="67" y="10"/>
                    <a:pt x="67" y="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Freeform 20"/>
            <p:cNvSpPr>
              <a:spLocks noEditPoints="1"/>
            </p:cNvSpPr>
            <p:nvPr/>
          </p:nvSpPr>
          <p:spPr bwMode="auto">
            <a:xfrm>
              <a:off x="-1924050" y="2781300"/>
              <a:ext cx="228600" cy="341313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20" y="91"/>
                </a:cxn>
                <a:cxn ang="0">
                  <a:pos x="30" y="91"/>
                </a:cxn>
                <a:cxn ang="0">
                  <a:pos x="59" y="52"/>
                </a:cxn>
                <a:cxn ang="0">
                  <a:pos x="20" y="52"/>
                </a:cxn>
                <a:cxn ang="0">
                  <a:pos x="0" y="72"/>
                </a:cxn>
                <a:cxn ang="0">
                  <a:pos x="51" y="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20" y="39"/>
                </a:cxn>
                <a:cxn ang="0">
                  <a:pos x="61" y="39"/>
                </a:cxn>
                <a:cxn ang="0">
                  <a:pos x="61" y="35"/>
                </a:cxn>
                <a:cxn ang="0">
                  <a:pos x="51" y="0"/>
                </a:cxn>
              </a:cxnLst>
              <a:rect l="0" t="0" r="r" b="b"/>
              <a:pathLst>
                <a:path w="61" h="91">
                  <a:moveTo>
                    <a:pt x="0" y="72"/>
                  </a:moveTo>
                  <a:cubicBezTo>
                    <a:pt x="0" y="83"/>
                    <a:pt x="9" y="91"/>
                    <a:pt x="20" y="91"/>
                  </a:cubicBezTo>
                  <a:cubicBezTo>
                    <a:pt x="30" y="91"/>
                    <a:pt x="30" y="91"/>
                    <a:pt x="30" y="91"/>
                  </a:cubicBezTo>
                  <a:cubicBezTo>
                    <a:pt x="44" y="82"/>
                    <a:pt x="54" y="69"/>
                    <a:pt x="59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9" y="52"/>
                    <a:pt x="0" y="61"/>
                    <a:pt x="0" y="72"/>
                  </a:cubicBezTo>
                  <a:close/>
                  <a:moveTo>
                    <a:pt x="51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0"/>
                    <a:pt x="9" y="39"/>
                    <a:pt x="20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8"/>
                    <a:pt x="61" y="37"/>
                    <a:pt x="61" y="35"/>
                  </a:cubicBezTo>
                  <a:cubicBezTo>
                    <a:pt x="61" y="22"/>
                    <a:pt x="57" y="10"/>
                    <a:pt x="5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81925" name="Group 13"/>
          <p:cNvGrpSpPr>
            <a:grpSpLocks noChangeAspect="1"/>
          </p:cNvGrpSpPr>
          <p:nvPr/>
        </p:nvGrpSpPr>
        <p:grpSpPr bwMode="auto">
          <a:xfrm>
            <a:off x="4759325" y="3694113"/>
            <a:ext cx="434975" cy="415925"/>
            <a:chOff x="2601" y="1897"/>
            <a:chExt cx="552" cy="527"/>
          </a:xfrm>
        </p:grpSpPr>
        <p:sp>
          <p:nvSpPr>
            <p:cNvPr id="81947" name="Freeform 14"/>
            <p:cNvSpPr>
              <a:spLocks/>
            </p:cNvSpPr>
            <p:nvPr/>
          </p:nvSpPr>
          <p:spPr bwMode="auto">
            <a:xfrm>
              <a:off x="2601" y="2117"/>
              <a:ext cx="552" cy="307"/>
            </a:xfrm>
            <a:custGeom>
              <a:avLst/>
              <a:gdLst>
                <a:gd name="T0" fmla="*/ 0 w 234"/>
                <a:gd name="T1" fmla="*/ 0 h 130"/>
                <a:gd name="T2" fmla="*/ 0 w 234"/>
                <a:gd name="T3" fmla="*/ 121 h 130"/>
                <a:gd name="T4" fmla="*/ 10 w 234"/>
                <a:gd name="T5" fmla="*/ 130 h 130"/>
                <a:gd name="T6" fmla="*/ 225 w 234"/>
                <a:gd name="T7" fmla="*/ 130 h 130"/>
                <a:gd name="T8" fmla="*/ 234 w 234"/>
                <a:gd name="T9" fmla="*/ 121 h 130"/>
                <a:gd name="T10" fmla="*/ 234 w 234"/>
                <a:gd name="T11" fmla="*/ 0 h 130"/>
                <a:gd name="T12" fmla="*/ 0 w 234"/>
                <a:gd name="T13" fmla="*/ 0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4"/>
                <a:gd name="T22" fmla="*/ 0 h 130"/>
                <a:gd name="T23" fmla="*/ 234 w 234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4" h="130">
                  <a:moveTo>
                    <a:pt x="0" y="0"/>
                  </a:moveTo>
                  <a:cubicBezTo>
                    <a:pt x="0" y="121"/>
                    <a:pt x="0" y="121"/>
                    <a:pt x="0" y="121"/>
                  </a:cubicBezTo>
                  <a:cubicBezTo>
                    <a:pt x="0" y="126"/>
                    <a:pt x="4" y="130"/>
                    <a:pt x="10" y="130"/>
                  </a:cubicBezTo>
                  <a:cubicBezTo>
                    <a:pt x="225" y="130"/>
                    <a:pt x="225" y="130"/>
                    <a:pt x="225" y="130"/>
                  </a:cubicBezTo>
                  <a:cubicBezTo>
                    <a:pt x="230" y="130"/>
                    <a:pt x="234" y="126"/>
                    <a:pt x="234" y="121"/>
                  </a:cubicBezTo>
                  <a:cubicBezTo>
                    <a:pt x="234" y="0"/>
                    <a:pt x="234" y="0"/>
                    <a:pt x="23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1948" name="Freeform 15"/>
            <p:cNvSpPr>
              <a:spLocks/>
            </p:cNvSpPr>
            <p:nvPr/>
          </p:nvSpPr>
          <p:spPr bwMode="auto">
            <a:xfrm>
              <a:off x="2602" y="1992"/>
              <a:ext cx="551" cy="97"/>
            </a:xfrm>
            <a:custGeom>
              <a:avLst/>
              <a:gdLst>
                <a:gd name="T0" fmla="*/ 0 w 245"/>
                <a:gd name="T1" fmla="*/ 9 h 41"/>
                <a:gd name="T2" fmla="*/ 0 w 245"/>
                <a:gd name="T3" fmla="*/ 41 h 41"/>
                <a:gd name="T4" fmla="*/ 245 w 245"/>
                <a:gd name="T5" fmla="*/ 41 h 41"/>
                <a:gd name="T6" fmla="*/ 245 w 245"/>
                <a:gd name="T7" fmla="*/ 9 h 41"/>
                <a:gd name="T8" fmla="*/ 236 w 245"/>
                <a:gd name="T9" fmla="*/ 0 h 41"/>
                <a:gd name="T10" fmla="*/ 9 w 245"/>
                <a:gd name="T11" fmla="*/ 0 h 41"/>
                <a:gd name="T12" fmla="*/ 0 w 245"/>
                <a:gd name="T13" fmla="*/ 9 h 4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5"/>
                <a:gd name="T22" fmla="*/ 0 h 41"/>
                <a:gd name="T23" fmla="*/ 245 w 245"/>
                <a:gd name="T24" fmla="*/ 41 h 4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5" h="41">
                  <a:moveTo>
                    <a:pt x="0" y="9"/>
                  </a:moveTo>
                  <a:cubicBezTo>
                    <a:pt x="0" y="41"/>
                    <a:pt x="0" y="41"/>
                    <a:pt x="0" y="41"/>
                  </a:cubicBezTo>
                  <a:cubicBezTo>
                    <a:pt x="245" y="41"/>
                    <a:pt x="245" y="41"/>
                    <a:pt x="245" y="41"/>
                  </a:cubicBezTo>
                  <a:cubicBezTo>
                    <a:pt x="245" y="9"/>
                    <a:pt x="245" y="9"/>
                    <a:pt x="245" y="9"/>
                  </a:cubicBezTo>
                  <a:cubicBezTo>
                    <a:pt x="245" y="4"/>
                    <a:pt x="241" y="0"/>
                    <a:pt x="23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1949" name="Freeform 16"/>
            <p:cNvSpPr>
              <a:spLocks/>
            </p:cNvSpPr>
            <p:nvPr/>
          </p:nvSpPr>
          <p:spPr bwMode="auto">
            <a:xfrm>
              <a:off x="2792" y="1897"/>
              <a:ext cx="172" cy="71"/>
            </a:xfrm>
            <a:custGeom>
              <a:avLst/>
              <a:gdLst>
                <a:gd name="T0" fmla="*/ 0 w 73"/>
                <a:gd name="T1" fmla="*/ 12 h 30"/>
                <a:gd name="T2" fmla="*/ 0 w 73"/>
                <a:gd name="T3" fmla="*/ 26 h 30"/>
                <a:gd name="T4" fmla="*/ 4 w 73"/>
                <a:gd name="T5" fmla="*/ 30 h 30"/>
                <a:gd name="T6" fmla="*/ 9 w 73"/>
                <a:gd name="T7" fmla="*/ 30 h 30"/>
                <a:gd name="T8" fmla="*/ 14 w 73"/>
                <a:gd name="T9" fmla="*/ 26 h 30"/>
                <a:gd name="T10" fmla="*/ 14 w 73"/>
                <a:gd name="T11" fmla="*/ 24 h 30"/>
                <a:gd name="T12" fmla="*/ 26 w 73"/>
                <a:gd name="T13" fmla="*/ 12 h 30"/>
                <a:gd name="T14" fmla="*/ 47 w 73"/>
                <a:gd name="T15" fmla="*/ 12 h 30"/>
                <a:gd name="T16" fmla="*/ 59 w 73"/>
                <a:gd name="T17" fmla="*/ 24 h 30"/>
                <a:gd name="T18" fmla="*/ 59 w 73"/>
                <a:gd name="T19" fmla="*/ 26 h 30"/>
                <a:gd name="T20" fmla="*/ 63 w 73"/>
                <a:gd name="T21" fmla="*/ 30 h 30"/>
                <a:gd name="T22" fmla="*/ 68 w 73"/>
                <a:gd name="T23" fmla="*/ 30 h 30"/>
                <a:gd name="T24" fmla="*/ 73 w 73"/>
                <a:gd name="T25" fmla="*/ 26 h 30"/>
                <a:gd name="T26" fmla="*/ 73 w 73"/>
                <a:gd name="T27" fmla="*/ 12 h 30"/>
                <a:gd name="T28" fmla="*/ 61 w 73"/>
                <a:gd name="T29" fmla="*/ 0 h 30"/>
                <a:gd name="T30" fmla="*/ 12 w 73"/>
                <a:gd name="T31" fmla="*/ 0 h 30"/>
                <a:gd name="T32" fmla="*/ 0 w 73"/>
                <a:gd name="T33" fmla="*/ 12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73"/>
                <a:gd name="T52" fmla="*/ 0 h 30"/>
                <a:gd name="T53" fmla="*/ 73 w 73"/>
                <a:gd name="T54" fmla="*/ 30 h 3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73" h="30">
                  <a:moveTo>
                    <a:pt x="0" y="12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28"/>
                    <a:pt x="2" y="30"/>
                    <a:pt x="4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12" y="30"/>
                    <a:pt x="14" y="28"/>
                    <a:pt x="14" y="26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17"/>
                    <a:pt x="19" y="12"/>
                    <a:pt x="26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53" y="12"/>
                    <a:pt x="59" y="17"/>
                    <a:pt x="59" y="24"/>
                  </a:cubicBezTo>
                  <a:cubicBezTo>
                    <a:pt x="59" y="26"/>
                    <a:pt x="59" y="26"/>
                    <a:pt x="59" y="26"/>
                  </a:cubicBezTo>
                  <a:cubicBezTo>
                    <a:pt x="59" y="28"/>
                    <a:pt x="61" y="30"/>
                    <a:pt x="63" y="30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71" y="30"/>
                    <a:pt x="73" y="28"/>
                    <a:pt x="73" y="26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3" y="6"/>
                    <a:pt x="67" y="0"/>
                    <a:pt x="6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6"/>
                    <a:pt x="0" y="1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1950" name="Freeform 17"/>
            <p:cNvSpPr>
              <a:spLocks/>
            </p:cNvSpPr>
            <p:nvPr/>
          </p:nvSpPr>
          <p:spPr bwMode="auto">
            <a:xfrm>
              <a:off x="2837" y="2063"/>
              <a:ext cx="83" cy="113"/>
            </a:xfrm>
            <a:custGeom>
              <a:avLst/>
              <a:gdLst>
                <a:gd name="T0" fmla="*/ 5 w 35"/>
                <a:gd name="T1" fmla="*/ 0 h 48"/>
                <a:gd name="T2" fmla="*/ 30 w 35"/>
                <a:gd name="T3" fmla="*/ 0 h 48"/>
                <a:gd name="T4" fmla="*/ 35 w 35"/>
                <a:gd name="T5" fmla="*/ 5 h 48"/>
                <a:gd name="T6" fmla="*/ 35 w 35"/>
                <a:gd name="T7" fmla="*/ 29 h 48"/>
                <a:gd name="T8" fmla="*/ 0 w 35"/>
                <a:gd name="T9" fmla="*/ 29 h 48"/>
                <a:gd name="T10" fmla="*/ 0 w 35"/>
                <a:gd name="T11" fmla="*/ 5 h 48"/>
                <a:gd name="T12" fmla="*/ 5 w 35"/>
                <a:gd name="T13" fmla="*/ 0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48"/>
                <a:gd name="T23" fmla="*/ 35 w 35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48">
                  <a:moveTo>
                    <a:pt x="5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32" y="0"/>
                    <a:pt x="35" y="2"/>
                    <a:pt x="35" y="5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48"/>
                    <a:pt x="0" y="48"/>
                    <a:pt x="0" y="2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1951" name="Freeform 18"/>
            <p:cNvSpPr>
              <a:spLocks/>
            </p:cNvSpPr>
            <p:nvPr/>
          </p:nvSpPr>
          <p:spPr bwMode="auto">
            <a:xfrm>
              <a:off x="2853" y="2079"/>
              <a:ext cx="34" cy="71"/>
            </a:xfrm>
            <a:custGeom>
              <a:avLst/>
              <a:gdLst>
                <a:gd name="T0" fmla="*/ 0 w 14"/>
                <a:gd name="T1" fmla="*/ 2 h 30"/>
                <a:gd name="T2" fmla="*/ 0 w 14"/>
                <a:gd name="T3" fmla="*/ 22 h 30"/>
                <a:gd name="T4" fmla="*/ 13 w 14"/>
                <a:gd name="T5" fmla="*/ 29 h 30"/>
                <a:gd name="T6" fmla="*/ 14 w 14"/>
                <a:gd name="T7" fmla="*/ 27 h 30"/>
                <a:gd name="T8" fmla="*/ 13 w 14"/>
                <a:gd name="T9" fmla="*/ 25 h 30"/>
                <a:gd name="T10" fmla="*/ 4 w 14"/>
                <a:gd name="T11" fmla="*/ 18 h 30"/>
                <a:gd name="T12" fmla="*/ 4 w 14"/>
                <a:gd name="T13" fmla="*/ 2 h 30"/>
                <a:gd name="T14" fmla="*/ 2 w 14"/>
                <a:gd name="T15" fmla="*/ 0 h 30"/>
                <a:gd name="T16" fmla="*/ 2 w 14"/>
                <a:gd name="T17" fmla="*/ 0 h 30"/>
                <a:gd name="T18" fmla="*/ 0 w 14"/>
                <a:gd name="T19" fmla="*/ 2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30"/>
                <a:gd name="T32" fmla="*/ 14 w 14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30">
                  <a:moveTo>
                    <a:pt x="0" y="2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8"/>
                    <a:pt x="7" y="30"/>
                    <a:pt x="13" y="29"/>
                  </a:cubicBezTo>
                  <a:cubicBezTo>
                    <a:pt x="14" y="29"/>
                    <a:pt x="14" y="28"/>
                    <a:pt x="14" y="27"/>
                  </a:cubicBezTo>
                  <a:cubicBezTo>
                    <a:pt x="14" y="26"/>
                    <a:pt x="14" y="25"/>
                    <a:pt x="13" y="25"/>
                  </a:cubicBezTo>
                  <a:cubicBezTo>
                    <a:pt x="8" y="25"/>
                    <a:pt x="4" y="22"/>
                    <a:pt x="4" y="18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1952" name="Freeform 19"/>
            <p:cNvSpPr>
              <a:spLocks noEditPoints="1"/>
            </p:cNvSpPr>
            <p:nvPr/>
          </p:nvSpPr>
          <p:spPr bwMode="auto">
            <a:xfrm>
              <a:off x="2624" y="2008"/>
              <a:ext cx="506" cy="390"/>
            </a:xfrm>
            <a:custGeom>
              <a:avLst/>
              <a:gdLst>
                <a:gd name="T0" fmla="*/ 1 w 214"/>
                <a:gd name="T1" fmla="*/ 124 h 165"/>
                <a:gd name="T2" fmla="*/ 1 w 214"/>
                <a:gd name="T3" fmla="*/ 161 h 165"/>
                <a:gd name="T4" fmla="*/ 5 w 214"/>
                <a:gd name="T5" fmla="*/ 165 h 165"/>
                <a:gd name="T6" fmla="*/ 47 w 214"/>
                <a:gd name="T7" fmla="*/ 165 h 165"/>
                <a:gd name="T8" fmla="*/ 47 w 214"/>
                <a:gd name="T9" fmla="*/ 156 h 165"/>
                <a:gd name="T10" fmla="*/ 23 w 214"/>
                <a:gd name="T11" fmla="*/ 151 h 165"/>
                <a:gd name="T12" fmla="*/ 15 w 214"/>
                <a:gd name="T13" fmla="*/ 143 h 165"/>
                <a:gd name="T14" fmla="*/ 9 w 214"/>
                <a:gd name="T15" fmla="*/ 123 h 165"/>
                <a:gd name="T16" fmla="*/ 5 w 214"/>
                <a:gd name="T17" fmla="*/ 120 h 165"/>
                <a:gd name="T18" fmla="*/ 1 w 214"/>
                <a:gd name="T19" fmla="*/ 124 h 165"/>
                <a:gd name="T20" fmla="*/ 213 w 214"/>
                <a:gd name="T21" fmla="*/ 124 h 165"/>
                <a:gd name="T22" fmla="*/ 213 w 214"/>
                <a:gd name="T23" fmla="*/ 161 h 165"/>
                <a:gd name="T24" fmla="*/ 209 w 214"/>
                <a:gd name="T25" fmla="*/ 165 h 165"/>
                <a:gd name="T26" fmla="*/ 168 w 214"/>
                <a:gd name="T27" fmla="*/ 165 h 165"/>
                <a:gd name="T28" fmla="*/ 168 w 214"/>
                <a:gd name="T29" fmla="*/ 156 h 165"/>
                <a:gd name="T30" fmla="*/ 191 w 214"/>
                <a:gd name="T31" fmla="*/ 151 h 165"/>
                <a:gd name="T32" fmla="*/ 200 w 214"/>
                <a:gd name="T33" fmla="*/ 143 h 165"/>
                <a:gd name="T34" fmla="*/ 205 w 214"/>
                <a:gd name="T35" fmla="*/ 123 h 165"/>
                <a:gd name="T36" fmla="*/ 210 w 214"/>
                <a:gd name="T37" fmla="*/ 120 h 165"/>
                <a:gd name="T38" fmla="*/ 213 w 214"/>
                <a:gd name="T39" fmla="*/ 124 h 165"/>
                <a:gd name="T40" fmla="*/ 0 w 214"/>
                <a:gd name="T41" fmla="*/ 4 h 165"/>
                <a:gd name="T42" fmla="*/ 0 w 214"/>
                <a:gd name="T43" fmla="*/ 8 h 165"/>
                <a:gd name="T44" fmla="*/ 214 w 214"/>
                <a:gd name="T45" fmla="*/ 8 h 165"/>
                <a:gd name="T46" fmla="*/ 214 w 214"/>
                <a:gd name="T47" fmla="*/ 4 h 165"/>
                <a:gd name="T48" fmla="*/ 209 w 214"/>
                <a:gd name="T49" fmla="*/ 0 h 165"/>
                <a:gd name="T50" fmla="*/ 5 w 214"/>
                <a:gd name="T51" fmla="*/ 0 h 165"/>
                <a:gd name="T52" fmla="*/ 0 w 214"/>
                <a:gd name="T53" fmla="*/ 4 h 16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14"/>
                <a:gd name="T82" fmla="*/ 0 h 165"/>
                <a:gd name="T83" fmla="*/ 214 w 214"/>
                <a:gd name="T84" fmla="*/ 165 h 16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14" h="165">
                  <a:moveTo>
                    <a:pt x="1" y="124"/>
                  </a:moveTo>
                  <a:cubicBezTo>
                    <a:pt x="1" y="161"/>
                    <a:pt x="1" y="161"/>
                    <a:pt x="1" y="161"/>
                  </a:cubicBezTo>
                  <a:cubicBezTo>
                    <a:pt x="1" y="163"/>
                    <a:pt x="3" y="165"/>
                    <a:pt x="5" y="165"/>
                  </a:cubicBezTo>
                  <a:cubicBezTo>
                    <a:pt x="47" y="165"/>
                    <a:pt x="47" y="165"/>
                    <a:pt x="47" y="165"/>
                  </a:cubicBezTo>
                  <a:cubicBezTo>
                    <a:pt x="52" y="165"/>
                    <a:pt x="52" y="156"/>
                    <a:pt x="47" y="156"/>
                  </a:cubicBezTo>
                  <a:cubicBezTo>
                    <a:pt x="23" y="151"/>
                    <a:pt x="23" y="151"/>
                    <a:pt x="23" y="151"/>
                  </a:cubicBezTo>
                  <a:cubicBezTo>
                    <a:pt x="17" y="150"/>
                    <a:pt x="16" y="149"/>
                    <a:pt x="15" y="143"/>
                  </a:cubicBezTo>
                  <a:cubicBezTo>
                    <a:pt x="9" y="123"/>
                    <a:pt x="9" y="123"/>
                    <a:pt x="9" y="123"/>
                  </a:cubicBezTo>
                  <a:cubicBezTo>
                    <a:pt x="9" y="121"/>
                    <a:pt x="7" y="120"/>
                    <a:pt x="5" y="120"/>
                  </a:cubicBezTo>
                  <a:cubicBezTo>
                    <a:pt x="3" y="121"/>
                    <a:pt x="1" y="122"/>
                    <a:pt x="1" y="124"/>
                  </a:cubicBezTo>
                  <a:close/>
                  <a:moveTo>
                    <a:pt x="213" y="124"/>
                  </a:moveTo>
                  <a:cubicBezTo>
                    <a:pt x="213" y="161"/>
                    <a:pt x="213" y="161"/>
                    <a:pt x="213" y="161"/>
                  </a:cubicBezTo>
                  <a:cubicBezTo>
                    <a:pt x="213" y="163"/>
                    <a:pt x="211" y="165"/>
                    <a:pt x="209" y="165"/>
                  </a:cubicBezTo>
                  <a:cubicBezTo>
                    <a:pt x="168" y="165"/>
                    <a:pt x="168" y="165"/>
                    <a:pt x="168" y="165"/>
                  </a:cubicBezTo>
                  <a:cubicBezTo>
                    <a:pt x="162" y="165"/>
                    <a:pt x="162" y="156"/>
                    <a:pt x="168" y="156"/>
                  </a:cubicBezTo>
                  <a:cubicBezTo>
                    <a:pt x="191" y="151"/>
                    <a:pt x="191" y="151"/>
                    <a:pt x="191" y="151"/>
                  </a:cubicBezTo>
                  <a:cubicBezTo>
                    <a:pt x="197" y="150"/>
                    <a:pt x="198" y="149"/>
                    <a:pt x="200" y="143"/>
                  </a:cubicBezTo>
                  <a:cubicBezTo>
                    <a:pt x="205" y="123"/>
                    <a:pt x="205" y="123"/>
                    <a:pt x="205" y="123"/>
                  </a:cubicBezTo>
                  <a:cubicBezTo>
                    <a:pt x="206" y="121"/>
                    <a:pt x="208" y="120"/>
                    <a:pt x="210" y="120"/>
                  </a:cubicBezTo>
                  <a:cubicBezTo>
                    <a:pt x="212" y="121"/>
                    <a:pt x="213" y="122"/>
                    <a:pt x="213" y="124"/>
                  </a:cubicBezTo>
                  <a:close/>
                  <a:moveTo>
                    <a:pt x="0" y="4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214" y="8"/>
                    <a:pt x="214" y="8"/>
                    <a:pt x="214" y="8"/>
                  </a:cubicBezTo>
                  <a:cubicBezTo>
                    <a:pt x="214" y="4"/>
                    <a:pt x="214" y="4"/>
                    <a:pt x="214" y="4"/>
                  </a:cubicBezTo>
                  <a:cubicBezTo>
                    <a:pt x="214" y="2"/>
                    <a:pt x="212" y="0"/>
                    <a:pt x="20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81926" name="Freeform 12"/>
          <p:cNvSpPr>
            <a:spLocks noEditPoints="1"/>
          </p:cNvSpPr>
          <p:nvPr/>
        </p:nvSpPr>
        <p:spPr bwMode="auto">
          <a:xfrm flipH="1">
            <a:off x="4697413" y="2073275"/>
            <a:ext cx="461962" cy="461963"/>
          </a:xfrm>
          <a:custGeom>
            <a:avLst/>
            <a:gdLst>
              <a:gd name="T0" fmla="*/ 64 w 99"/>
              <a:gd name="T1" fmla="*/ 99 h 99"/>
              <a:gd name="T2" fmla="*/ 80 w 99"/>
              <a:gd name="T3" fmla="*/ 80 h 99"/>
              <a:gd name="T4" fmla="*/ 99 w 99"/>
              <a:gd name="T5" fmla="*/ 64 h 99"/>
              <a:gd name="T6" fmla="*/ 94 w 99"/>
              <a:gd name="T7" fmla="*/ 61 h 99"/>
              <a:gd name="T8" fmla="*/ 76 w 99"/>
              <a:gd name="T9" fmla="*/ 64 h 99"/>
              <a:gd name="T10" fmla="*/ 75 w 99"/>
              <a:gd name="T11" fmla="*/ 64 h 99"/>
              <a:gd name="T12" fmla="*/ 61 w 99"/>
              <a:gd name="T13" fmla="*/ 47 h 99"/>
              <a:gd name="T14" fmla="*/ 54 w 99"/>
              <a:gd name="T15" fmla="*/ 37 h 99"/>
              <a:gd name="T16" fmla="*/ 54 w 99"/>
              <a:gd name="T17" fmla="*/ 36 h 99"/>
              <a:gd name="T18" fmla="*/ 90 w 99"/>
              <a:gd name="T19" fmla="*/ 11 h 99"/>
              <a:gd name="T20" fmla="*/ 92 w 99"/>
              <a:gd name="T21" fmla="*/ 11 h 99"/>
              <a:gd name="T22" fmla="*/ 93 w 99"/>
              <a:gd name="T23" fmla="*/ 7 h 99"/>
              <a:gd name="T24" fmla="*/ 92 w 99"/>
              <a:gd name="T25" fmla="*/ 5 h 99"/>
              <a:gd name="T26" fmla="*/ 85 w 99"/>
              <a:gd name="T27" fmla="*/ 3 h 99"/>
              <a:gd name="T28" fmla="*/ 85 w 99"/>
              <a:gd name="T29" fmla="*/ 3 h 99"/>
              <a:gd name="T30" fmla="*/ 33 w 99"/>
              <a:gd name="T31" fmla="*/ 19 h 99"/>
              <a:gd name="T32" fmla="*/ 5 w 99"/>
              <a:gd name="T33" fmla="*/ 0 h 99"/>
              <a:gd name="T34" fmla="*/ 0 w 99"/>
              <a:gd name="T35" fmla="*/ 5 h 99"/>
              <a:gd name="T36" fmla="*/ 20 w 99"/>
              <a:gd name="T37" fmla="*/ 33 h 99"/>
              <a:gd name="T38" fmla="*/ 3 w 99"/>
              <a:gd name="T39" fmla="*/ 85 h 99"/>
              <a:gd name="T40" fmla="*/ 3 w 99"/>
              <a:gd name="T41" fmla="*/ 85 h 99"/>
              <a:gd name="T42" fmla="*/ 5 w 99"/>
              <a:gd name="T43" fmla="*/ 92 h 99"/>
              <a:gd name="T44" fmla="*/ 11 w 99"/>
              <a:gd name="T45" fmla="*/ 91 h 99"/>
              <a:gd name="T46" fmla="*/ 11 w 99"/>
              <a:gd name="T47" fmla="*/ 91 h 99"/>
              <a:gd name="T48" fmla="*/ 37 w 99"/>
              <a:gd name="T49" fmla="*/ 54 h 99"/>
              <a:gd name="T50" fmla="*/ 38 w 99"/>
              <a:gd name="T51" fmla="*/ 54 h 99"/>
              <a:gd name="T52" fmla="*/ 47 w 99"/>
              <a:gd name="T53" fmla="*/ 60 h 99"/>
              <a:gd name="T54" fmla="*/ 65 w 99"/>
              <a:gd name="T55" fmla="*/ 75 h 99"/>
              <a:gd name="T56" fmla="*/ 64 w 99"/>
              <a:gd name="T57" fmla="*/ 76 h 99"/>
              <a:gd name="T58" fmla="*/ 61 w 99"/>
              <a:gd name="T59" fmla="*/ 93 h 99"/>
              <a:gd name="T60" fmla="*/ 62 w 99"/>
              <a:gd name="T61" fmla="*/ 94 h 99"/>
              <a:gd name="T62" fmla="*/ 64 w 99"/>
              <a:gd name="T63" fmla="*/ 99 h 99"/>
              <a:gd name="T64" fmla="*/ 9 w 99"/>
              <a:gd name="T65" fmla="*/ 8 h 99"/>
              <a:gd name="T66" fmla="*/ 7 w 99"/>
              <a:gd name="T67" fmla="*/ 13 h 99"/>
              <a:gd name="T68" fmla="*/ 5 w 99"/>
              <a:gd name="T69" fmla="*/ 5 h 99"/>
              <a:gd name="T70" fmla="*/ 14 w 99"/>
              <a:gd name="T71" fmla="*/ 7 h 99"/>
              <a:gd name="T72" fmla="*/ 9 w 99"/>
              <a:gd name="T73" fmla="*/ 8 h 9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99"/>
              <a:gd name="T112" fmla="*/ 0 h 99"/>
              <a:gd name="T113" fmla="*/ 99 w 99"/>
              <a:gd name="T114" fmla="*/ 99 h 99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99" h="99">
                <a:moveTo>
                  <a:pt x="64" y="99"/>
                </a:moveTo>
                <a:cubicBezTo>
                  <a:pt x="66" y="95"/>
                  <a:pt x="72" y="88"/>
                  <a:pt x="80" y="80"/>
                </a:cubicBezTo>
                <a:cubicBezTo>
                  <a:pt x="88" y="72"/>
                  <a:pt x="96" y="65"/>
                  <a:pt x="99" y="64"/>
                </a:cubicBezTo>
                <a:cubicBezTo>
                  <a:pt x="99" y="62"/>
                  <a:pt x="97" y="61"/>
                  <a:pt x="94" y="61"/>
                </a:cubicBezTo>
                <a:cubicBezTo>
                  <a:pt x="91" y="61"/>
                  <a:pt x="83" y="63"/>
                  <a:pt x="76" y="64"/>
                </a:cubicBezTo>
                <a:cubicBezTo>
                  <a:pt x="76" y="64"/>
                  <a:pt x="76" y="64"/>
                  <a:pt x="75" y="64"/>
                </a:cubicBezTo>
                <a:cubicBezTo>
                  <a:pt x="73" y="61"/>
                  <a:pt x="64" y="50"/>
                  <a:pt x="61" y="47"/>
                </a:cubicBezTo>
                <a:cubicBezTo>
                  <a:pt x="60" y="44"/>
                  <a:pt x="56" y="40"/>
                  <a:pt x="54" y="37"/>
                </a:cubicBezTo>
                <a:cubicBezTo>
                  <a:pt x="54" y="37"/>
                  <a:pt x="54" y="36"/>
                  <a:pt x="54" y="36"/>
                </a:cubicBezTo>
                <a:cubicBezTo>
                  <a:pt x="59" y="29"/>
                  <a:pt x="86" y="13"/>
                  <a:pt x="90" y="11"/>
                </a:cubicBezTo>
                <a:cubicBezTo>
                  <a:pt x="90" y="11"/>
                  <a:pt x="92" y="11"/>
                  <a:pt x="92" y="11"/>
                </a:cubicBezTo>
                <a:cubicBezTo>
                  <a:pt x="93" y="10"/>
                  <a:pt x="93" y="8"/>
                  <a:pt x="93" y="7"/>
                </a:cubicBezTo>
                <a:cubicBezTo>
                  <a:pt x="93" y="6"/>
                  <a:pt x="93" y="6"/>
                  <a:pt x="92" y="5"/>
                </a:cubicBezTo>
                <a:cubicBezTo>
                  <a:pt x="91" y="3"/>
                  <a:pt x="89" y="2"/>
                  <a:pt x="85" y="3"/>
                </a:cubicBezTo>
                <a:cubicBezTo>
                  <a:pt x="85" y="3"/>
                  <a:pt x="85" y="3"/>
                  <a:pt x="85" y="3"/>
                </a:cubicBezTo>
                <a:cubicBezTo>
                  <a:pt x="33" y="19"/>
                  <a:pt x="33" y="19"/>
                  <a:pt x="33" y="19"/>
                </a:cubicBezTo>
                <a:cubicBezTo>
                  <a:pt x="26" y="12"/>
                  <a:pt x="13" y="0"/>
                  <a:pt x="5" y="0"/>
                </a:cubicBezTo>
                <a:cubicBezTo>
                  <a:pt x="3" y="0"/>
                  <a:pt x="0" y="3"/>
                  <a:pt x="0" y="5"/>
                </a:cubicBezTo>
                <a:cubicBezTo>
                  <a:pt x="0" y="12"/>
                  <a:pt x="12" y="25"/>
                  <a:pt x="20" y="33"/>
                </a:cubicBezTo>
                <a:cubicBezTo>
                  <a:pt x="3" y="85"/>
                  <a:pt x="3" y="85"/>
                  <a:pt x="3" y="85"/>
                </a:cubicBezTo>
                <a:cubicBezTo>
                  <a:pt x="3" y="85"/>
                  <a:pt x="3" y="85"/>
                  <a:pt x="3" y="85"/>
                </a:cubicBezTo>
                <a:cubicBezTo>
                  <a:pt x="2" y="88"/>
                  <a:pt x="3" y="91"/>
                  <a:pt x="5" y="92"/>
                </a:cubicBezTo>
                <a:cubicBezTo>
                  <a:pt x="7" y="93"/>
                  <a:pt x="9" y="93"/>
                  <a:pt x="11" y="91"/>
                </a:cubicBezTo>
                <a:cubicBezTo>
                  <a:pt x="11" y="91"/>
                  <a:pt x="11" y="91"/>
                  <a:pt x="11" y="91"/>
                </a:cubicBezTo>
                <a:cubicBezTo>
                  <a:pt x="13" y="85"/>
                  <a:pt x="29" y="58"/>
                  <a:pt x="37" y="54"/>
                </a:cubicBezTo>
                <a:cubicBezTo>
                  <a:pt x="37" y="54"/>
                  <a:pt x="37" y="54"/>
                  <a:pt x="38" y="54"/>
                </a:cubicBezTo>
                <a:cubicBezTo>
                  <a:pt x="40" y="56"/>
                  <a:pt x="44" y="59"/>
                  <a:pt x="47" y="60"/>
                </a:cubicBezTo>
                <a:cubicBezTo>
                  <a:pt x="50" y="63"/>
                  <a:pt x="61" y="72"/>
                  <a:pt x="65" y="75"/>
                </a:cubicBezTo>
                <a:cubicBezTo>
                  <a:pt x="65" y="75"/>
                  <a:pt x="64" y="76"/>
                  <a:pt x="64" y="76"/>
                </a:cubicBezTo>
                <a:cubicBezTo>
                  <a:pt x="63" y="83"/>
                  <a:pt x="61" y="89"/>
                  <a:pt x="61" y="93"/>
                </a:cubicBezTo>
                <a:cubicBezTo>
                  <a:pt x="61" y="93"/>
                  <a:pt x="61" y="94"/>
                  <a:pt x="62" y="94"/>
                </a:cubicBezTo>
                <a:cubicBezTo>
                  <a:pt x="62" y="97"/>
                  <a:pt x="62" y="98"/>
                  <a:pt x="64" y="99"/>
                </a:cubicBezTo>
                <a:close/>
                <a:moveTo>
                  <a:pt x="9" y="8"/>
                </a:moveTo>
                <a:cubicBezTo>
                  <a:pt x="7" y="10"/>
                  <a:pt x="7" y="12"/>
                  <a:pt x="7" y="13"/>
                </a:cubicBezTo>
                <a:cubicBezTo>
                  <a:pt x="4" y="11"/>
                  <a:pt x="4" y="7"/>
                  <a:pt x="5" y="5"/>
                </a:cubicBezTo>
                <a:cubicBezTo>
                  <a:pt x="7" y="3"/>
                  <a:pt x="11" y="4"/>
                  <a:pt x="14" y="7"/>
                </a:cubicBezTo>
                <a:cubicBezTo>
                  <a:pt x="12" y="7"/>
                  <a:pt x="10" y="7"/>
                  <a:pt x="9" y="8"/>
                </a:cubicBez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>
            <a:noAutofit/>
          </a:bodyPr>
          <a:lstStyle/>
          <a:p>
            <a:endParaRPr lang="hu-HU"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1927" name="Group 6"/>
          <p:cNvGrpSpPr>
            <a:grpSpLocks noChangeAspect="1"/>
          </p:cNvGrpSpPr>
          <p:nvPr/>
        </p:nvGrpSpPr>
        <p:grpSpPr bwMode="auto">
          <a:xfrm>
            <a:off x="4808538" y="4568825"/>
            <a:ext cx="425450" cy="419100"/>
            <a:chOff x="2589" y="1873"/>
            <a:chExt cx="581" cy="574"/>
          </a:xfrm>
        </p:grpSpPr>
        <p:sp>
          <p:nvSpPr>
            <p:cNvPr id="81943" name="AutoShape 5"/>
            <p:cNvSpPr>
              <a:spLocks noChangeAspect="1" noChangeArrowheads="1" noTextEdit="1"/>
            </p:cNvSpPr>
            <p:nvPr/>
          </p:nvSpPr>
          <p:spPr bwMode="auto">
            <a:xfrm>
              <a:off x="2589" y="1873"/>
              <a:ext cx="581" cy="5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1944" name="Freeform 7"/>
            <p:cNvSpPr>
              <a:spLocks/>
            </p:cNvSpPr>
            <p:nvPr/>
          </p:nvSpPr>
          <p:spPr bwMode="auto">
            <a:xfrm>
              <a:off x="2587" y="1871"/>
              <a:ext cx="585" cy="576"/>
            </a:xfrm>
            <a:custGeom>
              <a:avLst/>
              <a:gdLst>
                <a:gd name="T0" fmla="*/ 24 w 248"/>
                <a:gd name="T1" fmla="*/ 209 h 244"/>
                <a:gd name="T2" fmla="*/ 24 w 248"/>
                <a:gd name="T3" fmla="*/ 209 h 244"/>
                <a:gd name="T4" fmla="*/ 24 w 248"/>
                <a:gd name="T5" fmla="*/ 140 h 244"/>
                <a:gd name="T6" fmla="*/ 19 w 248"/>
                <a:gd name="T7" fmla="*/ 134 h 244"/>
                <a:gd name="T8" fmla="*/ 6 w 248"/>
                <a:gd name="T9" fmla="*/ 134 h 244"/>
                <a:gd name="T10" fmla="*/ 1 w 248"/>
                <a:gd name="T11" fmla="*/ 131 h 244"/>
                <a:gd name="T12" fmla="*/ 2 w 248"/>
                <a:gd name="T13" fmla="*/ 124 h 244"/>
                <a:gd name="T14" fmla="*/ 120 w 248"/>
                <a:gd name="T15" fmla="*/ 2 h 244"/>
                <a:gd name="T16" fmla="*/ 128 w 248"/>
                <a:gd name="T17" fmla="*/ 2 h 244"/>
                <a:gd name="T18" fmla="*/ 246 w 248"/>
                <a:gd name="T19" fmla="*/ 124 h 244"/>
                <a:gd name="T20" fmla="*/ 248 w 248"/>
                <a:gd name="T21" fmla="*/ 131 h 244"/>
                <a:gd name="T22" fmla="*/ 242 w 248"/>
                <a:gd name="T23" fmla="*/ 134 h 244"/>
                <a:gd name="T24" fmla="*/ 230 w 248"/>
                <a:gd name="T25" fmla="*/ 134 h 244"/>
                <a:gd name="T26" fmla="*/ 224 w 248"/>
                <a:gd name="T27" fmla="*/ 140 h 244"/>
                <a:gd name="T28" fmla="*/ 224 w 248"/>
                <a:gd name="T29" fmla="*/ 209 h 244"/>
                <a:gd name="T30" fmla="*/ 225 w 248"/>
                <a:gd name="T31" fmla="*/ 209 h 244"/>
                <a:gd name="T32" fmla="*/ 236 w 248"/>
                <a:gd name="T33" fmla="*/ 222 h 244"/>
                <a:gd name="T34" fmla="*/ 236 w 248"/>
                <a:gd name="T35" fmla="*/ 244 h 244"/>
                <a:gd name="T36" fmla="*/ 12 w 248"/>
                <a:gd name="T37" fmla="*/ 244 h 244"/>
                <a:gd name="T38" fmla="*/ 12 w 248"/>
                <a:gd name="T39" fmla="*/ 222 h 244"/>
                <a:gd name="T40" fmla="*/ 24 w 248"/>
                <a:gd name="T41" fmla="*/ 209 h 24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48"/>
                <a:gd name="T64" fmla="*/ 0 h 244"/>
                <a:gd name="T65" fmla="*/ 248 w 248"/>
                <a:gd name="T66" fmla="*/ 244 h 24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48" h="244">
                  <a:moveTo>
                    <a:pt x="24" y="209"/>
                  </a:moveTo>
                  <a:cubicBezTo>
                    <a:pt x="24" y="209"/>
                    <a:pt x="24" y="209"/>
                    <a:pt x="24" y="209"/>
                  </a:cubicBezTo>
                  <a:cubicBezTo>
                    <a:pt x="24" y="140"/>
                    <a:pt x="24" y="140"/>
                    <a:pt x="24" y="140"/>
                  </a:cubicBezTo>
                  <a:cubicBezTo>
                    <a:pt x="24" y="137"/>
                    <a:pt x="22" y="134"/>
                    <a:pt x="19" y="134"/>
                  </a:cubicBezTo>
                  <a:cubicBezTo>
                    <a:pt x="6" y="134"/>
                    <a:pt x="6" y="134"/>
                    <a:pt x="6" y="134"/>
                  </a:cubicBezTo>
                  <a:cubicBezTo>
                    <a:pt x="4" y="134"/>
                    <a:pt x="2" y="133"/>
                    <a:pt x="1" y="131"/>
                  </a:cubicBezTo>
                  <a:cubicBezTo>
                    <a:pt x="0" y="129"/>
                    <a:pt x="0" y="126"/>
                    <a:pt x="2" y="124"/>
                  </a:cubicBezTo>
                  <a:cubicBezTo>
                    <a:pt x="120" y="2"/>
                    <a:pt x="120" y="2"/>
                    <a:pt x="120" y="2"/>
                  </a:cubicBezTo>
                  <a:cubicBezTo>
                    <a:pt x="122" y="0"/>
                    <a:pt x="126" y="0"/>
                    <a:pt x="128" y="2"/>
                  </a:cubicBezTo>
                  <a:cubicBezTo>
                    <a:pt x="246" y="124"/>
                    <a:pt x="246" y="124"/>
                    <a:pt x="246" y="124"/>
                  </a:cubicBezTo>
                  <a:cubicBezTo>
                    <a:pt x="248" y="126"/>
                    <a:pt x="248" y="129"/>
                    <a:pt x="248" y="131"/>
                  </a:cubicBezTo>
                  <a:cubicBezTo>
                    <a:pt x="247" y="133"/>
                    <a:pt x="245" y="134"/>
                    <a:pt x="242" y="134"/>
                  </a:cubicBezTo>
                  <a:cubicBezTo>
                    <a:pt x="230" y="134"/>
                    <a:pt x="230" y="134"/>
                    <a:pt x="230" y="134"/>
                  </a:cubicBezTo>
                  <a:cubicBezTo>
                    <a:pt x="226" y="134"/>
                    <a:pt x="224" y="137"/>
                    <a:pt x="224" y="140"/>
                  </a:cubicBezTo>
                  <a:cubicBezTo>
                    <a:pt x="224" y="209"/>
                    <a:pt x="224" y="209"/>
                    <a:pt x="224" y="209"/>
                  </a:cubicBezTo>
                  <a:cubicBezTo>
                    <a:pt x="225" y="209"/>
                    <a:pt x="225" y="209"/>
                    <a:pt x="225" y="209"/>
                  </a:cubicBezTo>
                  <a:cubicBezTo>
                    <a:pt x="231" y="209"/>
                    <a:pt x="236" y="215"/>
                    <a:pt x="236" y="222"/>
                  </a:cubicBezTo>
                  <a:cubicBezTo>
                    <a:pt x="236" y="244"/>
                    <a:pt x="236" y="244"/>
                    <a:pt x="236" y="244"/>
                  </a:cubicBezTo>
                  <a:cubicBezTo>
                    <a:pt x="12" y="244"/>
                    <a:pt x="12" y="244"/>
                    <a:pt x="12" y="244"/>
                  </a:cubicBezTo>
                  <a:cubicBezTo>
                    <a:pt x="12" y="222"/>
                    <a:pt x="12" y="222"/>
                    <a:pt x="12" y="222"/>
                  </a:cubicBezTo>
                  <a:cubicBezTo>
                    <a:pt x="12" y="215"/>
                    <a:pt x="17" y="209"/>
                    <a:pt x="24" y="209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1945" name="Freeform 8"/>
            <p:cNvSpPr>
              <a:spLocks noEditPoints="1"/>
            </p:cNvSpPr>
            <p:nvPr/>
          </p:nvSpPr>
          <p:spPr bwMode="auto">
            <a:xfrm>
              <a:off x="2811" y="2194"/>
              <a:ext cx="139" cy="163"/>
            </a:xfrm>
            <a:custGeom>
              <a:avLst/>
              <a:gdLst>
                <a:gd name="T0" fmla="*/ 0 w 139"/>
                <a:gd name="T1" fmla="*/ 0 h 163"/>
                <a:gd name="T2" fmla="*/ 59 w 139"/>
                <a:gd name="T3" fmla="*/ 0 h 163"/>
                <a:gd name="T4" fmla="*/ 59 w 139"/>
                <a:gd name="T5" fmla="*/ 163 h 163"/>
                <a:gd name="T6" fmla="*/ 0 w 139"/>
                <a:gd name="T7" fmla="*/ 163 h 163"/>
                <a:gd name="T8" fmla="*/ 0 w 139"/>
                <a:gd name="T9" fmla="*/ 0 h 163"/>
                <a:gd name="T10" fmla="*/ 0 w 139"/>
                <a:gd name="T11" fmla="*/ 0 h 163"/>
                <a:gd name="T12" fmla="*/ 78 w 139"/>
                <a:gd name="T13" fmla="*/ 0 h 163"/>
                <a:gd name="T14" fmla="*/ 139 w 139"/>
                <a:gd name="T15" fmla="*/ 0 h 163"/>
                <a:gd name="T16" fmla="*/ 139 w 139"/>
                <a:gd name="T17" fmla="*/ 163 h 163"/>
                <a:gd name="T18" fmla="*/ 78 w 139"/>
                <a:gd name="T19" fmla="*/ 163 h 163"/>
                <a:gd name="T20" fmla="*/ 78 w 139"/>
                <a:gd name="T21" fmla="*/ 0 h 16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9"/>
                <a:gd name="T34" fmla="*/ 0 h 163"/>
                <a:gd name="T35" fmla="*/ 139 w 139"/>
                <a:gd name="T36" fmla="*/ 163 h 16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9" h="163">
                  <a:moveTo>
                    <a:pt x="0" y="0"/>
                  </a:moveTo>
                  <a:lnTo>
                    <a:pt x="59" y="0"/>
                  </a:lnTo>
                  <a:lnTo>
                    <a:pt x="59" y="163"/>
                  </a:lnTo>
                  <a:lnTo>
                    <a:pt x="0" y="163"/>
                  </a:lnTo>
                  <a:lnTo>
                    <a:pt x="0" y="0"/>
                  </a:lnTo>
                  <a:close/>
                  <a:moveTo>
                    <a:pt x="78" y="0"/>
                  </a:moveTo>
                  <a:lnTo>
                    <a:pt x="139" y="0"/>
                  </a:lnTo>
                  <a:lnTo>
                    <a:pt x="139" y="163"/>
                  </a:lnTo>
                  <a:lnTo>
                    <a:pt x="78" y="163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1946" name="Freeform 9"/>
            <p:cNvSpPr>
              <a:spLocks/>
            </p:cNvSpPr>
            <p:nvPr/>
          </p:nvSpPr>
          <p:spPr bwMode="auto">
            <a:xfrm>
              <a:off x="2856" y="2027"/>
              <a:ext cx="47" cy="54"/>
            </a:xfrm>
            <a:custGeom>
              <a:avLst/>
              <a:gdLst>
                <a:gd name="T0" fmla="*/ 8 w 20"/>
                <a:gd name="T1" fmla="*/ 0 h 23"/>
                <a:gd name="T2" fmla="*/ 12 w 20"/>
                <a:gd name="T3" fmla="*/ 0 h 23"/>
                <a:gd name="T4" fmla="*/ 20 w 20"/>
                <a:gd name="T5" fmla="*/ 8 h 23"/>
                <a:gd name="T6" fmla="*/ 20 w 20"/>
                <a:gd name="T7" fmla="*/ 15 h 23"/>
                <a:gd name="T8" fmla="*/ 12 w 20"/>
                <a:gd name="T9" fmla="*/ 23 h 23"/>
                <a:gd name="T10" fmla="*/ 8 w 20"/>
                <a:gd name="T11" fmla="*/ 23 h 23"/>
                <a:gd name="T12" fmla="*/ 0 w 20"/>
                <a:gd name="T13" fmla="*/ 15 h 23"/>
                <a:gd name="T14" fmla="*/ 0 w 20"/>
                <a:gd name="T15" fmla="*/ 8 h 23"/>
                <a:gd name="T16" fmla="*/ 8 w 20"/>
                <a:gd name="T17" fmla="*/ 0 h 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23"/>
                <a:gd name="T29" fmla="*/ 20 w 20"/>
                <a:gd name="T30" fmla="*/ 23 h 2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23">
                  <a:moveTo>
                    <a:pt x="8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20" y="3"/>
                    <a:pt x="20" y="8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9"/>
                    <a:pt x="16" y="23"/>
                    <a:pt x="12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4" y="23"/>
                    <a:pt x="0" y="19"/>
                    <a:pt x="0" y="1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81928" name="TextBox 33"/>
          <p:cNvSpPr txBox="1">
            <a:spLocks noChangeArrowheads="1"/>
          </p:cNvSpPr>
          <p:nvPr/>
        </p:nvSpPr>
        <p:spPr bwMode="auto">
          <a:xfrm>
            <a:off x="5283182" y="4770469"/>
            <a:ext cx="1871980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noAutofit/>
          </a:bodyPr>
          <a:lstStyle/>
          <a:p>
            <a:pPr>
              <a:lnSpc>
                <a:spcPct val="85000"/>
              </a:lnSpc>
            </a:pPr>
            <a:r>
              <a:rPr lang="hu-HU" sz="11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Lakásokkal, </a:t>
            </a:r>
            <a:r>
              <a:rPr lang="hu-HU" sz="11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ingatlanokkal </a:t>
            </a:r>
            <a:br>
              <a:rPr lang="hu-HU" sz="11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</a:br>
            <a:r>
              <a:rPr lang="hu-HU" sz="1100" smtClean="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kapcsolatos </a:t>
            </a:r>
            <a:r>
              <a:rPr lang="hu-HU" sz="11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információk</a:t>
            </a:r>
          </a:p>
        </p:txBody>
      </p:sp>
      <p:sp>
        <p:nvSpPr>
          <p:cNvPr id="81929" name="TextBox 34"/>
          <p:cNvSpPr txBox="1">
            <a:spLocks noChangeArrowheads="1"/>
          </p:cNvSpPr>
          <p:nvPr/>
        </p:nvSpPr>
        <p:spPr bwMode="auto">
          <a:xfrm>
            <a:off x="5254625" y="3557588"/>
            <a:ext cx="896938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noAutofit/>
          </a:bodyPr>
          <a:lstStyle/>
          <a:p>
            <a:pPr>
              <a:lnSpc>
                <a:spcPct val="90000"/>
              </a:lnSpc>
            </a:pPr>
            <a:r>
              <a:rPr lang="hu-HU" sz="2800" b="1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rPr>
              <a:t>18%</a:t>
            </a:r>
          </a:p>
        </p:txBody>
      </p:sp>
      <p:sp>
        <p:nvSpPr>
          <p:cNvPr id="81930" name="TextBox 35"/>
          <p:cNvSpPr txBox="1">
            <a:spLocks noChangeArrowheads="1"/>
          </p:cNvSpPr>
          <p:nvPr/>
        </p:nvSpPr>
        <p:spPr bwMode="auto">
          <a:xfrm>
            <a:off x="5290802" y="3944298"/>
            <a:ext cx="1363663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noAutofit/>
          </a:bodyPr>
          <a:lstStyle/>
          <a:p>
            <a:pPr>
              <a:lnSpc>
                <a:spcPct val="85000"/>
              </a:lnSpc>
            </a:pPr>
            <a:r>
              <a:rPr lang="hu-HU" sz="11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Állásajánlatok</a:t>
            </a:r>
          </a:p>
        </p:txBody>
      </p:sp>
      <p:sp>
        <p:nvSpPr>
          <p:cNvPr id="81931" name="TextBox 36"/>
          <p:cNvSpPr txBox="1">
            <a:spLocks noChangeArrowheads="1"/>
          </p:cNvSpPr>
          <p:nvPr/>
        </p:nvSpPr>
        <p:spPr bwMode="auto">
          <a:xfrm>
            <a:off x="5254625" y="4389129"/>
            <a:ext cx="896938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noAutofit/>
          </a:bodyPr>
          <a:lstStyle/>
          <a:p>
            <a:pPr>
              <a:lnSpc>
                <a:spcPct val="90000"/>
              </a:lnSpc>
            </a:pPr>
            <a:r>
              <a:rPr lang="hu-HU" sz="2800" b="1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rPr>
              <a:t>11%</a:t>
            </a:r>
          </a:p>
        </p:txBody>
      </p:sp>
      <p:sp>
        <p:nvSpPr>
          <p:cNvPr id="81932" name="TextBox 37"/>
          <p:cNvSpPr txBox="1">
            <a:spLocks noChangeArrowheads="1"/>
          </p:cNvSpPr>
          <p:nvPr/>
        </p:nvSpPr>
        <p:spPr bwMode="auto">
          <a:xfrm>
            <a:off x="2262278" y="4375150"/>
            <a:ext cx="21272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noAutofit/>
          </a:bodyPr>
          <a:lstStyle/>
          <a:p>
            <a:pPr algn="ctr">
              <a:lnSpc>
                <a:spcPct val="90000"/>
              </a:lnSpc>
            </a:pPr>
            <a:r>
              <a:rPr lang="hu-HU" sz="1800">
                <a:ea typeface="Arial Unicode MS" pitchFamily="34" charset="-128"/>
                <a:cs typeface="Arial Unicode MS" pitchFamily="34" charset="-128"/>
              </a:rPr>
              <a:t>Termékinformációk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727325" y="3894138"/>
            <a:ext cx="1201738" cy="641350"/>
          </a:xfrm>
          <a:prstGeom prst="rect">
            <a:avLst/>
          </a:prstGeom>
          <a:noFill/>
        </p:spPr>
        <p:txBody>
          <a:bodyPr wrap="none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hu-HU" sz="4000" b="1" smtClean="0">
                <a:solidFill>
                  <a:schemeClr val="accent4">
                    <a:lumMod val="75000"/>
                  </a:schemeClr>
                </a:solidFill>
                <a:ea typeface="Arial Unicode MS" pitchFamily="34" charset="-128"/>
                <a:cs typeface="Arial Unicode MS" pitchFamily="34" charset="-128"/>
              </a:rPr>
              <a:t>33%</a:t>
            </a:r>
            <a:endParaRPr lang="hu-HU" sz="4000" b="1">
              <a:solidFill>
                <a:schemeClr val="accent4">
                  <a:lumMod val="75000"/>
                </a:schemeClr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1934" name="TextBox 40"/>
          <p:cNvSpPr txBox="1">
            <a:spLocks noChangeArrowheads="1"/>
          </p:cNvSpPr>
          <p:nvPr/>
        </p:nvSpPr>
        <p:spPr bwMode="auto">
          <a:xfrm>
            <a:off x="5283182" y="2362200"/>
            <a:ext cx="777875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noAutofit/>
          </a:bodyPr>
          <a:lstStyle/>
          <a:p>
            <a:pPr>
              <a:lnSpc>
                <a:spcPct val="90000"/>
              </a:lnSpc>
            </a:pPr>
            <a:r>
              <a:rPr lang="hu-HU" sz="1100">
                <a:solidFill>
                  <a:schemeClr val="bg2"/>
                </a:solidFill>
                <a:ea typeface="Arial Unicode MS" pitchFamily="34" charset="-128"/>
                <a:cs typeface="Arial Unicode MS" pitchFamily="34" charset="-128"/>
              </a:rPr>
              <a:t>Utazás</a:t>
            </a:r>
          </a:p>
        </p:txBody>
      </p:sp>
      <p:sp>
        <p:nvSpPr>
          <p:cNvPr id="81935" name="TextBox 41"/>
          <p:cNvSpPr txBox="1">
            <a:spLocks noChangeArrowheads="1"/>
          </p:cNvSpPr>
          <p:nvPr/>
        </p:nvSpPr>
        <p:spPr bwMode="auto">
          <a:xfrm>
            <a:off x="5254625" y="1985963"/>
            <a:ext cx="896938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noAutofit/>
          </a:bodyPr>
          <a:lstStyle/>
          <a:p>
            <a:pPr>
              <a:lnSpc>
                <a:spcPct val="90000"/>
              </a:lnSpc>
            </a:pPr>
            <a:r>
              <a:rPr lang="hu-HU" sz="2800" b="1">
                <a:solidFill>
                  <a:srgbClr val="C00000"/>
                </a:solidFill>
                <a:ea typeface="Arial Unicode MS" pitchFamily="34" charset="-128"/>
                <a:cs typeface="Arial Unicode MS" pitchFamily="34" charset="-128"/>
              </a:rPr>
              <a:t>22%</a:t>
            </a:r>
          </a:p>
        </p:txBody>
      </p:sp>
      <p:grpSp>
        <p:nvGrpSpPr>
          <p:cNvPr id="81936" name="Gruppieren 1"/>
          <p:cNvGrpSpPr>
            <a:grpSpLocks/>
          </p:cNvGrpSpPr>
          <p:nvPr/>
        </p:nvGrpSpPr>
        <p:grpSpPr bwMode="auto">
          <a:xfrm>
            <a:off x="4741863" y="2809875"/>
            <a:ext cx="3255645" cy="681986"/>
            <a:chOff x="6911806" y="432122"/>
            <a:chExt cx="3255187" cy="681906"/>
          </a:xfrm>
        </p:grpSpPr>
        <p:sp>
          <p:nvSpPr>
            <p:cNvPr id="81938" name="Freeform 7"/>
            <p:cNvSpPr>
              <a:spLocks/>
            </p:cNvSpPr>
            <p:nvPr/>
          </p:nvSpPr>
          <p:spPr bwMode="auto">
            <a:xfrm>
              <a:off x="7177538" y="452929"/>
              <a:ext cx="226839" cy="514928"/>
            </a:xfrm>
            <a:custGeom>
              <a:avLst/>
              <a:gdLst>
                <a:gd name="T0" fmla="*/ 78 w 412"/>
                <a:gd name="T1" fmla="*/ 391 h 936"/>
                <a:gd name="T2" fmla="*/ 147 w 412"/>
                <a:gd name="T3" fmla="*/ 496 h 936"/>
                <a:gd name="T4" fmla="*/ 156 w 412"/>
                <a:gd name="T5" fmla="*/ 511 h 936"/>
                <a:gd name="T6" fmla="*/ 185 w 412"/>
                <a:gd name="T7" fmla="*/ 623 h 936"/>
                <a:gd name="T8" fmla="*/ 173 w 412"/>
                <a:gd name="T9" fmla="*/ 936 h 936"/>
                <a:gd name="T10" fmla="*/ 239 w 412"/>
                <a:gd name="T11" fmla="*/ 936 h 936"/>
                <a:gd name="T12" fmla="*/ 227 w 412"/>
                <a:gd name="T13" fmla="*/ 623 h 936"/>
                <a:gd name="T14" fmla="*/ 257 w 412"/>
                <a:gd name="T15" fmla="*/ 511 h 936"/>
                <a:gd name="T16" fmla="*/ 266 w 412"/>
                <a:gd name="T17" fmla="*/ 496 h 936"/>
                <a:gd name="T18" fmla="*/ 334 w 412"/>
                <a:gd name="T19" fmla="*/ 391 h 936"/>
                <a:gd name="T20" fmla="*/ 223 w 412"/>
                <a:gd name="T21" fmla="*/ 4 h 936"/>
                <a:gd name="T22" fmla="*/ 207 w 412"/>
                <a:gd name="T23" fmla="*/ 0 h 936"/>
                <a:gd name="T24" fmla="*/ 207 w 412"/>
                <a:gd name="T25" fmla="*/ 0 h 936"/>
                <a:gd name="T26" fmla="*/ 206 w 412"/>
                <a:gd name="T27" fmla="*/ 0 h 936"/>
                <a:gd name="T28" fmla="*/ 206 w 412"/>
                <a:gd name="T29" fmla="*/ 0 h 936"/>
                <a:gd name="T30" fmla="*/ 206 w 412"/>
                <a:gd name="T31" fmla="*/ 0 h 936"/>
                <a:gd name="T32" fmla="*/ 189 w 412"/>
                <a:gd name="T33" fmla="*/ 4 h 936"/>
                <a:gd name="T34" fmla="*/ 78 w 412"/>
                <a:gd name="T35" fmla="*/ 391 h 9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12"/>
                <a:gd name="T55" fmla="*/ 0 h 936"/>
                <a:gd name="T56" fmla="*/ 412 w 412"/>
                <a:gd name="T57" fmla="*/ 936 h 9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12" h="936">
                  <a:moveTo>
                    <a:pt x="78" y="391"/>
                  </a:moveTo>
                  <a:cubicBezTo>
                    <a:pt x="96" y="443"/>
                    <a:pt x="124" y="467"/>
                    <a:pt x="147" y="496"/>
                  </a:cubicBezTo>
                  <a:cubicBezTo>
                    <a:pt x="149" y="500"/>
                    <a:pt x="152" y="505"/>
                    <a:pt x="156" y="511"/>
                  </a:cubicBezTo>
                  <a:cubicBezTo>
                    <a:pt x="170" y="545"/>
                    <a:pt x="179" y="583"/>
                    <a:pt x="185" y="623"/>
                  </a:cubicBezTo>
                  <a:cubicBezTo>
                    <a:pt x="194" y="713"/>
                    <a:pt x="185" y="824"/>
                    <a:pt x="173" y="936"/>
                  </a:cubicBezTo>
                  <a:cubicBezTo>
                    <a:pt x="239" y="936"/>
                    <a:pt x="239" y="936"/>
                    <a:pt x="239" y="936"/>
                  </a:cubicBezTo>
                  <a:cubicBezTo>
                    <a:pt x="227" y="824"/>
                    <a:pt x="218" y="713"/>
                    <a:pt x="227" y="623"/>
                  </a:cubicBezTo>
                  <a:cubicBezTo>
                    <a:pt x="233" y="583"/>
                    <a:pt x="242" y="545"/>
                    <a:pt x="257" y="511"/>
                  </a:cubicBezTo>
                  <a:cubicBezTo>
                    <a:pt x="260" y="505"/>
                    <a:pt x="263" y="500"/>
                    <a:pt x="266" y="496"/>
                  </a:cubicBezTo>
                  <a:cubicBezTo>
                    <a:pt x="288" y="467"/>
                    <a:pt x="316" y="443"/>
                    <a:pt x="334" y="391"/>
                  </a:cubicBezTo>
                  <a:cubicBezTo>
                    <a:pt x="412" y="170"/>
                    <a:pt x="284" y="30"/>
                    <a:pt x="223" y="4"/>
                  </a:cubicBezTo>
                  <a:cubicBezTo>
                    <a:pt x="217" y="2"/>
                    <a:pt x="212" y="0"/>
                    <a:pt x="207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200" y="0"/>
                    <a:pt x="195" y="2"/>
                    <a:pt x="189" y="4"/>
                  </a:cubicBezTo>
                  <a:cubicBezTo>
                    <a:pt x="128" y="30"/>
                    <a:pt x="0" y="170"/>
                    <a:pt x="78" y="391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1939" name="Freeform 8"/>
            <p:cNvSpPr>
              <a:spLocks/>
            </p:cNvSpPr>
            <p:nvPr/>
          </p:nvSpPr>
          <p:spPr bwMode="auto">
            <a:xfrm>
              <a:off x="7051077" y="446408"/>
              <a:ext cx="111091" cy="521449"/>
            </a:xfrm>
            <a:custGeom>
              <a:avLst/>
              <a:gdLst>
                <a:gd name="T0" fmla="*/ 104 w 202"/>
                <a:gd name="T1" fmla="*/ 774 h 948"/>
                <a:gd name="T2" fmla="*/ 107 w 202"/>
                <a:gd name="T3" fmla="*/ 948 h 948"/>
                <a:gd name="T4" fmla="*/ 164 w 202"/>
                <a:gd name="T5" fmla="*/ 948 h 948"/>
                <a:gd name="T6" fmla="*/ 172 w 202"/>
                <a:gd name="T7" fmla="*/ 768 h 948"/>
                <a:gd name="T8" fmla="*/ 172 w 202"/>
                <a:gd name="T9" fmla="*/ 756 h 948"/>
                <a:gd name="T10" fmla="*/ 202 w 202"/>
                <a:gd name="T11" fmla="*/ 32 h 948"/>
                <a:gd name="T12" fmla="*/ 140 w 202"/>
                <a:gd name="T13" fmla="*/ 25 h 948"/>
                <a:gd name="T14" fmla="*/ 78 w 202"/>
                <a:gd name="T15" fmla="*/ 764 h 948"/>
                <a:gd name="T16" fmla="*/ 104 w 202"/>
                <a:gd name="T17" fmla="*/ 774 h 9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2"/>
                <a:gd name="T28" fmla="*/ 0 h 948"/>
                <a:gd name="T29" fmla="*/ 202 w 202"/>
                <a:gd name="T30" fmla="*/ 948 h 9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2" h="948">
                  <a:moveTo>
                    <a:pt x="104" y="774"/>
                  </a:moveTo>
                  <a:cubicBezTo>
                    <a:pt x="116" y="821"/>
                    <a:pt x="114" y="882"/>
                    <a:pt x="107" y="948"/>
                  </a:cubicBezTo>
                  <a:cubicBezTo>
                    <a:pt x="164" y="948"/>
                    <a:pt x="164" y="948"/>
                    <a:pt x="164" y="948"/>
                  </a:cubicBezTo>
                  <a:cubicBezTo>
                    <a:pt x="162" y="884"/>
                    <a:pt x="163" y="823"/>
                    <a:pt x="172" y="768"/>
                  </a:cubicBezTo>
                  <a:cubicBezTo>
                    <a:pt x="172" y="756"/>
                    <a:pt x="172" y="756"/>
                    <a:pt x="172" y="756"/>
                  </a:cubicBezTo>
                  <a:cubicBezTo>
                    <a:pt x="202" y="32"/>
                    <a:pt x="202" y="32"/>
                    <a:pt x="202" y="32"/>
                  </a:cubicBezTo>
                  <a:cubicBezTo>
                    <a:pt x="194" y="16"/>
                    <a:pt x="169" y="0"/>
                    <a:pt x="140" y="25"/>
                  </a:cubicBezTo>
                  <a:cubicBezTo>
                    <a:pt x="0" y="187"/>
                    <a:pt x="44" y="505"/>
                    <a:pt x="78" y="764"/>
                  </a:cubicBezTo>
                  <a:cubicBezTo>
                    <a:pt x="79" y="770"/>
                    <a:pt x="103" y="768"/>
                    <a:pt x="104" y="774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1940" name="Freeform 9"/>
            <p:cNvSpPr>
              <a:spLocks/>
            </p:cNvSpPr>
            <p:nvPr/>
          </p:nvSpPr>
          <p:spPr bwMode="auto">
            <a:xfrm>
              <a:off x="6911806" y="448504"/>
              <a:ext cx="102473" cy="519353"/>
            </a:xfrm>
            <a:custGeom>
              <a:avLst/>
              <a:gdLst>
                <a:gd name="T0" fmla="*/ 135 w 186"/>
                <a:gd name="T1" fmla="*/ 322 h 944"/>
                <a:gd name="T2" fmla="*/ 119 w 186"/>
                <a:gd name="T3" fmla="*/ 9 h 944"/>
                <a:gd name="T4" fmla="*/ 104 w 186"/>
                <a:gd name="T5" fmla="*/ 313 h 944"/>
                <a:gd name="T6" fmla="*/ 94 w 186"/>
                <a:gd name="T7" fmla="*/ 330 h 944"/>
                <a:gd name="T8" fmla="*/ 84 w 186"/>
                <a:gd name="T9" fmla="*/ 311 h 944"/>
                <a:gd name="T10" fmla="*/ 72 w 186"/>
                <a:gd name="T11" fmla="*/ 9 h 944"/>
                <a:gd name="T12" fmla="*/ 55 w 186"/>
                <a:gd name="T13" fmla="*/ 315 h 944"/>
                <a:gd name="T14" fmla="*/ 44 w 186"/>
                <a:gd name="T15" fmla="*/ 330 h 944"/>
                <a:gd name="T16" fmla="*/ 34 w 186"/>
                <a:gd name="T17" fmla="*/ 312 h 944"/>
                <a:gd name="T18" fmla="*/ 34 w 186"/>
                <a:gd name="T19" fmla="*/ 163 h 944"/>
                <a:gd name="T20" fmla="*/ 26 w 186"/>
                <a:gd name="T21" fmla="*/ 11 h 944"/>
                <a:gd name="T22" fmla="*/ 0 w 186"/>
                <a:gd name="T23" fmla="*/ 380 h 944"/>
                <a:gd name="T24" fmla="*/ 0 w 186"/>
                <a:gd name="T25" fmla="*/ 399 h 944"/>
                <a:gd name="T26" fmla="*/ 45 w 186"/>
                <a:gd name="T27" fmla="*/ 521 h 944"/>
                <a:gd name="T28" fmla="*/ 60 w 186"/>
                <a:gd name="T29" fmla="*/ 944 h 944"/>
                <a:gd name="T30" fmla="*/ 121 w 186"/>
                <a:gd name="T31" fmla="*/ 944 h 944"/>
                <a:gd name="T32" fmla="*/ 144 w 186"/>
                <a:gd name="T33" fmla="*/ 519 h 944"/>
                <a:gd name="T34" fmla="*/ 186 w 186"/>
                <a:gd name="T35" fmla="*/ 385 h 944"/>
                <a:gd name="T36" fmla="*/ 186 w 186"/>
                <a:gd name="T37" fmla="*/ 328 h 944"/>
                <a:gd name="T38" fmla="*/ 162 w 186"/>
                <a:gd name="T39" fmla="*/ 11 h 944"/>
                <a:gd name="T40" fmla="*/ 155 w 186"/>
                <a:gd name="T41" fmla="*/ 318 h 944"/>
                <a:gd name="T42" fmla="*/ 144 w 186"/>
                <a:gd name="T43" fmla="*/ 331 h 944"/>
                <a:gd name="T44" fmla="*/ 136 w 186"/>
                <a:gd name="T45" fmla="*/ 327 h 944"/>
                <a:gd name="T46" fmla="*/ 135 w 186"/>
                <a:gd name="T47" fmla="*/ 322 h 94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86"/>
                <a:gd name="T73" fmla="*/ 0 h 944"/>
                <a:gd name="T74" fmla="*/ 186 w 186"/>
                <a:gd name="T75" fmla="*/ 944 h 94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86" h="944">
                  <a:moveTo>
                    <a:pt x="135" y="322"/>
                  </a:moveTo>
                  <a:cubicBezTo>
                    <a:pt x="130" y="216"/>
                    <a:pt x="134" y="8"/>
                    <a:pt x="119" y="9"/>
                  </a:cubicBezTo>
                  <a:cubicBezTo>
                    <a:pt x="106" y="11"/>
                    <a:pt x="109" y="211"/>
                    <a:pt x="104" y="313"/>
                  </a:cubicBezTo>
                  <a:cubicBezTo>
                    <a:pt x="104" y="320"/>
                    <a:pt x="102" y="330"/>
                    <a:pt x="94" y="330"/>
                  </a:cubicBezTo>
                  <a:cubicBezTo>
                    <a:pt x="84" y="330"/>
                    <a:pt x="84" y="320"/>
                    <a:pt x="84" y="311"/>
                  </a:cubicBezTo>
                  <a:cubicBezTo>
                    <a:pt x="80" y="211"/>
                    <a:pt x="86" y="0"/>
                    <a:pt x="72" y="9"/>
                  </a:cubicBezTo>
                  <a:cubicBezTo>
                    <a:pt x="61" y="3"/>
                    <a:pt x="60" y="213"/>
                    <a:pt x="55" y="315"/>
                  </a:cubicBezTo>
                  <a:cubicBezTo>
                    <a:pt x="55" y="319"/>
                    <a:pt x="51" y="330"/>
                    <a:pt x="44" y="330"/>
                  </a:cubicBezTo>
                  <a:cubicBezTo>
                    <a:pt x="36" y="330"/>
                    <a:pt x="34" y="320"/>
                    <a:pt x="34" y="312"/>
                  </a:cubicBezTo>
                  <a:cubicBezTo>
                    <a:pt x="34" y="163"/>
                    <a:pt x="34" y="163"/>
                    <a:pt x="34" y="163"/>
                  </a:cubicBezTo>
                  <a:cubicBezTo>
                    <a:pt x="34" y="143"/>
                    <a:pt x="38" y="11"/>
                    <a:pt x="26" y="11"/>
                  </a:cubicBezTo>
                  <a:cubicBezTo>
                    <a:pt x="7" y="13"/>
                    <a:pt x="3" y="354"/>
                    <a:pt x="0" y="380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7" y="460"/>
                    <a:pt x="27" y="485"/>
                    <a:pt x="45" y="521"/>
                  </a:cubicBezTo>
                  <a:cubicBezTo>
                    <a:pt x="89" y="618"/>
                    <a:pt x="77" y="780"/>
                    <a:pt x="60" y="944"/>
                  </a:cubicBezTo>
                  <a:cubicBezTo>
                    <a:pt x="121" y="944"/>
                    <a:pt x="121" y="944"/>
                    <a:pt x="121" y="944"/>
                  </a:cubicBezTo>
                  <a:cubicBezTo>
                    <a:pt x="103" y="789"/>
                    <a:pt x="94" y="636"/>
                    <a:pt x="144" y="519"/>
                  </a:cubicBezTo>
                  <a:cubicBezTo>
                    <a:pt x="172" y="467"/>
                    <a:pt x="186" y="469"/>
                    <a:pt x="186" y="385"/>
                  </a:cubicBezTo>
                  <a:cubicBezTo>
                    <a:pt x="186" y="328"/>
                    <a:pt x="186" y="328"/>
                    <a:pt x="186" y="328"/>
                  </a:cubicBezTo>
                  <a:cubicBezTo>
                    <a:pt x="186" y="310"/>
                    <a:pt x="176" y="11"/>
                    <a:pt x="162" y="11"/>
                  </a:cubicBezTo>
                  <a:cubicBezTo>
                    <a:pt x="149" y="11"/>
                    <a:pt x="157" y="304"/>
                    <a:pt x="155" y="318"/>
                  </a:cubicBezTo>
                  <a:cubicBezTo>
                    <a:pt x="155" y="326"/>
                    <a:pt x="149" y="331"/>
                    <a:pt x="144" y="331"/>
                  </a:cubicBezTo>
                  <a:cubicBezTo>
                    <a:pt x="139" y="331"/>
                    <a:pt x="138" y="330"/>
                    <a:pt x="136" y="327"/>
                  </a:cubicBezTo>
                  <a:lnTo>
                    <a:pt x="135" y="322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>
              <a:noAutofit/>
            </a:bodyPr>
            <a:lstStyle/>
            <a:p>
              <a:endParaRPr lang="hu-HU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1941" name="TextBox 39"/>
            <p:cNvSpPr txBox="1">
              <a:spLocks noChangeArrowheads="1"/>
            </p:cNvSpPr>
            <p:nvPr/>
          </p:nvSpPr>
          <p:spPr bwMode="auto">
            <a:xfrm>
              <a:off x="7443249" y="813946"/>
              <a:ext cx="2723744" cy="3000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>
                <a:lnSpc>
                  <a:spcPct val="85000"/>
                </a:lnSpc>
              </a:pPr>
              <a:r>
                <a:rPr lang="hu-HU" sz="1100">
                  <a:solidFill>
                    <a:schemeClr val="bg2"/>
                  </a:solidFill>
                  <a:ea typeface="Arial Unicode MS" pitchFamily="34" charset="-128"/>
                  <a:cs typeface="Arial Unicode MS" pitchFamily="34" charset="-128"/>
                </a:rPr>
                <a:t>Éttermek, pubok és bárok</a:t>
              </a:r>
            </a:p>
          </p:txBody>
        </p:sp>
        <p:sp>
          <p:nvSpPr>
            <p:cNvPr id="81942" name="TextBox 42"/>
            <p:cNvSpPr txBox="1">
              <a:spLocks noChangeArrowheads="1"/>
            </p:cNvSpPr>
            <p:nvPr/>
          </p:nvSpPr>
          <p:spPr bwMode="auto">
            <a:xfrm>
              <a:off x="7429893" y="432122"/>
              <a:ext cx="896811" cy="476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hu-HU" sz="2800" b="1">
                  <a:solidFill>
                    <a:schemeClr val="tx2"/>
                  </a:solidFill>
                  <a:ea typeface="Arial Unicode MS" pitchFamily="34" charset="-128"/>
                  <a:cs typeface="Arial Unicode MS" pitchFamily="34" charset="-128"/>
                </a:rPr>
                <a:t>20%</a:t>
              </a:r>
            </a:p>
          </p:txBody>
        </p:sp>
      </p:grpSp>
      <p:sp>
        <p:nvSpPr>
          <p:cNvPr id="81937" name="TextBox 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82600" y="6400800"/>
            <a:ext cx="651192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lnSpc>
                <a:spcPct val="95000"/>
              </a:lnSpc>
              <a:tabLst>
                <a:tab pos="573088" algn="l"/>
              </a:tabLst>
            </a:pP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Alapja: 	Okostelefon-használók, akik az internetet általánosságban használják okostelefonjukon, n=1000 </a:t>
            </a:r>
          </a:p>
          <a:p>
            <a:pPr>
              <a:lnSpc>
                <a:spcPct val="95000"/>
              </a:lnSpc>
              <a:tabLst>
                <a:tab pos="573088" algn="l"/>
              </a:tabLst>
            </a:pPr>
            <a:r>
              <a:rPr lang="hu-HU" sz="800">
                <a:solidFill>
                  <a:srgbClr val="3C3C3C"/>
                </a:solidFill>
                <a:ea typeface="Arial Unicode MS" pitchFamily="34" charset="-128"/>
                <a:cs typeface="Arial Unicode MS" pitchFamily="34" charset="-128"/>
              </a:rPr>
              <a:t>23. kérdés:	Melyik tevékenységet végzi okostelefonján a következők közül? Azt is jelezze, ha egyáltalán előfordult már ilyen.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 - &amp;quot;The Smart Shopper&amp;quot;&quot;/&gt;&lt;property id=&quot;20307&quot; value=&quot;682&quot;/&gt;&lt;/object&gt;&lt;object type=&quot;3&quot; unique_id=&quot;10110&quot;&gt;&lt;property id=&quot;20148&quot; value=&quot;5&quot;/&gt;&lt;property id=&quot;20300&quot; value=&quot;Slide 2 - &amp;quot;The Smart Shopper . . . &amp;quot;&quot;/&gt;&lt;property id=&quot;20307&quot; value=&quot;703&quot;/&gt;&lt;/object&gt;&lt;object type=&quot;3&quot; unique_id=&quot;10111&quot;&gt;&lt;property id=&quot;20148&quot; value=&quot;5&quot;/&gt;&lt;property id=&quot;20300&quot; value=&quot;Slide 6 - &amp;quot;Researches Online, Then Shops In-store&amp;quot;&quot;/&gt;&lt;property id=&quot;20307&quot; value=&quot;704&quot;/&gt;&lt;/object&gt;&lt;object type=&quot;3&quot; unique_id=&quot;10176&quot;&gt;&lt;property id=&quot;20148&quot; value=&quot;5&quot;/&gt;&lt;property id=&quot;20300&quot; value=&quot;Slide 3 - &amp;quot;Values On-line Information&amp;quot;&quot;/&gt;&lt;property id=&quot;20307&quot; value=&quot;706&quot;/&gt;&lt;/object&gt;&lt;object type=&quot;3&quot; unique_id=&quot;10188&quot;&gt;&lt;property id=&quot;20148&quot; value=&quot;5&quot;/&gt;&lt;property id=&quot;20300&quot; value=&quot;Slide 8 - &amp;quot;Uses Their Smartphone While Shopping&amp;quot;&quot;/&gt;&lt;property id=&quot;20307&quot; value=&quot;708&quot;/&gt;&lt;/object&gt;&lt;object type=&quot;3&quot; unique_id=&quot;10219&quot;&gt;&lt;property id=&quot;20148&quot; value=&quot;5&quot;/&gt;&lt;property id=&quot;20300&quot; value=&quot;Slide 4 - &amp;quot;Values On-line Information&amp;quot;&quot;/&gt;&lt;property id=&quot;20307&quot; value=&quot;710&quot;/&gt;&lt;/object&gt;&lt;object type=&quot;3&quot; unique_id=&quot;10220&quot;&gt;&lt;property id=&quot;20148&quot; value=&quot;5&quot;/&gt;&lt;property id=&quot;20300&quot; value=&quot;Slide 7 - &amp;quot;Researches Online, Then Shops In-store&amp;quot;&quot;/&gt;&lt;property id=&quot;20307&quot; value=&quot;711&quot;/&gt;&lt;/object&gt;&lt;object type=&quot;3&quot; unique_id=&quot;10221&quot;&gt;&lt;property id=&quot;20148&quot; value=&quot;5&quot;/&gt;&lt;property id=&quot;20300&quot; value=&quot;Slide 9 - &amp;quot;Uses Their Smartphone While Shopping&amp;quot;&quot;/&gt;&lt;property id=&quot;20307&quot; value=&quot;712&quot;/&gt;&lt;/object&gt;&lt;object type=&quot;3&quot; unique_id=&quot;10242&quot;&gt;&lt;property id=&quot;20148&quot; value=&quot;5&quot;/&gt;&lt;property id=&quot;20300&quot; value=&quot;Slide 5 - &amp;quot;Values On-line Information&amp;quot;&quot;/&gt;&lt;property id=&quot;20307&quot; value=&quot;714&quot;/&gt;&lt;/object&gt;&lt;object type=&quot;3&quot; unique_id=&quot;10243&quot;&gt;&lt;property id=&quot;20148&quot; value=&quot;5&quot;/&gt;&lt;property id=&quot;20300&quot; value=&quot;Slide 10 - &amp;quot;Uses Their Smartphone While Shopping&amp;quot;&quot;/&gt;&lt;property id=&quot;20307&quot; value=&quot;713&quot;/&gt;&lt;/object&gt;&lt;/object&gt;&lt;/object&gt;&lt;/database&gt;"/>
  <p:tag name="SECTOMILLISECCONVERTED" val="1"/>
  <p:tag name="THINKCELLUNDODONOTDELET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Zzz4kkgEmkfgtZY5PLe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AojbilgkK5GrBusOKE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y66iWIY0WcILhtfs3NJ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g.NdDyY0.9ofFCj667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5yeEFL028BluRgDFj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LZ5QZ4_0O2bEjxWa7u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ZbAN6m.USngqlf611k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hS14UaSUC3g9VmClIG9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eIw6i0H0.N6lnwT_VH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6D9Nc4DUOmcMMNXDor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i_.VRikEW.dREB0E2Fn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PqPmzRVkKyevLi4G4s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yfJX355k6pRJW5S0Fr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Vvmzvqw0.WOXxqlYTC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gfRhHjwk.vvpFi6.Fu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8b4MaeA0anDMyqByigE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gnVKtOWUyiOjHCB_dY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XlL5DTH0yrOXzbxs4e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r5Mt29TEG25NiLGwfGZ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CLx3dNN0C3T4bdC7zUx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fOaw7yYUGFdnS5klhX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mCca72LU.Y2p.hEcR.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CcMZkOr0yVDQjYjWwj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ZzEHaWCUSNn0h5CeJni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wzLI4inUu3nE6li9oAM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_D0l7Ql0uRzoYsjMOED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5imPEILEqWlYjsmLle2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ULMdi7G0W7GW5RsHAJN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s.ssGzmUGN2oxrRkJlN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sCL6UB002gaZUNbpmpD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clD4XtokmMJNKp83_e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RjurwRcE27fMKk_tXh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GsDCYjxkqTv12FwNdu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g7jJkNj0.0jOIhU3HhA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SYG_cQjUKRazJ2XIX00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kiDr1XqE6eDaaNWxHVB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vwLukyCkSeX5v06OuS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VGXetQQ0.Qoj9xC.kN6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0WMz5_HkGZMKCo0HYEm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6f.amS4U6cQ.H5KZj1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ybJWJax06_uVc7rep36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cEXBprdEmFI97U1Bxg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2MZ4.UoUyhjHH2VcG.x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.gjT2epUOhc4gcJmOkn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kfc.pnG0mXJYif3a0T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nRODurLEalLAbXOC17k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0bdWis8RUy6KmwjqGC5M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9IwTX.cU2nS7HLNDDOm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xrLOXjAUWIFuq2sXY_q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HdxeUBRkyO8yztdu4Yo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smET2qSk.eca12IPprI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s0jkS5kEGEhCV2d3OBj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m9uzJ1vEKQ8.wS31ej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UaEUtorkmFR4442o93U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rMenigy02wH8WYdGiEV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b2wY8xoEOf_uJmmYyHV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46mnHwSU.MoIEn.41m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TUQTO5R0SB23_o645i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dVpJyiHEapxPpZ9_toJ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dNH8mKR0CzX1I2uPoCtg"/>
</p:tagLst>
</file>

<file path=ppt/theme/theme1.xml><?xml version="1.0" encoding="utf-8"?>
<a:theme xmlns:a="http://schemas.openxmlformats.org/drawingml/2006/main" name="sales_template_July_2010">
  <a:themeElements>
    <a:clrScheme name="sales_template_July_2010">
      <a:dk1>
        <a:srgbClr val="3C3C3C"/>
      </a:dk1>
      <a:lt1>
        <a:srgbClr val="FFFFFF"/>
      </a:lt1>
      <a:dk2>
        <a:srgbClr val="AAAAAA"/>
      </a:dk2>
      <a:lt2>
        <a:srgbClr val="7D7D7D"/>
      </a:lt2>
      <a:accent1>
        <a:srgbClr val="3369E8"/>
      </a:accent1>
      <a:accent2>
        <a:srgbClr val="EEB211"/>
      </a:accent2>
      <a:accent3>
        <a:srgbClr val="009925"/>
      </a:accent3>
      <a:accent4>
        <a:srgbClr val="D50F25"/>
      </a:accent4>
      <a:accent5>
        <a:srgbClr val="389CED"/>
      </a:accent5>
      <a:accent6>
        <a:srgbClr val="98E036"/>
      </a:accent6>
      <a:hlink>
        <a:srgbClr val="3369E8"/>
      </a:hlink>
      <a:folHlink>
        <a:srgbClr val="3369E8"/>
      </a:folHlink>
    </a:clrScheme>
    <a:fontScheme name="Google Keynote">
      <a:majorFont>
        <a:latin typeface="Open Sans"/>
        <a:ea typeface="ヒラギノ角ゴ ProN W3"/>
        <a:cs typeface="ヒラギノ角ゴ ProN W3"/>
      </a:majorFont>
      <a:minorFont>
        <a:latin typeface="Open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>
    <a:extraClrScheme>
      <a:clrScheme name="sales-template-Jan07 1">
        <a:dk1>
          <a:srgbClr val="3C3C3C"/>
        </a:dk1>
        <a:lt1>
          <a:srgbClr val="FFFFFF"/>
        </a:lt1>
        <a:dk2>
          <a:srgbClr val="AAAAAA"/>
        </a:dk2>
        <a:lt2>
          <a:srgbClr val="7D7D7D"/>
        </a:lt2>
        <a:accent1>
          <a:srgbClr val="0066CC"/>
        </a:accent1>
        <a:accent2>
          <a:srgbClr val="FFCC00"/>
        </a:accent2>
        <a:accent3>
          <a:srgbClr val="FFFFFF"/>
        </a:accent3>
        <a:accent4>
          <a:srgbClr val="323232"/>
        </a:accent4>
        <a:accent5>
          <a:srgbClr val="AAB8E2"/>
        </a:accent5>
        <a:accent6>
          <a:srgbClr val="E7B900"/>
        </a:accent6>
        <a:hlink>
          <a:srgbClr val="009900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ales_template_July_2010">
  <a:themeElements>
    <a:clrScheme name="sales_template_July_2010">
      <a:dk1>
        <a:srgbClr val="3C3C3C"/>
      </a:dk1>
      <a:lt1>
        <a:srgbClr val="FFFFFF"/>
      </a:lt1>
      <a:dk2>
        <a:srgbClr val="AAAAAA"/>
      </a:dk2>
      <a:lt2>
        <a:srgbClr val="7D7D7D"/>
      </a:lt2>
      <a:accent1>
        <a:srgbClr val="3369E8"/>
      </a:accent1>
      <a:accent2>
        <a:srgbClr val="EEB211"/>
      </a:accent2>
      <a:accent3>
        <a:srgbClr val="009925"/>
      </a:accent3>
      <a:accent4>
        <a:srgbClr val="D50F25"/>
      </a:accent4>
      <a:accent5>
        <a:srgbClr val="389CED"/>
      </a:accent5>
      <a:accent6>
        <a:srgbClr val="98E036"/>
      </a:accent6>
      <a:hlink>
        <a:srgbClr val="3369E8"/>
      </a:hlink>
      <a:folHlink>
        <a:srgbClr val="3369E8"/>
      </a:folHlink>
    </a:clrScheme>
    <a:fontScheme name="Open Sans">
      <a:majorFont>
        <a:latin typeface="Open Sans"/>
        <a:ea typeface="ヒラギノ角ゴ ProN W3"/>
        <a:cs typeface="ヒラギノ角ゴ ProN W3"/>
      </a:majorFont>
      <a:minorFont>
        <a:latin typeface="Open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>
    <a:extraClrScheme>
      <a:clrScheme name="sales-template-Jan07 1">
        <a:dk1>
          <a:srgbClr val="3C3C3C"/>
        </a:dk1>
        <a:lt1>
          <a:srgbClr val="FFFFFF"/>
        </a:lt1>
        <a:dk2>
          <a:srgbClr val="AAAAAA"/>
        </a:dk2>
        <a:lt2>
          <a:srgbClr val="7D7D7D"/>
        </a:lt2>
        <a:accent1>
          <a:srgbClr val="0066CC"/>
        </a:accent1>
        <a:accent2>
          <a:srgbClr val="FFCC00"/>
        </a:accent2>
        <a:accent3>
          <a:srgbClr val="FFFFFF"/>
        </a:accent3>
        <a:accent4>
          <a:srgbClr val="323232"/>
        </a:accent4>
        <a:accent5>
          <a:srgbClr val="AAB8E2"/>
        </a:accent5>
        <a:accent6>
          <a:srgbClr val="E7B900"/>
        </a:accent6>
        <a:hlink>
          <a:srgbClr val="009900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sales_template_July_2010">
  <a:themeElements>
    <a:clrScheme name="sales_template_July_2010">
      <a:dk1>
        <a:srgbClr val="3C3C3C"/>
      </a:dk1>
      <a:lt1>
        <a:srgbClr val="FFFFFF"/>
      </a:lt1>
      <a:dk2>
        <a:srgbClr val="AAAAAA"/>
      </a:dk2>
      <a:lt2>
        <a:srgbClr val="7D7D7D"/>
      </a:lt2>
      <a:accent1>
        <a:srgbClr val="3369E8"/>
      </a:accent1>
      <a:accent2>
        <a:srgbClr val="EEB211"/>
      </a:accent2>
      <a:accent3>
        <a:srgbClr val="009925"/>
      </a:accent3>
      <a:accent4>
        <a:srgbClr val="D50F25"/>
      </a:accent4>
      <a:accent5>
        <a:srgbClr val="389CED"/>
      </a:accent5>
      <a:accent6>
        <a:srgbClr val="98E036"/>
      </a:accent6>
      <a:hlink>
        <a:srgbClr val="3369E8"/>
      </a:hlink>
      <a:folHlink>
        <a:srgbClr val="3369E8"/>
      </a:folHlink>
    </a:clrScheme>
    <a:fontScheme name="Open Sans">
      <a:majorFont>
        <a:latin typeface="Open Sans"/>
        <a:ea typeface="ヒラギノ角ゴ ProN W3"/>
        <a:cs typeface="ヒラギノ角ゴ ProN W3"/>
      </a:majorFont>
      <a:minorFont>
        <a:latin typeface="Open San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>
    <a:extraClrScheme>
      <a:clrScheme name="sales-template-Jan07 1">
        <a:dk1>
          <a:srgbClr val="3C3C3C"/>
        </a:dk1>
        <a:lt1>
          <a:srgbClr val="FFFFFF"/>
        </a:lt1>
        <a:dk2>
          <a:srgbClr val="AAAAAA"/>
        </a:dk2>
        <a:lt2>
          <a:srgbClr val="7D7D7D"/>
        </a:lt2>
        <a:accent1>
          <a:srgbClr val="0066CC"/>
        </a:accent1>
        <a:accent2>
          <a:srgbClr val="FFCC00"/>
        </a:accent2>
        <a:accent3>
          <a:srgbClr val="FFFFFF"/>
        </a:accent3>
        <a:accent4>
          <a:srgbClr val="323232"/>
        </a:accent4>
        <a:accent5>
          <a:srgbClr val="AAB8E2"/>
        </a:accent5>
        <a:accent6>
          <a:srgbClr val="E7B900"/>
        </a:accent6>
        <a:hlink>
          <a:srgbClr val="009900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2</TotalTime>
  <Words>533</Words>
  <Application>Microsoft Macintosh PowerPoint</Application>
  <PresentationFormat>On-screen Show (4:3)</PresentationFormat>
  <Paragraphs>265</Paragraphs>
  <Slides>29</Slides>
  <Notes>29</Notes>
  <HiddenSlides>4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3" baseType="lpstr">
      <vt:lpstr>sales_template_July_2010</vt:lpstr>
      <vt:lpstr>1_sales_template_July_2010</vt:lpstr>
      <vt:lpstr>2_sales_template_July_2010</vt:lpstr>
      <vt:lpstr>think-cell Slide</vt:lpstr>
      <vt:lpstr>Our Mobile Planet:  Magyarország</vt:lpstr>
      <vt:lpstr>AZ OKOSTELEFONOK  NÉLKÜLÖZHETETLENEK  A MINDENNAPI ÉLETBEN</vt:lpstr>
      <vt:lpstr>Az okostelefonok annyira fontossá váltak  a fogyasztók számára, hogy …</vt:lpstr>
      <vt:lpstr>Az elmúlt hat hónapban növekedés volt tapasztalható az okostelefon-használat intenzitásában</vt:lpstr>
      <vt:lpstr>Az okostelefonokat mindenhol használják</vt:lpstr>
      <vt:lpstr>AZ OKOSTELEFONOK  ÁTALAKÍTOTTÁK  A FOGYASZTÓI SZOKÁSOKAT</vt:lpstr>
      <vt:lpstr>Az okostelefonok többféle tevékenységre használható eszközök</vt:lpstr>
      <vt:lpstr>Az okostelefonokat más tevékenységek közben is használják</vt:lpstr>
      <vt:lpstr>Az okostelefonok informálnak bennünket  a mindennapokban</vt:lpstr>
      <vt:lpstr>Az okostelefonok  fontos hozzáférési lehetőséget jelentenek  a keresésekhez  </vt:lpstr>
      <vt:lpstr>PowerPoint Presentation</vt:lpstr>
      <vt:lpstr>Az okostelefonok segítségével a felhasználók bármikor és bárhol utánanézhetnek termékeknek</vt:lpstr>
      <vt:lpstr>PowerPoint Presentation</vt:lpstr>
      <vt:lpstr>Az okostelefonok elsődleges partnereink  a vásárlásban</vt:lpstr>
      <vt:lpstr>Az okostelefonokon megkezdett keresések  különböző csatornákon vezethetnek vásárláshoz</vt:lpstr>
      <vt:lpstr>Az okostelefonok egyre jelentősebb vásárlási helyszínt képviselnek</vt:lpstr>
      <vt:lpstr>A mobilos kereskedelemnek vannak még korlátai</vt:lpstr>
      <vt:lpstr>A FELHASZNÁLÓK  OKOSTELEFONOK SEGÍTSÉGÉVEL  TÁJÉKOZÓDNAK AZ ŐKET KÖRÜLVEVŐ VILÁGBAN</vt:lpstr>
      <vt:lpstr>PowerPoint Presentation</vt:lpstr>
      <vt:lpstr>A helyi információkra keresők cselekednek is </vt:lpstr>
      <vt:lpstr>Az okostelefonok segítségével a hirdetők kapcsolatba léphetnek ügyfeleikkel</vt:lpstr>
      <vt:lpstr>Az offline hirdetésmegjelenítések mobilkeresésekhez vezetnek</vt:lpstr>
      <vt:lpstr>PowerPoint Presentation</vt:lpstr>
      <vt:lpstr>A mobilhirdetések hatással vannak ránk</vt:lpstr>
      <vt:lpstr>Köszönöm a figyelmet</vt:lpstr>
      <vt:lpstr>Háttér </vt:lpstr>
      <vt:lpstr>Kutatási módszertan</vt:lpstr>
      <vt:lpstr>Demográfia</vt:lpstr>
      <vt:lpstr>Demográfi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Smart Shopper</dc:title>
  <dc:creator>Specialist25</dc:creator>
  <cp:lastModifiedBy>Illes Vadasz</cp:lastModifiedBy>
  <cp:revision>1159</cp:revision>
  <cp:lastPrinted>2013-05-27T12:37:37Z</cp:lastPrinted>
  <dcterms:created xsi:type="dcterms:W3CDTF">2011-05-25T15:58:46Z</dcterms:created>
  <dcterms:modified xsi:type="dcterms:W3CDTF">2013-11-11T21:08:08Z</dcterms:modified>
</cp:coreProperties>
</file>